
<file path=[Content_Types].xml><?xml version="1.0" encoding="utf-8"?>
<Types xmlns="http://schemas.openxmlformats.org/package/2006/content-types">
  <Default Extension="jpeg" ContentType="image/jpeg"/>
  <Default Extension="wdp" ContentType="image/vnd.ms-photo"/>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diagrams/colors1.xml" ContentType="application/vnd.openxmlformats-officedocument.drawingml.diagramColors+xml"/>
  <Override PartName="/ppt/diagrams/colors2.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92" r:id="rId3"/>
  </p:sldMasterIdLst>
  <p:notesMasterIdLst>
    <p:notesMasterId r:id="rId5"/>
  </p:notesMasterIdLst>
  <p:handoutMasterIdLst>
    <p:handoutMasterId r:id="rId19"/>
  </p:handoutMasterIdLst>
  <p:sldIdLst>
    <p:sldId id="408" r:id="rId4"/>
    <p:sldId id="258" r:id="rId6"/>
    <p:sldId id="315" r:id="rId7"/>
    <p:sldId id="433" r:id="rId8"/>
    <p:sldId id="435" r:id="rId9"/>
    <p:sldId id="398" r:id="rId10"/>
    <p:sldId id="305" r:id="rId11"/>
    <p:sldId id="342" r:id="rId12"/>
    <p:sldId id="306" r:id="rId13"/>
    <p:sldId id="399" r:id="rId14"/>
    <p:sldId id="356" r:id="rId15"/>
    <p:sldId id="330" r:id="rId16"/>
    <p:sldId id="400" r:id="rId17"/>
    <p:sldId id="409"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04040"/>
    <a:srgbClr val="F2F2F2"/>
    <a:srgbClr val="F5F5F5"/>
    <a:srgbClr val="11244E"/>
    <a:srgbClr val="AAD1FE"/>
    <a:srgbClr val="6081C7"/>
    <a:srgbClr val="ED1C24"/>
    <a:srgbClr val="6C0000"/>
    <a:srgbClr val="8A0000"/>
    <a:srgbClr val="940A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672" autoAdjust="0"/>
    <p:restoredTop sz="95324" autoAdjust="0"/>
  </p:normalViewPr>
  <p:slideViewPr>
    <p:cSldViewPr snapToGrid="0">
      <p:cViewPr varScale="1">
        <p:scale>
          <a:sx n="68" d="100"/>
          <a:sy n="68" d="100"/>
        </p:scale>
        <p:origin x="636" y="66"/>
      </p:cViewPr>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82" d="100"/>
          <a:sy n="82" d="100"/>
        </p:scale>
        <p:origin x="3996" y="108"/>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notesMaster" Target="notesMasters/notesMaster1.xml"/><Relationship Id="rId4" Type="http://schemas.openxmlformats.org/officeDocument/2006/relationships/slide" Target="slides/slide1.xml"/><Relationship Id="rId3" Type="http://schemas.openxmlformats.org/officeDocument/2006/relationships/slideMaster" Target="slideMasters/slideMaster2.xml"/><Relationship Id="rId22" Type="http://schemas.openxmlformats.org/officeDocument/2006/relationships/tableStyles" Target="tableStyles.xml"/><Relationship Id="rId21" Type="http://schemas.openxmlformats.org/officeDocument/2006/relationships/viewProps" Target="viewProps.xml"/><Relationship Id="rId20" Type="http://schemas.openxmlformats.org/officeDocument/2006/relationships/presProps" Target="presProps.xml"/><Relationship Id="rId2" Type="http://schemas.openxmlformats.org/officeDocument/2006/relationships/theme" Target="theme/theme1.xml"/><Relationship Id="rId19" Type="http://schemas.openxmlformats.org/officeDocument/2006/relationships/handoutMaster" Target="handoutMasters/handoutMaster1.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diagrams/_rels/data1.xml.rels><?xml version="1.0" encoding="UTF-8" standalone="yes"?>
<Relationships xmlns="http://schemas.openxmlformats.org/package/2006/relationships"><Relationship Id="rId2" Type="http://schemas.microsoft.com/office/2007/relationships/hdphoto" Target="../media/hdphoto1.wdp"/><Relationship Id="rId1" Type="http://schemas.openxmlformats.org/officeDocument/2006/relationships/image" Target="../media/image35.png"/></Relationships>
</file>

<file path=ppt/diagrams/_rels/data2.xml.rels><?xml version="1.0" encoding="UTF-8" standalone="yes"?>
<Relationships xmlns="http://schemas.openxmlformats.org/package/2006/relationships"><Relationship Id="rId2" Type="http://schemas.microsoft.com/office/2007/relationships/hdphoto" Target="../media/hdphoto1.wdp"/><Relationship Id="rId1" Type="http://schemas.openxmlformats.org/officeDocument/2006/relationships/image" Target="../media/image35.png"/></Relationships>
</file>

<file path=ppt/diagrams/_rels/drawing1.xml.rels><?xml version="1.0" encoding="UTF-8" standalone="yes"?>
<Relationships xmlns="http://schemas.openxmlformats.org/package/2006/relationships"><Relationship Id="rId2" Type="http://schemas.microsoft.com/office/2007/relationships/hdphoto" Target="../../../media/hdphoto1.wdp"/><Relationship Id="rId1" Type="http://schemas.openxmlformats.org/officeDocument/2006/relationships/image" Target="../media/image35.png"/></Relationships>
</file>

<file path=ppt/diagrams/_rels/drawing2.xml.rels><?xml version="1.0" encoding="UTF-8" standalone="yes"?>
<Relationships xmlns="http://schemas.openxmlformats.org/package/2006/relationships"><Relationship Id="rId2" Type="http://schemas.microsoft.com/office/2007/relationships/hdphoto" Target="../../../media/hdphoto1.wdp"/><Relationship Id="rId1" Type="http://schemas.openxmlformats.org/officeDocument/2006/relationships/image" Target="../media/image3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B3E39A80-D6B7-4E26-B22E-327D37299CB1}" type="doc">
      <dgm:prSet loTypeId="urn:microsoft.com/office/officeart/2008/layout/BendingPictureSemiTransparentText" loCatId="picture" qsTypeId="urn:microsoft.com/office/officeart/2005/8/quickstyle/simple1" qsCatId="simple" csTypeId="urn:microsoft.com/office/officeart/2005/8/colors/accent1_2" csCatId="accent1" phldr="1"/>
      <dgm:spPr/>
      <dgm:t>
        <a:bodyPr/>
        <a:lstStyle/>
        <a:p>
          <a:endParaRPr lang="en-US"/>
        </a:p>
      </dgm:t>
    </dgm:pt>
    <dgm:pt modelId="{F4DCAFF9-3CD8-4192-92EC-2050EBC96D81}">
      <dgm:prSet phldrT="[Text]"/>
      <dgm:spPr>
        <a:noFill/>
      </dgm:spPr>
      <dgm:t>
        <a:bodyPr/>
        <a:lstStyle/>
        <a:p>
          <a:endParaRPr lang="en-US"/>
        </a:p>
      </dgm:t>
    </dgm:pt>
    <dgm:pt modelId="{896C2910-71E4-4E18-81DA-428510306E45}" cxnId="{2A678D74-5D28-4772-9694-380BDCB05326}" type="parTrans">
      <dgm:prSet/>
      <dgm:spPr/>
      <dgm:t>
        <a:bodyPr/>
        <a:lstStyle/>
        <a:p>
          <a:endParaRPr lang="en-US"/>
        </a:p>
      </dgm:t>
    </dgm:pt>
    <dgm:pt modelId="{5670A9B4-EF79-4194-B2F8-D0D0B5D9F166}" cxnId="{2A678D74-5D28-4772-9694-380BDCB05326}" type="sibTrans">
      <dgm:prSet/>
      <dgm:spPr/>
      <dgm:t>
        <a:bodyPr/>
        <a:lstStyle/>
        <a:p>
          <a:endParaRPr lang="en-US"/>
        </a:p>
      </dgm:t>
    </dgm:pt>
    <dgm:pt modelId="{BDA71D6A-C3D1-411E-9EAC-6386FFEE52C2}" type="pres">
      <dgm:prSet presAssocID="{B3E39A80-D6B7-4E26-B22E-327D37299CB1}" presName="Name0" presStyleCnt="0">
        <dgm:presLayoutVars>
          <dgm:dir/>
          <dgm:resizeHandles val="exact"/>
        </dgm:presLayoutVars>
      </dgm:prSet>
      <dgm:spPr/>
    </dgm:pt>
    <dgm:pt modelId="{0B2273E3-B9E3-4A02-93CF-275511BE0699}" type="pres">
      <dgm:prSet presAssocID="{F4DCAFF9-3CD8-4192-92EC-2050EBC96D81}" presName="composite" presStyleCnt="0"/>
      <dgm:spPr/>
    </dgm:pt>
    <dgm:pt modelId="{367DAC4B-08E7-4BA7-A970-D0115453FB5A}" type="pres">
      <dgm:prSet presAssocID="{F4DCAFF9-3CD8-4192-92EC-2050EBC96D81}" presName="rect1" presStyleLbl="bgShp" presStyleIdx="0" presStyleCnt="1" custFlipHor="1" custScaleX="152377" custLinFactNeighborX="-5176" custLinFactNeighborY="25068"/>
      <dgm:spPr>
        <a:blipFill>
          <a:blip xmlns:r="http://schemas.openxmlformats.org/officeDocument/2006/relationships" r:embed="rId1">
            <a:extLst>
              <a:ext uri="{BEBA8EAE-BF5A-486C-A8C5-ECC9F3942E4B}">
                <a14:imgProps xmlns:a14="http://schemas.microsoft.com/office/drawing/2010/main">
                  <a14:imgLayer r:embed="rId2">
                    <a14:imgEffect>
                      <a14:saturation sat="0"/>
                    </a14:imgEffect>
                  </a14:imgLayer>
                </a14:imgProps>
              </a:ext>
              <a:ext uri="{28A0092B-C50C-407E-A947-70E740481C1C}">
                <a14:useLocalDpi xmlns:a14="http://schemas.microsoft.com/office/drawing/2010/main" val="0"/>
              </a:ext>
            </a:extLst>
          </a:blip>
          <a:srcRect/>
          <a:stretch>
            <a:fillRect/>
          </a:stretch>
        </a:blipFill>
      </dgm:spPr>
    </dgm:pt>
    <dgm:pt modelId="{7AC81859-B11C-4EE9-8379-B9AF70890D88}" type="pres">
      <dgm:prSet presAssocID="{F4DCAFF9-3CD8-4192-92EC-2050EBC96D81}" presName="rect2" presStyleLbl="trBgShp" presStyleIdx="0" presStyleCnt="1">
        <dgm:presLayoutVars>
          <dgm:bulletEnabled val="1"/>
        </dgm:presLayoutVars>
      </dgm:prSet>
      <dgm:spPr/>
    </dgm:pt>
  </dgm:ptLst>
  <dgm:cxnLst>
    <dgm:cxn modelId="{C5EF6E1B-3FA9-4E3E-A613-E558B26A0948}" type="presOf" srcId="{F4DCAFF9-3CD8-4192-92EC-2050EBC96D81}" destId="{7AC81859-B11C-4EE9-8379-B9AF70890D88}" srcOrd="0" destOrd="0" presId="urn:microsoft.com/office/officeart/2008/layout/BendingPictureSemiTransparentText"/>
    <dgm:cxn modelId="{2A678D74-5D28-4772-9694-380BDCB05326}" srcId="{B3E39A80-D6B7-4E26-B22E-327D37299CB1}" destId="{F4DCAFF9-3CD8-4192-92EC-2050EBC96D81}" srcOrd="0" destOrd="0" parTransId="{896C2910-71E4-4E18-81DA-428510306E45}" sibTransId="{5670A9B4-EF79-4194-B2F8-D0D0B5D9F166}"/>
    <dgm:cxn modelId="{230A0880-E086-459E-A4D0-8285A7DC807D}" type="presOf" srcId="{B3E39A80-D6B7-4E26-B22E-327D37299CB1}" destId="{BDA71D6A-C3D1-411E-9EAC-6386FFEE52C2}" srcOrd="0" destOrd="0" presId="urn:microsoft.com/office/officeart/2008/layout/BendingPictureSemiTransparentText"/>
    <dgm:cxn modelId="{0B3C0695-7D8D-497C-8EDD-37999DDE1D06}" type="presParOf" srcId="{BDA71D6A-C3D1-411E-9EAC-6386FFEE52C2}" destId="{0B2273E3-B9E3-4A02-93CF-275511BE0699}" srcOrd="0" destOrd="0" presId="urn:microsoft.com/office/officeart/2008/layout/BendingPictureSemiTransparentText"/>
    <dgm:cxn modelId="{07F82F4C-E9F9-4BFC-8715-B7961C572D92}" type="presParOf" srcId="{0B2273E3-B9E3-4A02-93CF-275511BE0699}" destId="{367DAC4B-08E7-4BA7-A970-D0115453FB5A}" srcOrd="0" destOrd="0" presId="urn:microsoft.com/office/officeart/2008/layout/BendingPictureSemiTransparentText"/>
    <dgm:cxn modelId="{A26A57CC-2C87-464A-8ABF-247DC4753620}" type="presParOf" srcId="{0B2273E3-B9E3-4A02-93CF-275511BE0699}" destId="{7AC81859-B11C-4EE9-8379-B9AF70890D88}" srcOrd="1" destOrd="0" presId="urn:microsoft.com/office/officeart/2008/layout/BendingPictureSemiTransparentText"/>
  </dgm:cxnLst>
  <dgm:bg>
    <a:effectLst/>
  </dgm:bg>
  <dgm:whole/>
  <dgm:extLst>
    <a:ext uri="http://schemas.microsoft.com/office/drawing/2008/diagram">
      <dsp:dataModelExt xmlns:dsp="http://schemas.microsoft.com/office/drawing/2008/diagram" relId="rId5"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3E39A80-D6B7-4E26-B22E-327D37299CB1}" type="doc">
      <dgm:prSet loTypeId="urn:microsoft.com/office/officeart/2008/layout/BendingPictureSemiTransparentText" loCatId="picture" qsTypeId="urn:microsoft.com/office/officeart/2005/8/quickstyle/simple1" qsCatId="simple" csTypeId="urn:microsoft.com/office/officeart/2005/8/colors/accent1_2" csCatId="accent1" phldr="1"/>
      <dgm:spPr/>
      <dgm:t>
        <a:bodyPr/>
        <a:lstStyle/>
        <a:p>
          <a:endParaRPr lang="en-US"/>
        </a:p>
      </dgm:t>
    </dgm:pt>
    <dgm:pt modelId="{F4DCAFF9-3CD8-4192-92EC-2050EBC96D81}">
      <dgm:prSet phldrT="[Text]"/>
      <dgm:spPr>
        <a:noFill/>
      </dgm:spPr>
      <dgm:t>
        <a:bodyPr/>
        <a:lstStyle/>
        <a:p>
          <a:endParaRPr lang="en-US"/>
        </a:p>
      </dgm:t>
    </dgm:pt>
    <dgm:pt modelId="{896C2910-71E4-4E18-81DA-428510306E45}" cxnId="{2A678D74-5D28-4772-9694-380BDCB05326}" type="parTrans">
      <dgm:prSet/>
      <dgm:spPr/>
      <dgm:t>
        <a:bodyPr/>
        <a:lstStyle/>
        <a:p>
          <a:endParaRPr lang="en-US"/>
        </a:p>
      </dgm:t>
    </dgm:pt>
    <dgm:pt modelId="{5670A9B4-EF79-4194-B2F8-D0D0B5D9F166}" cxnId="{2A678D74-5D28-4772-9694-380BDCB05326}" type="sibTrans">
      <dgm:prSet/>
      <dgm:spPr/>
      <dgm:t>
        <a:bodyPr/>
        <a:lstStyle/>
        <a:p>
          <a:endParaRPr lang="en-US"/>
        </a:p>
      </dgm:t>
    </dgm:pt>
    <dgm:pt modelId="{BDA71D6A-C3D1-411E-9EAC-6386FFEE52C2}" type="pres">
      <dgm:prSet presAssocID="{B3E39A80-D6B7-4E26-B22E-327D37299CB1}" presName="Name0" presStyleCnt="0">
        <dgm:presLayoutVars>
          <dgm:dir/>
          <dgm:resizeHandles val="exact"/>
        </dgm:presLayoutVars>
      </dgm:prSet>
      <dgm:spPr/>
    </dgm:pt>
    <dgm:pt modelId="{0B2273E3-B9E3-4A02-93CF-275511BE0699}" type="pres">
      <dgm:prSet presAssocID="{F4DCAFF9-3CD8-4192-92EC-2050EBC96D81}" presName="composite" presStyleCnt="0"/>
      <dgm:spPr/>
    </dgm:pt>
    <dgm:pt modelId="{367DAC4B-08E7-4BA7-A970-D0115453FB5A}" type="pres">
      <dgm:prSet presAssocID="{F4DCAFF9-3CD8-4192-92EC-2050EBC96D81}" presName="rect1" presStyleLbl="bgShp" presStyleIdx="0" presStyleCnt="1" custFlipHor="1" custScaleX="152377" custLinFactNeighborX="-5176" custLinFactNeighborY="25068"/>
      <dgm:spPr>
        <a:blipFill>
          <a:blip xmlns:r="http://schemas.openxmlformats.org/officeDocument/2006/relationships" r:embed="rId1">
            <a:extLst>
              <a:ext uri="{BEBA8EAE-BF5A-486C-A8C5-ECC9F3942E4B}">
                <a14:imgProps xmlns:a14="http://schemas.microsoft.com/office/drawing/2010/main">
                  <a14:imgLayer r:embed="rId2">
                    <a14:imgEffect>
                      <a14:saturation sat="0"/>
                    </a14:imgEffect>
                  </a14:imgLayer>
                </a14:imgProps>
              </a:ext>
              <a:ext uri="{28A0092B-C50C-407E-A947-70E740481C1C}">
                <a14:useLocalDpi xmlns:a14="http://schemas.microsoft.com/office/drawing/2010/main" val="0"/>
              </a:ext>
            </a:extLst>
          </a:blip>
          <a:srcRect/>
          <a:stretch>
            <a:fillRect/>
          </a:stretch>
        </a:blipFill>
      </dgm:spPr>
    </dgm:pt>
    <dgm:pt modelId="{7AC81859-B11C-4EE9-8379-B9AF70890D88}" type="pres">
      <dgm:prSet presAssocID="{F4DCAFF9-3CD8-4192-92EC-2050EBC96D81}" presName="rect2" presStyleLbl="trBgShp" presStyleIdx="0" presStyleCnt="1">
        <dgm:presLayoutVars>
          <dgm:bulletEnabled val="1"/>
        </dgm:presLayoutVars>
      </dgm:prSet>
      <dgm:spPr/>
    </dgm:pt>
  </dgm:ptLst>
  <dgm:cxnLst>
    <dgm:cxn modelId="{C5EF6E1B-3FA9-4E3E-A613-E558B26A0948}" type="presOf" srcId="{F4DCAFF9-3CD8-4192-92EC-2050EBC96D81}" destId="{7AC81859-B11C-4EE9-8379-B9AF70890D88}" srcOrd="0" destOrd="0" presId="urn:microsoft.com/office/officeart/2008/layout/BendingPictureSemiTransparentText"/>
    <dgm:cxn modelId="{2A678D74-5D28-4772-9694-380BDCB05326}" srcId="{B3E39A80-D6B7-4E26-B22E-327D37299CB1}" destId="{F4DCAFF9-3CD8-4192-92EC-2050EBC96D81}" srcOrd="0" destOrd="0" parTransId="{896C2910-71E4-4E18-81DA-428510306E45}" sibTransId="{5670A9B4-EF79-4194-B2F8-D0D0B5D9F166}"/>
    <dgm:cxn modelId="{230A0880-E086-459E-A4D0-8285A7DC807D}" type="presOf" srcId="{B3E39A80-D6B7-4E26-B22E-327D37299CB1}" destId="{BDA71D6A-C3D1-411E-9EAC-6386FFEE52C2}" srcOrd="0" destOrd="0" presId="urn:microsoft.com/office/officeart/2008/layout/BendingPictureSemiTransparentText"/>
    <dgm:cxn modelId="{0B3C0695-7D8D-497C-8EDD-37999DDE1D06}" type="presParOf" srcId="{BDA71D6A-C3D1-411E-9EAC-6386FFEE52C2}" destId="{0B2273E3-B9E3-4A02-93CF-275511BE0699}" srcOrd="0" destOrd="0" presId="urn:microsoft.com/office/officeart/2008/layout/BendingPictureSemiTransparentText"/>
    <dgm:cxn modelId="{07F82F4C-E9F9-4BFC-8715-B7961C572D92}" type="presParOf" srcId="{0B2273E3-B9E3-4A02-93CF-275511BE0699}" destId="{367DAC4B-08E7-4BA7-A970-D0115453FB5A}" srcOrd="0" destOrd="0" presId="urn:microsoft.com/office/officeart/2008/layout/BendingPictureSemiTransparentText"/>
    <dgm:cxn modelId="{A26A57CC-2C87-464A-8ABF-247DC4753620}" type="presParOf" srcId="{0B2273E3-B9E3-4A02-93CF-275511BE0699}" destId="{7AC81859-B11C-4EE9-8379-B9AF70890D88}" srcOrd="1" destOrd="0" presId="urn:microsoft.com/office/officeart/2008/layout/BendingPictureSemiTransparentText"/>
  </dgm:cxnLst>
  <dgm:bg>
    <a:effectLst/>
  </dgm:bg>
  <dgm:whole/>
  <dgm:extLst>
    <a:ext uri="http://schemas.microsoft.com/office/drawing/2008/diagram">
      <dsp:dataModelExt xmlns:dsp="http://schemas.microsoft.com/office/drawing/2008/diagram" relId="rId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7DAC4B-08E7-4BA7-A970-D0115453FB5A}">
      <dsp:nvSpPr>
        <dsp:cNvPr id="0" name=""/>
        <dsp:cNvSpPr/>
      </dsp:nvSpPr>
      <dsp:spPr>
        <a:xfrm flipH="1">
          <a:off x="0" y="6697"/>
          <a:ext cx="12180125" cy="6851302"/>
        </a:xfrm>
        <a:prstGeom prst="rect">
          <a:avLst/>
        </a:prstGeom>
        <a:blipFill>
          <a:blip xmlns:r="http://schemas.openxmlformats.org/officeDocument/2006/relationships" r:embed="rId1">
            <a:extLst>
              <a:ext uri="{BEBA8EAE-BF5A-486C-A8C5-ECC9F3942E4B}">
                <a14:imgProps xmlns:a14="http://schemas.microsoft.com/office/drawing/2010/main">
                  <a14:imgLayer r:embed="rId2">
                    <a14:imgEffect>
                      <a14:saturation sat="0"/>
                    </a14:imgEffect>
                  </a14:imgLayer>
                </a14:imgProps>
              </a:ext>
              <a:ext uri="{28A0092B-C50C-407E-A947-70E740481C1C}">
                <a14:useLocalDpi xmlns:a14="http://schemas.microsoft.com/office/drawing/2010/main" val="0"/>
              </a:ext>
            </a:extLst>
          </a:blip>
          <a:srcRect/>
          <a:stretch>
            <a:fillRect/>
          </a:stretch>
        </a:blipFill>
        <a:ln>
          <a:noFill/>
        </a:ln>
        <a:effectLst/>
      </dsp:spPr>
      <dsp:style>
        <a:lnRef idx="0">
          <a:scrgbClr r="0" g="0" b="0"/>
        </a:lnRef>
        <a:fillRef idx="1">
          <a:scrgbClr r="0" g="0" b="0"/>
        </a:fillRef>
        <a:effectRef idx="0">
          <a:scrgbClr r="0" g="0" b="0"/>
        </a:effectRef>
        <a:fontRef idx="minor"/>
      </dsp:style>
    </dsp:sp>
    <dsp:sp modelId="{7AC81859-B11C-4EE9-8379-B9AF70890D88}">
      <dsp:nvSpPr>
        <dsp:cNvPr id="0" name=""/>
        <dsp:cNvSpPr/>
      </dsp:nvSpPr>
      <dsp:spPr>
        <a:xfrm>
          <a:off x="2099292" y="4799260"/>
          <a:ext cx="7993414" cy="1644312"/>
        </a:xfrm>
        <a:prstGeom prst="rect">
          <a:avLst/>
        </a:prstGeom>
        <a:noFill/>
        <a:ln>
          <a:noFill/>
        </a:ln>
        <a:effectLst/>
      </dsp:spPr>
      <dsp:style>
        <a:lnRef idx="0">
          <a:scrgbClr r="0" g="0" b="0"/>
        </a:lnRef>
        <a:fillRef idx="1">
          <a:scrgbClr r="0" g="0" b="0"/>
        </a:fillRef>
        <a:effectRef idx="0">
          <a:scrgbClr r="0" g="0" b="0"/>
        </a:effectRef>
        <a:fontRef idx="minor"/>
      </dsp:style>
      <dsp:txBody>
        <a:bodyPr spcFirstLastPara="0" vert="horz" wrap="square" lIns="165100" tIns="165100" rIns="165100" bIns="165100" numCol="1" spcCol="1270" anchor="ctr" anchorCtr="0">
          <a:noAutofit/>
        </a:bodyPr>
        <a:lstStyle/>
        <a:p>
          <a:pPr marL="0" lvl="0" indent="0" algn="ctr" defTabSz="2889250">
            <a:lnSpc>
              <a:spcPct val="90000"/>
            </a:lnSpc>
            <a:spcBef>
              <a:spcPct val="0"/>
            </a:spcBef>
            <a:spcAft>
              <a:spcPct val="35000"/>
            </a:spcAft>
            <a:buNone/>
          </a:pPr>
          <a:endParaRPr lang="en-US" sz="6500" kern="1200"/>
        </a:p>
      </dsp:txBody>
      <dsp:txXfrm>
        <a:off x="2099292" y="4799260"/>
        <a:ext cx="7993414" cy="16443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7DAC4B-08E7-4BA7-A970-D0115453FB5A}">
      <dsp:nvSpPr>
        <dsp:cNvPr id="0" name=""/>
        <dsp:cNvSpPr/>
      </dsp:nvSpPr>
      <dsp:spPr>
        <a:xfrm flipH="1">
          <a:off x="0" y="6697"/>
          <a:ext cx="12180125" cy="6851302"/>
        </a:xfrm>
        <a:prstGeom prst="rect">
          <a:avLst/>
        </a:prstGeom>
        <a:blipFill>
          <a:blip xmlns:r="http://schemas.openxmlformats.org/officeDocument/2006/relationships" r:embed="rId1">
            <a:extLst>
              <a:ext uri="{BEBA8EAE-BF5A-486C-A8C5-ECC9F3942E4B}">
                <a14:imgProps xmlns:a14="http://schemas.microsoft.com/office/drawing/2010/main">
                  <a14:imgLayer r:embed="rId2">
                    <a14:imgEffect>
                      <a14:saturation sat="0"/>
                    </a14:imgEffect>
                  </a14:imgLayer>
                </a14:imgProps>
              </a:ext>
              <a:ext uri="{28A0092B-C50C-407E-A947-70E740481C1C}">
                <a14:useLocalDpi xmlns:a14="http://schemas.microsoft.com/office/drawing/2010/main" val="0"/>
              </a:ext>
            </a:extLst>
          </a:blip>
          <a:srcRect/>
          <a:stretch>
            <a:fillRect/>
          </a:stretch>
        </a:blipFill>
        <a:ln>
          <a:noFill/>
        </a:ln>
        <a:effectLst/>
      </dsp:spPr>
      <dsp:style>
        <a:lnRef idx="0">
          <a:scrgbClr r="0" g="0" b="0"/>
        </a:lnRef>
        <a:fillRef idx="1">
          <a:scrgbClr r="0" g="0" b="0"/>
        </a:fillRef>
        <a:effectRef idx="0">
          <a:scrgbClr r="0" g="0" b="0"/>
        </a:effectRef>
        <a:fontRef idx="minor"/>
      </dsp:style>
    </dsp:sp>
    <dsp:sp modelId="{7AC81859-B11C-4EE9-8379-B9AF70890D88}">
      <dsp:nvSpPr>
        <dsp:cNvPr id="0" name=""/>
        <dsp:cNvSpPr/>
      </dsp:nvSpPr>
      <dsp:spPr>
        <a:xfrm>
          <a:off x="2099292" y="4799260"/>
          <a:ext cx="7993414" cy="1644312"/>
        </a:xfrm>
        <a:prstGeom prst="rect">
          <a:avLst/>
        </a:prstGeom>
        <a:noFill/>
        <a:ln>
          <a:noFill/>
        </a:ln>
        <a:effectLst/>
      </dsp:spPr>
      <dsp:style>
        <a:lnRef idx="0">
          <a:scrgbClr r="0" g="0" b="0"/>
        </a:lnRef>
        <a:fillRef idx="1">
          <a:scrgbClr r="0" g="0" b="0"/>
        </a:fillRef>
        <a:effectRef idx="0">
          <a:scrgbClr r="0" g="0" b="0"/>
        </a:effectRef>
        <a:fontRef idx="minor"/>
      </dsp:style>
      <dsp:txBody>
        <a:bodyPr spcFirstLastPara="0" vert="horz" wrap="square" lIns="165100" tIns="165100" rIns="165100" bIns="165100" numCol="1" spcCol="1270" anchor="ctr" anchorCtr="0">
          <a:noAutofit/>
        </a:bodyPr>
        <a:lstStyle/>
        <a:p>
          <a:pPr marL="0" lvl="0" indent="0" algn="ctr" defTabSz="2889250">
            <a:lnSpc>
              <a:spcPct val="90000"/>
            </a:lnSpc>
            <a:spcBef>
              <a:spcPct val="0"/>
            </a:spcBef>
            <a:spcAft>
              <a:spcPct val="35000"/>
            </a:spcAft>
            <a:buNone/>
          </a:pPr>
          <a:endParaRPr lang="en-US" sz="6500" kern="1200"/>
        </a:p>
      </dsp:txBody>
      <dsp:txXfrm>
        <a:off x="2099292" y="4799260"/>
        <a:ext cx="7993414" cy="1644312"/>
      </dsp:txXfrm>
    </dsp:sp>
  </dsp:spTree>
</dsp:drawing>
</file>

<file path=ppt/diagrams/layout1.xml><?xml version="1.0" encoding="utf-8"?>
<dgm:layoutDef xmlns:dgm="http://schemas.openxmlformats.org/drawingml/2006/diagram" xmlns:a="http://schemas.openxmlformats.org/drawingml/2006/main" uniqueId="urn:microsoft.com/office/officeart/2008/layout/BendingPictureSemiTransparentText">
  <dgm:title val=""/>
  <dgm:desc val=""/>
  <dgm:catLst>
    <dgm:cat type="picture" pri="7000"/>
    <dgm:cat type="pictureconvert" pri="7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h" fact="1.19"/>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1667"/>
        </dgm:alg>
        <dgm:shape xmlns:r="http://schemas.openxmlformats.org/officeDocument/2006/relationships" r:blip="">
          <dgm:adjLst/>
        </dgm:shape>
        <dgm:constrLst>
          <dgm:constr type="l" for="ch" forName="rect1" refType="w" fact="0"/>
          <dgm:constr type="t" for="ch" forName="rect1" refType="h" fact="0"/>
          <dgm:constr type="w" for="ch" forName="rect1" refType="w"/>
          <dgm:constr type="h" for="ch" forName="rect1" refType="h"/>
          <dgm:constr type="l" for="ch" forName="rect2" refType="w" fact="0"/>
          <dgm:constr type="t" for="ch" forName="rect2" refType="h" fact="0.7"/>
          <dgm:constr type="w" for="ch" forName="rect2" refType="w"/>
          <dgm:constr type="h" for="ch" forName="rect2" refType="h" fact="0.24"/>
        </dgm:constrLst>
        <dgm:layoutNode name="rect1" styleLbl="bgShp">
          <dgm:alg type="sp"/>
          <dgm:shape xmlns:r="http://schemas.openxmlformats.org/officeDocument/2006/relationships" type="rect" r:blip="" blipPhldr="1">
            <dgm:adjLst/>
          </dgm:shape>
          <dgm:presOf/>
        </dgm:layoutNode>
        <dgm:layoutNode name="rect2" styleLbl="trBgShp">
          <dgm:varLst>
            <dgm:bulletEnabled val="1"/>
          </dgm:varLst>
          <dgm:alg type="tx">
            <dgm:param type="txAnchorVertCh" val="mid"/>
          </dgm:alg>
          <dgm:shape xmlns:r="http://schemas.openxmlformats.org/officeDocument/2006/relationships" type="rect" r:blip="">
            <dgm:adjLst/>
          </dgm:shape>
          <dgm:presOf axis="desOr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BendingPictureSemiTransparentText">
  <dgm:title val=""/>
  <dgm:desc val=""/>
  <dgm:catLst>
    <dgm:cat type="picture" pri="7000"/>
    <dgm:cat type="pictureconvert" pri="7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h" fact="1.19"/>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1667"/>
        </dgm:alg>
        <dgm:shape xmlns:r="http://schemas.openxmlformats.org/officeDocument/2006/relationships" r:blip="">
          <dgm:adjLst/>
        </dgm:shape>
        <dgm:constrLst>
          <dgm:constr type="l" for="ch" forName="rect1" refType="w" fact="0"/>
          <dgm:constr type="t" for="ch" forName="rect1" refType="h" fact="0"/>
          <dgm:constr type="w" for="ch" forName="rect1" refType="w"/>
          <dgm:constr type="h" for="ch" forName="rect1" refType="h"/>
          <dgm:constr type="l" for="ch" forName="rect2" refType="w" fact="0"/>
          <dgm:constr type="t" for="ch" forName="rect2" refType="h" fact="0.7"/>
          <dgm:constr type="w" for="ch" forName="rect2" refType="w"/>
          <dgm:constr type="h" for="ch" forName="rect2" refType="h" fact="0.24"/>
        </dgm:constrLst>
        <dgm:layoutNode name="rect1" styleLbl="bgShp">
          <dgm:alg type="sp"/>
          <dgm:shape xmlns:r="http://schemas.openxmlformats.org/officeDocument/2006/relationships" type="rect" r:blip="" blipPhldr="1">
            <dgm:adjLst/>
          </dgm:shape>
          <dgm:presOf/>
        </dgm:layoutNode>
        <dgm:layoutNode name="rect2" styleLbl="trBgShp">
          <dgm:varLst>
            <dgm:bulletEnabled val="1"/>
          </dgm:varLst>
          <dgm:alg type="tx">
            <dgm:param type="txAnchorVertCh" val="mid"/>
          </dgm:alg>
          <dgm:shape xmlns:r="http://schemas.openxmlformats.org/officeDocument/2006/relationships" type="rect" r:blip="">
            <dgm:adjLst/>
          </dgm:shape>
          <dgm:presOf axis="desOr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3B39D17-B2A6-44DB-BCBC-EA71E161FD72}" type="datetimeFigureOut">
              <a:rPr lang="en-US" smtClean="0"/>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7DB1B33-3870-4FDF-AB6E-6A286919E3BA}" type="slidenum">
              <a:rPr lang="en-US" smtClean="0"/>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B96F43F-D757-4D01-9D0B-7C1CA2E86CEC}" type="datetimeFigureOut">
              <a:rPr lang="en-US" smtClean="0"/>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816B1F-C048-4B77-895E-A0BA968F8074}" type="slidenum">
              <a:rPr lang="en-US" smtClean="0"/>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en-US" dirty="0"/>
          </a:p>
        </p:txBody>
      </p:sp>
      <p:sp>
        <p:nvSpPr>
          <p:cNvPr id="4" name="Slide Number Placeholder 3"/>
          <p:cNvSpPr>
            <a:spLocks noGrp="1"/>
          </p:cNvSpPr>
          <p:nvPr>
            <p:ph type="sldNum" sz="quarter" idx="10"/>
          </p:nvPr>
        </p:nvSpPr>
        <p:spPr/>
        <p:txBody>
          <a:bodyPr/>
          <a:lstStyle/>
          <a:p>
            <a:fld id="{D7E801C0-4241-4A9A-AC7B-FD03F9E634CD}" type="slidenum">
              <a:rPr lang="en-US" smtClean="0"/>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en-US" dirty="0"/>
          </a:p>
        </p:txBody>
      </p:sp>
      <p:sp>
        <p:nvSpPr>
          <p:cNvPr id="4" name="Slide Number Placeholder 3"/>
          <p:cNvSpPr>
            <a:spLocks noGrp="1"/>
          </p:cNvSpPr>
          <p:nvPr>
            <p:ph type="sldNum" sz="quarter" idx="10"/>
          </p:nvPr>
        </p:nvSpPr>
        <p:spPr/>
        <p:txBody>
          <a:bodyPr/>
          <a:lstStyle/>
          <a:p>
            <a:fld id="{D7E801C0-4241-4A9A-AC7B-FD03F9E634CD}" type="slidenum">
              <a:rPr lang="en-US" smtClean="0"/>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6349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a:spcBef>
                <a:spcPct val="0"/>
              </a:spcBef>
            </a:pPr>
            <a:endParaRPr lang="zh-CN" altLang="zh-CN">
              <a:latin typeface="Calibri Light" panose="020F0302020204030204" pitchFamily="34" charset="0"/>
            </a:endParaRPr>
          </a:p>
        </p:txBody>
      </p:sp>
      <p:sp>
        <p:nvSpPr>
          <p:cNvPr id="6349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marL="0" marR="0" lvl="0" indent="0" defTabSz="914400" eaLnBrk="1" fontAlgn="auto" latinLnBrk="0" hangingPunct="1">
              <a:lnSpc>
                <a:spcPct val="100000"/>
              </a:lnSpc>
              <a:spcBef>
                <a:spcPts val="0"/>
              </a:spcBef>
              <a:spcAft>
                <a:spcPts val="0"/>
              </a:spcAft>
              <a:buClrTx/>
              <a:buSzTx/>
              <a:buFontTx/>
              <a:buNone/>
              <a:defRPr/>
            </a:pPr>
            <a:fld id="{38815219-AC32-4D65-9026-03975F55A41D}" type="slidenum">
              <a:rPr kumimoji="0" lang="en-US" altLang="zh-CN" sz="1200" b="0" i="0" u="none" strike="noStrike" kern="0" cap="none" spc="0" normalizeH="0" baseline="0" noProof="0" smtClean="0">
                <a:ln>
                  <a:noFill/>
                </a:ln>
                <a:solidFill>
                  <a:schemeClr val="tx1"/>
                </a:solidFill>
                <a:effectLst/>
                <a:uLnTx/>
                <a:uFillTx/>
                <a:latin typeface="Calibri Light" panose="020F0302020204030204" pitchFamily="34" charset="0"/>
              </a:rPr>
            </a:fld>
            <a:endParaRPr kumimoji="0" lang="en-US" altLang="zh-CN" sz="1200" b="0" i="0" u="none" strike="noStrike" kern="0" cap="none" spc="0" normalizeH="0" baseline="0" noProof="0">
              <a:ln>
                <a:noFill/>
              </a:ln>
              <a:solidFill>
                <a:schemeClr val="tx1"/>
              </a:solidFill>
              <a:effectLst/>
              <a:uLnTx/>
              <a:uFillTx/>
              <a:latin typeface="Calibri Light" panose="020F030202020403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6349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a:spcBef>
                <a:spcPct val="0"/>
              </a:spcBef>
            </a:pPr>
            <a:endParaRPr lang="zh-CN" altLang="zh-CN">
              <a:latin typeface="Calibri Light" panose="020F0302020204030204" pitchFamily="34" charset="0"/>
            </a:endParaRPr>
          </a:p>
        </p:txBody>
      </p:sp>
      <p:sp>
        <p:nvSpPr>
          <p:cNvPr id="6349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marL="0" marR="0" lvl="0" indent="0" defTabSz="914400" eaLnBrk="1" fontAlgn="auto" latinLnBrk="0" hangingPunct="1">
              <a:lnSpc>
                <a:spcPct val="100000"/>
              </a:lnSpc>
              <a:spcBef>
                <a:spcPts val="0"/>
              </a:spcBef>
              <a:spcAft>
                <a:spcPts val="0"/>
              </a:spcAft>
              <a:buClrTx/>
              <a:buSzTx/>
              <a:buFontTx/>
              <a:buNone/>
              <a:defRPr/>
            </a:pPr>
            <a:fld id="{38815219-AC32-4D65-9026-03975F55A41D}" type="slidenum">
              <a:rPr kumimoji="0" lang="en-US" altLang="zh-CN" sz="1200" b="0" i="0" u="none" strike="noStrike" kern="0" cap="none" spc="0" normalizeH="0" baseline="0" noProof="0" smtClean="0">
                <a:ln>
                  <a:noFill/>
                </a:ln>
                <a:solidFill>
                  <a:schemeClr val="tx1"/>
                </a:solidFill>
                <a:effectLst/>
                <a:uLnTx/>
                <a:uFillTx/>
                <a:latin typeface="Calibri Light" panose="020F0302020204030204" pitchFamily="34" charset="0"/>
              </a:rPr>
            </a:fld>
            <a:endParaRPr kumimoji="0" lang="en-US" altLang="zh-CN" sz="1200" b="0" i="0" u="none" strike="noStrike" kern="0" cap="none" spc="0" normalizeH="0" baseline="0" noProof="0">
              <a:ln>
                <a:noFill/>
              </a:ln>
              <a:solidFill>
                <a:schemeClr val="tx1"/>
              </a:solidFill>
              <a:effectLst/>
              <a:uLnTx/>
              <a:uFillTx/>
              <a:latin typeface="Calibri Light" panose="020F030202020403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US" dirty="0"/>
          </a:p>
        </p:txBody>
      </p:sp>
      <p:sp>
        <p:nvSpPr>
          <p:cNvPr id="4" name="Date Placeholder 3"/>
          <p:cNvSpPr>
            <a:spLocks noGrp="1"/>
          </p:cNvSpPr>
          <p:nvPr>
            <p:ph type="dt" sz="half" idx="10"/>
          </p:nvPr>
        </p:nvSpPr>
        <p:spPr>
          <a:xfrm>
            <a:off x="838200" y="6356352"/>
            <a:ext cx="27432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Blank">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460610" y="3084285"/>
            <a:ext cx="2443080" cy="376143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9" name="Picture Placeholder 17"/>
          <p:cNvSpPr>
            <a:spLocks noGrp="1"/>
          </p:cNvSpPr>
          <p:nvPr>
            <p:ph type="pic" sz="quarter" idx="15"/>
          </p:nvPr>
        </p:nvSpPr>
        <p:spPr>
          <a:xfrm>
            <a:off x="3141568" y="0"/>
            <a:ext cx="2562545" cy="3450739"/>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12" name="Picture Placeholder 11"/>
          <p:cNvSpPr>
            <a:spLocks noGrp="1"/>
          </p:cNvSpPr>
          <p:nvPr>
            <p:ph type="pic" sz="quarter" idx="13"/>
          </p:nvPr>
        </p:nvSpPr>
        <p:spPr>
          <a:xfrm>
            <a:off x="6080192" y="0"/>
            <a:ext cx="6111808" cy="6858000"/>
          </a:xfrm>
          <a:custGeom>
            <a:avLst/>
            <a:gdLst>
              <a:gd name="connsiteX0" fmla="*/ 3853228 w 6111808"/>
              <a:gd name="connsiteY0" fmla="*/ 0 h 6858000"/>
              <a:gd name="connsiteX1" fmla="*/ 6111808 w 6111808"/>
              <a:gd name="connsiteY1" fmla="*/ 0 h 6858000"/>
              <a:gd name="connsiteX2" fmla="*/ 6111808 w 6111808"/>
              <a:gd name="connsiteY2" fmla="*/ 3026791 h 6858000"/>
              <a:gd name="connsiteX3" fmla="*/ 2280599 w 6111808"/>
              <a:gd name="connsiteY3" fmla="*/ 6858000 h 6858000"/>
              <a:gd name="connsiteX4" fmla="*/ 0 w 6111808"/>
              <a:gd name="connsiteY4" fmla="*/ 6858000 h 6858000"/>
              <a:gd name="connsiteX5" fmla="*/ 0 w 6111808"/>
              <a:gd name="connsiteY5" fmla="*/ 38532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1808" h="6858000">
                <a:moveTo>
                  <a:pt x="3853228" y="0"/>
                </a:moveTo>
                <a:lnTo>
                  <a:pt x="6111808" y="0"/>
                </a:lnTo>
                <a:lnTo>
                  <a:pt x="6111808" y="3026791"/>
                </a:lnTo>
                <a:lnTo>
                  <a:pt x="2280599" y="6858000"/>
                </a:lnTo>
                <a:lnTo>
                  <a:pt x="0" y="6858000"/>
                </a:lnTo>
                <a:lnTo>
                  <a:pt x="0" y="3853228"/>
                </a:lnTo>
                <a:close/>
              </a:path>
            </a:pathLst>
          </a:custGeom>
          <a:solidFill>
            <a:schemeClr val="bg1">
              <a:lumMod val="50000"/>
            </a:schemeClr>
          </a:solidFill>
        </p:spPr>
        <p:txBody>
          <a:bodyPr wrap="square">
            <a:noAutofit/>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8" name="Picture Placeholder 57"/>
          <p:cNvSpPr>
            <a:spLocks noGrp="1"/>
          </p:cNvSpPr>
          <p:nvPr>
            <p:ph type="pic" sz="quarter" idx="13"/>
          </p:nvPr>
        </p:nvSpPr>
        <p:spPr>
          <a:xfrm>
            <a:off x="-1" y="-1"/>
            <a:ext cx="12191999" cy="6845715"/>
          </a:xfrm>
          <a:custGeom>
            <a:avLst/>
            <a:gdLst>
              <a:gd name="connsiteX0" fmla="*/ 2438401 w 12191999"/>
              <a:gd name="connsiteY0" fmla="*/ 2394858 h 6845715"/>
              <a:gd name="connsiteX1" fmla="*/ 2438401 w 12191999"/>
              <a:gd name="connsiteY1" fmla="*/ 4463144 h 6845715"/>
              <a:gd name="connsiteX2" fmla="*/ 9753600 w 12191999"/>
              <a:gd name="connsiteY2" fmla="*/ 4463144 h 6845715"/>
              <a:gd name="connsiteX3" fmla="*/ 9753600 w 12191999"/>
              <a:gd name="connsiteY3" fmla="*/ 2394858 h 6845715"/>
              <a:gd name="connsiteX4" fmla="*/ 0 w 12191999"/>
              <a:gd name="connsiteY4" fmla="*/ 0 h 6845715"/>
              <a:gd name="connsiteX5" fmla="*/ 12191999 w 12191999"/>
              <a:gd name="connsiteY5" fmla="*/ 0 h 6845715"/>
              <a:gd name="connsiteX6" fmla="*/ 12191999 w 12191999"/>
              <a:gd name="connsiteY6" fmla="*/ 6845715 h 6845715"/>
              <a:gd name="connsiteX7" fmla="*/ 0 w 12191999"/>
              <a:gd name="connsiteY7" fmla="*/ 6845715 h 6845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45715">
                <a:moveTo>
                  <a:pt x="2438401" y="2394858"/>
                </a:moveTo>
                <a:lnTo>
                  <a:pt x="2438401" y="4463144"/>
                </a:lnTo>
                <a:lnTo>
                  <a:pt x="9753600" y="4463144"/>
                </a:lnTo>
                <a:lnTo>
                  <a:pt x="9753600" y="2394858"/>
                </a:lnTo>
                <a:close/>
                <a:moveTo>
                  <a:pt x="0" y="0"/>
                </a:moveTo>
                <a:lnTo>
                  <a:pt x="12191999" y="0"/>
                </a:lnTo>
                <a:lnTo>
                  <a:pt x="12191999" y="6845715"/>
                </a:lnTo>
                <a:lnTo>
                  <a:pt x="0" y="6845715"/>
                </a:lnTo>
                <a:close/>
              </a:path>
            </a:pathLst>
          </a:custGeom>
          <a:solidFill>
            <a:schemeClr val="bg1">
              <a:lumMod val="50000"/>
            </a:schemeClr>
          </a:solidFill>
        </p:spPr>
        <p:txBody>
          <a:bodyPr wrap="square">
            <a:noAutofit/>
          </a:body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7" name="Picture Placeholder 17"/>
          <p:cNvSpPr>
            <a:spLocks noGrp="1"/>
          </p:cNvSpPr>
          <p:nvPr>
            <p:ph type="pic" sz="quarter" idx="14"/>
          </p:nvPr>
        </p:nvSpPr>
        <p:spPr>
          <a:xfrm>
            <a:off x="6542357" y="2447260"/>
            <a:ext cx="5346700" cy="3156562"/>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1" y="0"/>
            <a:ext cx="6132911" cy="5899216"/>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7" name="Picture Placeholder 17"/>
          <p:cNvSpPr>
            <a:spLocks noGrp="1"/>
          </p:cNvSpPr>
          <p:nvPr>
            <p:ph type="pic" sz="quarter" idx="14"/>
          </p:nvPr>
        </p:nvSpPr>
        <p:spPr>
          <a:xfrm>
            <a:off x="6669232" y="419100"/>
            <a:ext cx="4606636" cy="297180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839932" y="419100"/>
            <a:ext cx="4606636" cy="297180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6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2936865" y="2350715"/>
            <a:ext cx="6352278" cy="360411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7" name="Picture Placeholder 17"/>
          <p:cNvSpPr>
            <a:spLocks noGrp="1"/>
          </p:cNvSpPr>
          <p:nvPr>
            <p:ph type="pic" sz="quarter" idx="14"/>
          </p:nvPr>
        </p:nvSpPr>
        <p:spPr>
          <a:xfrm>
            <a:off x="3301394" y="2514714"/>
            <a:ext cx="5552062" cy="1545695"/>
          </a:xfrm>
          <a:solidFill>
            <a:schemeClr val="bg1">
              <a:lumMod val="85000"/>
            </a:schemeClr>
          </a:solidFill>
        </p:spPr>
        <p:txBody>
          <a:bodyPr>
            <a:normAutofit/>
          </a:bodyPr>
          <a:lstStyle>
            <a:lvl1pPr marL="0" indent="0" algn="ctr">
              <a:buNone/>
              <a:defRPr sz="2000">
                <a:solidFill>
                  <a:schemeClr val="bg1">
                    <a:lumMod val="75000"/>
                  </a:schemeClr>
                </a:solidFill>
                <a:latin typeface="+mj-lt"/>
              </a:defRPr>
            </a:lvl1pPr>
          </a:lstStyle>
          <a:p>
            <a:endParaRPr 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3_Blank">
    <p:spTree>
      <p:nvGrpSpPr>
        <p:cNvPr id="1" name=""/>
        <p:cNvGrpSpPr/>
        <p:nvPr/>
      </p:nvGrpSpPr>
      <p:grpSpPr>
        <a:xfrm>
          <a:off x="0" y="0"/>
          <a:ext cx="0" cy="0"/>
          <a:chOff x="0" y="0"/>
          <a:chExt cx="0" cy="0"/>
        </a:xfrm>
      </p:grpSpPr>
      <p:sp>
        <p:nvSpPr>
          <p:cNvPr id="7" name="Picture Placeholder 17"/>
          <p:cNvSpPr>
            <a:spLocks noGrp="1"/>
          </p:cNvSpPr>
          <p:nvPr>
            <p:ph type="pic" sz="quarter" idx="14"/>
          </p:nvPr>
        </p:nvSpPr>
        <p:spPr>
          <a:xfrm>
            <a:off x="5947721" y="1768803"/>
            <a:ext cx="1703673" cy="282883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4566593" y="1996798"/>
            <a:ext cx="1323622" cy="2197790"/>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dirty="0"/>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5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1322729" y="2055220"/>
            <a:ext cx="3883414" cy="2426252"/>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dirty="0"/>
          </a:p>
        </p:txBody>
      </p:sp>
      <p:sp>
        <p:nvSpPr>
          <p:cNvPr id="7" name="Picture Placeholder 17"/>
          <p:cNvSpPr>
            <a:spLocks noGrp="1"/>
          </p:cNvSpPr>
          <p:nvPr>
            <p:ph type="pic" sz="quarter" idx="14"/>
          </p:nvPr>
        </p:nvSpPr>
        <p:spPr>
          <a:xfrm>
            <a:off x="4984128" y="3466596"/>
            <a:ext cx="853857" cy="1414419"/>
          </a:xfrm>
          <a:solidFill>
            <a:schemeClr val="bg1">
              <a:lumMod val="85000"/>
            </a:schemeClr>
          </a:solidFill>
        </p:spPr>
        <p:txBody>
          <a:bodyPr>
            <a:normAutofit/>
          </a:bodyPr>
          <a:lstStyle>
            <a:lvl1pPr marL="0" indent="0" algn="ctr">
              <a:buNone/>
              <a:defRPr sz="1400">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rot="5400000">
            <a:off x="1568769" y="245517"/>
            <a:ext cx="2958460" cy="6095998"/>
          </a:xfrm>
          <a:prstGeom prst="trapezoid">
            <a:avLst>
              <a:gd name="adj" fmla="val 20094"/>
            </a:avLst>
          </a:prstGeo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11" name="Picture Placeholder 17"/>
          <p:cNvSpPr>
            <a:spLocks noGrp="1"/>
          </p:cNvSpPr>
          <p:nvPr>
            <p:ph type="pic" sz="quarter" idx="15"/>
          </p:nvPr>
        </p:nvSpPr>
        <p:spPr>
          <a:xfrm rot="16200000" flipH="1">
            <a:off x="7664771" y="245517"/>
            <a:ext cx="2958460" cy="6095998"/>
          </a:xfrm>
          <a:prstGeom prst="trapezoid">
            <a:avLst>
              <a:gd name="adj" fmla="val 20094"/>
            </a:avLst>
          </a:prstGeo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2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5" name="Picture Placeholder 10"/>
          <p:cNvSpPr>
            <a:spLocks noGrp="1"/>
          </p:cNvSpPr>
          <p:nvPr>
            <p:ph type="pic" sz="quarter" idx="13"/>
          </p:nvPr>
        </p:nvSpPr>
        <p:spPr>
          <a:xfrm>
            <a:off x="4904" y="-609600"/>
            <a:ext cx="12182588" cy="4394200"/>
          </a:xfrm>
          <a:custGeom>
            <a:avLst/>
            <a:gdLst>
              <a:gd name="connsiteX0" fmla="*/ 0 w 12182588"/>
              <a:gd name="connsiteY0" fmla="*/ 0 h 4394200"/>
              <a:gd name="connsiteX1" fmla="*/ 12182588 w 12182588"/>
              <a:gd name="connsiteY1" fmla="*/ 0 h 4394200"/>
              <a:gd name="connsiteX2" fmla="*/ 12170099 w 12182588"/>
              <a:gd name="connsiteY2" fmla="*/ 246418 h 4394200"/>
              <a:gd name="connsiteX3" fmla="*/ 8468731 w 12182588"/>
              <a:gd name="connsiteY3" fmla="*/ 4039144 h 4394200"/>
              <a:gd name="connsiteX4" fmla="*/ 3698990 w 12182588"/>
              <a:gd name="connsiteY4" fmla="*/ 4034621 h 4394200"/>
              <a:gd name="connsiteX5" fmla="*/ 10265 w 12182588"/>
              <a:gd name="connsiteY5" fmla="*/ 228043 h 439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2588" h="4394200">
                <a:moveTo>
                  <a:pt x="0" y="0"/>
                </a:moveTo>
                <a:lnTo>
                  <a:pt x="12182588" y="0"/>
                </a:lnTo>
                <a:lnTo>
                  <a:pt x="12170099" y="246418"/>
                </a:lnTo>
                <a:cubicBezTo>
                  <a:pt x="12000971" y="1910948"/>
                  <a:pt x="10581911" y="3380873"/>
                  <a:pt x="8468731" y="4039144"/>
                </a:cubicBezTo>
                <a:cubicBezTo>
                  <a:pt x="6943972" y="4514118"/>
                  <a:pt x="5222080" y="4512485"/>
                  <a:pt x="3698990" y="4034621"/>
                </a:cubicBezTo>
                <a:cubicBezTo>
                  <a:pt x="1584989" y="3371361"/>
                  <a:pt x="170318" y="1895488"/>
                  <a:pt x="10265" y="228043"/>
                </a:cubicBezTo>
                <a:close/>
              </a:path>
            </a:pathLst>
          </a:custGeom>
          <a:solidFill>
            <a:schemeClr val="bg2">
              <a:lumMod val="10000"/>
            </a:schemeClr>
          </a:solidFill>
          <a:ln>
            <a:solidFill>
              <a:schemeClr val="bg1">
                <a:lumMod val="75000"/>
              </a:schemeClr>
            </a:solidFill>
            <a:prstDash val="dash"/>
          </a:ln>
        </p:spPr>
        <p:txBody>
          <a:bodyPr wrap="square">
            <a:noAutofit/>
          </a:bodyPr>
          <a:lstStyle>
            <a:lvl1pPr>
              <a:defRPr>
                <a:solidFill>
                  <a:schemeClr val="bg1">
                    <a:lumMod val="95000"/>
                  </a:schemeClr>
                </a:solidFill>
              </a:defRPr>
            </a:lvl1pPr>
          </a:lstStyle>
          <a:p>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4_Blank">
    <p:spTree>
      <p:nvGrpSpPr>
        <p:cNvPr id="1" name=""/>
        <p:cNvGrpSpPr/>
        <p:nvPr/>
      </p:nvGrpSpPr>
      <p:grpSpPr>
        <a:xfrm>
          <a:off x="0" y="0"/>
          <a:ext cx="0" cy="0"/>
          <a:chOff x="0" y="0"/>
          <a:chExt cx="0" cy="0"/>
        </a:xfrm>
      </p:grpSpPr>
      <p:sp>
        <p:nvSpPr>
          <p:cNvPr id="5" name="Picture Placeholder 10"/>
          <p:cNvSpPr>
            <a:spLocks noGrp="1"/>
          </p:cNvSpPr>
          <p:nvPr>
            <p:ph type="pic" sz="quarter" idx="13"/>
          </p:nvPr>
        </p:nvSpPr>
        <p:spPr>
          <a:xfrm>
            <a:off x="4904" y="-609600"/>
            <a:ext cx="12182588" cy="4394200"/>
          </a:xfrm>
          <a:custGeom>
            <a:avLst/>
            <a:gdLst>
              <a:gd name="connsiteX0" fmla="*/ 0 w 12182588"/>
              <a:gd name="connsiteY0" fmla="*/ 0 h 4394200"/>
              <a:gd name="connsiteX1" fmla="*/ 12182588 w 12182588"/>
              <a:gd name="connsiteY1" fmla="*/ 0 h 4394200"/>
              <a:gd name="connsiteX2" fmla="*/ 12170099 w 12182588"/>
              <a:gd name="connsiteY2" fmla="*/ 246418 h 4394200"/>
              <a:gd name="connsiteX3" fmla="*/ 8468731 w 12182588"/>
              <a:gd name="connsiteY3" fmla="*/ 4039144 h 4394200"/>
              <a:gd name="connsiteX4" fmla="*/ 3698990 w 12182588"/>
              <a:gd name="connsiteY4" fmla="*/ 4034621 h 4394200"/>
              <a:gd name="connsiteX5" fmla="*/ 10265 w 12182588"/>
              <a:gd name="connsiteY5" fmla="*/ 228043 h 439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2588" h="4394200">
                <a:moveTo>
                  <a:pt x="0" y="0"/>
                </a:moveTo>
                <a:lnTo>
                  <a:pt x="12182588" y="0"/>
                </a:lnTo>
                <a:lnTo>
                  <a:pt x="12170099" y="246418"/>
                </a:lnTo>
                <a:cubicBezTo>
                  <a:pt x="12000971" y="1910948"/>
                  <a:pt x="10581911" y="3380873"/>
                  <a:pt x="8468731" y="4039144"/>
                </a:cubicBezTo>
                <a:cubicBezTo>
                  <a:pt x="6943972" y="4514118"/>
                  <a:pt x="5222080" y="4512485"/>
                  <a:pt x="3698990" y="4034621"/>
                </a:cubicBezTo>
                <a:cubicBezTo>
                  <a:pt x="1584989" y="3371361"/>
                  <a:pt x="170318" y="1895488"/>
                  <a:pt x="10265" y="228043"/>
                </a:cubicBezTo>
                <a:close/>
              </a:path>
            </a:pathLst>
          </a:custGeom>
          <a:solidFill>
            <a:schemeClr val="bg2">
              <a:lumMod val="10000"/>
            </a:schemeClr>
          </a:solidFill>
          <a:ln>
            <a:solidFill>
              <a:schemeClr val="bg1">
                <a:lumMod val="75000"/>
              </a:schemeClr>
            </a:solidFill>
            <a:prstDash val="dash"/>
          </a:ln>
        </p:spPr>
        <p:txBody>
          <a:bodyPr wrap="square">
            <a:noAutofit/>
          </a:bodyPr>
          <a:lstStyle>
            <a:lvl1pPr>
              <a:defRPr>
                <a:solidFill>
                  <a:schemeClr val="bg1">
                    <a:lumMod val="95000"/>
                  </a:schemeClr>
                </a:solidFill>
              </a:defRPr>
            </a:lvl1pPr>
          </a:lstStyle>
          <a:p>
            <a:endParaRPr lang="en-US" dirty="0"/>
          </a:p>
        </p:txBody>
      </p:sp>
      <p:sp>
        <p:nvSpPr>
          <p:cNvPr id="3" name="Picture Placeholder 2"/>
          <p:cNvSpPr>
            <a:spLocks noGrp="1"/>
          </p:cNvSpPr>
          <p:nvPr>
            <p:ph type="pic" sz="quarter" idx="14"/>
          </p:nvPr>
        </p:nvSpPr>
        <p:spPr>
          <a:xfrm>
            <a:off x="4445000" y="2133600"/>
            <a:ext cx="3314700" cy="2108200"/>
          </a:xfrm>
          <a:solidFill>
            <a:schemeClr val="bg1">
              <a:lumMod val="65000"/>
            </a:schemeClr>
          </a:solidFill>
        </p:spPr>
        <p:txBody>
          <a:bodyPr>
            <a:normAutofit/>
          </a:bodyPr>
          <a:lstStyle>
            <a:lvl1pPr marL="0" indent="0" algn="ctr">
              <a:buNone/>
              <a:defRPr sz="1800"/>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showMasterSp="0" userDrawn="1">
  <p:cSld name="11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6096000" cy="685800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5_Blank">
    <p:spTree>
      <p:nvGrpSpPr>
        <p:cNvPr id="1" name=""/>
        <p:cNvGrpSpPr/>
        <p:nvPr/>
      </p:nvGrpSpPr>
      <p:grpSpPr>
        <a:xfrm>
          <a:off x="0" y="0"/>
          <a:ext cx="0" cy="0"/>
          <a:chOff x="0" y="0"/>
          <a:chExt cx="0" cy="0"/>
        </a:xfrm>
      </p:grpSpPr>
      <p:sp>
        <p:nvSpPr>
          <p:cNvPr id="7" name="Picture Placeholder 17"/>
          <p:cNvSpPr>
            <a:spLocks noGrp="1"/>
          </p:cNvSpPr>
          <p:nvPr>
            <p:ph type="pic" sz="quarter" idx="14"/>
          </p:nvPr>
        </p:nvSpPr>
        <p:spPr>
          <a:xfrm>
            <a:off x="6494337" y="1663645"/>
            <a:ext cx="4136571" cy="3729628"/>
          </a:xfrm>
          <a:solidFill>
            <a:schemeClr val="tx1">
              <a:lumMod val="65000"/>
              <a:lumOff val="35000"/>
            </a:schemeClr>
          </a:solidFill>
        </p:spPr>
        <p:txBody>
          <a:bodyPr/>
          <a:lstStyle>
            <a:lvl1pPr marL="0" indent="0" algn="r">
              <a:buNone/>
              <a:defRPr>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1291770" y="1663645"/>
            <a:ext cx="4136572" cy="3729628"/>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18" name="Picture Placeholder 17"/>
          <p:cNvSpPr>
            <a:spLocks noGrp="1"/>
          </p:cNvSpPr>
          <p:nvPr>
            <p:ph type="pic" sz="quarter" idx="13"/>
          </p:nvPr>
        </p:nvSpPr>
        <p:spPr>
          <a:xfrm>
            <a:off x="3899185" y="1650085"/>
            <a:ext cx="4368230" cy="331611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9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2064009"/>
            <a:ext cx="5373750" cy="3563258"/>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2_Blank">
    <p:spTree>
      <p:nvGrpSpPr>
        <p:cNvPr id="1" name=""/>
        <p:cNvGrpSpPr/>
        <p:nvPr/>
      </p:nvGrpSpPr>
      <p:grpSpPr>
        <a:xfrm>
          <a:off x="0" y="0"/>
          <a:ext cx="0" cy="0"/>
          <a:chOff x="0" y="0"/>
          <a:chExt cx="0" cy="0"/>
        </a:xfrm>
      </p:grpSpPr>
      <p:sp>
        <p:nvSpPr>
          <p:cNvPr id="9" name="Picture Placeholder 17"/>
          <p:cNvSpPr>
            <a:spLocks noGrp="1"/>
          </p:cNvSpPr>
          <p:nvPr>
            <p:ph type="pic" sz="quarter" idx="14"/>
          </p:nvPr>
        </p:nvSpPr>
        <p:spPr>
          <a:xfrm>
            <a:off x="358932" y="2495864"/>
            <a:ext cx="1979862" cy="1866271"/>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18" name="Picture Placeholder 17"/>
          <p:cNvSpPr>
            <a:spLocks noGrp="1"/>
          </p:cNvSpPr>
          <p:nvPr>
            <p:ph type="pic" sz="quarter" idx="13"/>
          </p:nvPr>
        </p:nvSpPr>
        <p:spPr>
          <a:xfrm>
            <a:off x="4439381" y="544615"/>
            <a:ext cx="1979862" cy="1866271"/>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10" name="Picture Placeholder 17"/>
          <p:cNvSpPr>
            <a:spLocks noGrp="1"/>
          </p:cNvSpPr>
          <p:nvPr>
            <p:ph type="pic" sz="quarter" idx="15"/>
          </p:nvPr>
        </p:nvSpPr>
        <p:spPr>
          <a:xfrm>
            <a:off x="4439380" y="4447115"/>
            <a:ext cx="1979862" cy="1866271"/>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4_Blank">
    <p:spTree>
      <p:nvGrpSpPr>
        <p:cNvPr id="1" name=""/>
        <p:cNvGrpSpPr/>
        <p:nvPr/>
      </p:nvGrpSpPr>
      <p:grpSpPr>
        <a:xfrm>
          <a:off x="0" y="0"/>
          <a:ext cx="0" cy="0"/>
          <a:chOff x="0" y="0"/>
          <a:chExt cx="0" cy="0"/>
        </a:xfrm>
      </p:grpSpPr>
      <p:sp>
        <p:nvSpPr>
          <p:cNvPr id="22" name="Picture Placeholder 17"/>
          <p:cNvSpPr>
            <a:spLocks noGrp="1"/>
          </p:cNvSpPr>
          <p:nvPr>
            <p:ph type="pic" sz="quarter" idx="21"/>
          </p:nvPr>
        </p:nvSpPr>
        <p:spPr>
          <a:xfrm>
            <a:off x="6357704" y="4604102"/>
            <a:ext cx="1409699" cy="1190545"/>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18" name="Picture Placeholder 17"/>
          <p:cNvSpPr>
            <a:spLocks noGrp="1"/>
          </p:cNvSpPr>
          <p:nvPr>
            <p:ph type="pic" sz="quarter" idx="13"/>
          </p:nvPr>
        </p:nvSpPr>
        <p:spPr>
          <a:xfrm>
            <a:off x="4857750" y="1794375"/>
            <a:ext cx="1020536" cy="861881"/>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16" name="Picture Placeholder 17"/>
          <p:cNvSpPr>
            <a:spLocks noGrp="1"/>
          </p:cNvSpPr>
          <p:nvPr>
            <p:ph type="pic" sz="quarter" idx="16"/>
          </p:nvPr>
        </p:nvSpPr>
        <p:spPr>
          <a:xfrm>
            <a:off x="5878286" y="1465711"/>
            <a:ext cx="1889118" cy="1190545"/>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17" name="Picture Placeholder 17"/>
          <p:cNvSpPr>
            <a:spLocks noGrp="1"/>
          </p:cNvSpPr>
          <p:nvPr>
            <p:ph type="pic" sz="quarter" idx="17"/>
          </p:nvPr>
        </p:nvSpPr>
        <p:spPr>
          <a:xfrm>
            <a:off x="5460998" y="2656256"/>
            <a:ext cx="2306405" cy="1947846"/>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19" name="Picture Placeholder 17"/>
          <p:cNvSpPr>
            <a:spLocks noGrp="1"/>
          </p:cNvSpPr>
          <p:nvPr>
            <p:ph type="pic" sz="quarter" idx="18"/>
          </p:nvPr>
        </p:nvSpPr>
        <p:spPr>
          <a:xfrm>
            <a:off x="4051298" y="2656256"/>
            <a:ext cx="1409699" cy="1190545"/>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20" name="Picture Placeholder 17"/>
          <p:cNvSpPr>
            <a:spLocks noGrp="1"/>
          </p:cNvSpPr>
          <p:nvPr>
            <p:ph type="pic" sz="quarter" idx="19"/>
          </p:nvPr>
        </p:nvSpPr>
        <p:spPr>
          <a:xfrm>
            <a:off x="7767404" y="3413556"/>
            <a:ext cx="1409700" cy="1190546"/>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21" name="Picture Placeholder 17"/>
          <p:cNvSpPr>
            <a:spLocks noGrp="1"/>
          </p:cNvSpPr>
          <p:nvPr>
            <p:ph type="pic" sz="quarter" idx="20"/>
          </p:nvPr>
        </p:nvSpPr>
        <p:spPr>
          <a:xfrm>
            <a:off x="7767404" y="4604102"/>
            <a:ext cx="1020536" cy="861881"/>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5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12" name="Picture Placeholder 2"/>
          <p:cNvSpPr>
            <a:spLocks noGrp="1"/>
          </p:cNvSpPr>
          <p:nvPr>
            <p:ph type="pic" sz="quarter" idx="19"/>
          </p:nvPr>
        </p:nvSpPr>
        <p:spPr>
          <a:xfrm>
            <a:off x="885320" y="1131314"/>
            <a:ext cx="1551630" cy="1551630"/>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3" name="Picture Placeholder 2"/>
          <p:cNvSpPr>
            <a:spLocks noGrp="1"/>
          </p:cNvSpPr>
          <p:nvPr>
            <p:ph type="pic" sz="quarter" idx="20"/>
          </p:nvPr>
        </p:nvSpPr>
        <p:spPr>
          <a:xfrm>
            <a:off x="1659763" y="1486638"/>
            <a:ext cx="2427822" cy="2427822"/>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4" name="Picture Placeholder 2"/>
          <p:cNvSpPr>
            <a:spLocks noGrp="1"/>
          </p:cNvSpPr>
          <p:nvPr>
            <p:ph type="pic" sz="quarter" idx="21"/>
          </p:nvPr>
        </p:nvSpPr>
        <p:spPr>
          <a:xfrm>
            <a:off x="2880960" y="2708943"/>
            <a:ext cx="2427822" cy="2427822"/>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5" name="Picture Placeholder 2"/>
          <p:cNvSpPr>
            <a:spLocks noGrp="1"/>
          </p:cNvSpPr>
          <p:nvPr>
            <p:ph type="pic" sz="quarter" idx="22"/>
          </p:nvPr>
        </p:nvSpPr>
        <p:spPr>
          <a:xfrm>
            <a:off x="3561859" y="1132024"/>
            <a:ext cx="2067416" cy="2067416"/>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6" name="Picture Placeholder 2"/>
          <p:cNvSpPr>
            <a:spLocks noGrp="1"/>
          </p:cNvSpPr>
          <p:nvPr>
            <p:ph type="pic" sz="quarter" idx="23"/>
          </p:nvPr>
        </p:nvSpPr>
        <p:spPr>
          <a:xfrm>
            <a:off x="4606377" y="2173507"/>
            <a:ext cx="2061022" cy="2069080"/>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7" name="Picture Placeholder 2"/>
          <p:cNvSpPr>
            <a:spLocks noGrp="1"/>
          </p:cNvSpPr>
          <p:nvPr>
            <p:ph type="pic" sz="quarter" idx="24"/>
          </p:nvPr>
        </p:nvSpPr>
        <p:spPr>
          <a:xfrm>
            <a:off x="5639660" y="1296991"/>
            <a:ext cx="1734185" cy="1731132"/>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8" name="Picture Placeholder 2"/>
          <p:cNvSpPr>
            <a:spLocks noGrp="1"/>
          </p:cNvSpPr>
          <p:nvPr>
            <p:ph type="pic" sz="quarter" idx="25"/>
          </p:nvPr>
        </p:nvSpPr>
        <p:spPr>
          <a:xfrm>
            <a:off x="4530366" y="3935554"/>
            <a:ext cx="1569532" cy="1575668"/>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9" name="Picture Placeholder 2"/>
          <p:cNvSpPr>
            <a:spLocks noGrp="1"/>
          </p:cNvSpPr>
          <p:nvPr>
            <p:ph type="pic" sz="quarter" idx="26"/>
          </p:nvPr>
        </p:nvSpPr>
        <p:spPr>
          <a:xfrm>
            <a:off x="869485" y="2699418"/>
            <a:ext cx="1551630" cy="1551630"/>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20" name="Picture Placeholder 2"/>
          <p:cNvSpPr>
            <a:spLocks noGrp="1"/>
          </p:cNvSpPr>
          <p:nvPr>
            <p:ph type="pic" sz="quarter" idx="27"/>
          </p:nvPr>
        </p:nvSpPr>
        <p:spPr>
          <a:xfrm>
            <a:off x="1435904" y="3468694"/>
            <a:ext cx="1952067" cy="1952067"/>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45300"/>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3" name="Picture Placeholder 2"/>
          <p:cNvSpPr>
            <a:spLocks noGrp="1"/>
          </p:cNvSpPr>
          <p:nvPr>
            <p:ph type="pic" sz="quarter" idx="14"/>
          </p:nvPr>
        </p:nvSpPr>
        <p:spPr>
          <a:xfrm>
            <a:off x="1683026" y="2812795"/>
            <a:ext cx="1712054" cy="1712468"/>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10" name="Picture Placeholder 2"/>
          <p:cNvSpPr>
            <a:spLocks noGrp="1"/>
          </p:cNvSpPr>
          <p:nvPr>
            <p:ph type="pic" sz="quarter" idx="15"/>
          </p:nvPr>
        </p:nvSpPr>
        <p:spPr>
          <a:xfrm>
            <a:off x="3883431" y="2812795"/>
            <a:ext cx="1712054" cy="1712468"/>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11" name="Picture Placeholder 2"/>
          <p:cNvSpPr>
            <a:spLocks noGrp="1"/>
          </p:cNvSpPr>
          <p:nvPr>
            <p:ph type="pic" sz="quarter" idx="16"/>
          </p:nvPr>
        </p:nvSpPr>
        <p:spPr>
          <a:xfrm>
            <a:off x="5958413" y="2812795"/>
            <a:ext cx="1712054" cy="1712468"/>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12" name="Picture Placeholder 2"/>
          <p:cNvSpPr>
            <a:spLocks noGrp="1"/>
          </p:cNvSpPr>
          <p:nvPr>
            <p:ph type="pic" sz="quarter" idx="17"/>
          </p:nvPr>
        </p:nvSpPr>
        <p:spPr>
          <a:xfrm>
            <a:off x="8033395" y="2812795"/>
            <a:ext cx="1712054" cy="1712468"/>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8_Blank">
    <p:spTree>
      <p:nvGrpSpPr>
        <p:cNvPr id="1" name=""/>
        <p:cNvGrpSpPr/>
        <p:nvPr/>
      </p:nvGrpSpPr>
      <p:grpSpPr>
        <a:xfrm>
          <a:off x="0" y="0"/>
          <a:ext cx="0" cy="0"/>
          <a:chOff x="0" y="0"/>
          <a:chExt cx="0" cy="0"/>
        </a:xfrm>
      </p:grpSpPr>
      <p:sp>
        <p:nvSpPr>
          <p:cNvPr id="31" name="Picture Placeholder 2"/>
          <p:cNvSpPr>
            <a:spLocks noGrp="1"/>
          </p:cNvSpPr>
          <p:nvPr>
            <p:ph type="pic" sz="quarter" idx="17"/>
          </p:nvPr>
        </p:nvSpPr>
        <p:spPr>
          <a:xfrm>
            <a:off x="3609226" y="374134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32" name="Picture Placeholder 2"/>
          <p:cNvSpPr>
            <a:spLocks noGrp="1"/>
          </p:cNvSpPr>
          <p:nvPr>
            <p:ph type="pic" sz="quarter" idx="18"/>
          </p:nvPr>
        </p:nvSpPr>
        <p:spPr>
          <a:xfrm>
            <a:off x="5302343" y="374134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33" name="Picture Placeholder 2"/>
          <p:cNvSpPr>
            <a:spLocks noGrp="1"/>
          </p:cNvSpPr>
          <p:nvPr>
            <p:ph type="pic" sz="quarter" idx="19"/>
          </p:nvPr>
        </p:nvSpPr>
        <p:spPr>
          <a:xfrm>
            <a:off x="7079350" y="374134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3" name="Picture Placeholder 2"/>
          <p:cNvSpPr>
            <a:spLocks noGrp="1"/>
          </p:cNvSpPr>
          <p:nvPr>
            <p:ph type="pic" sz="quarter" idx="14"/>
          </p:nvPr>
        </p:nvSpPr>
        <p:spPr>
          <a:xfrm>
            <a:off x="3609226" y="193145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19" name="Picture Placeholder 2"/>
          <p:cNvSpPr>
            <a:spLocks noGrp="1"/>
          </p:cNvSpPr>
          <p:nvPr>
            <p:ph type="pic" sz="quarter" idx="15"/>
          </p:nvPr>
        </p:nvSpPr>
        <p:spPr>
          <a:xfrm>
            <a:off x="5302343" y="193145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20" name="Picture Placeholder 2"/>
          <p:cNvSpPr>
            <a:spLocks noGrp="1"/>
          </p:cNvSpPr>
          <p:nvPr>
            <p:ph type="pic" sz="quarter" idx="16"/>
          </p:nvPr>
        </p:nvSpPr>
        <p:spPr>
          <a:xfrm>
            <a:off x="7079350" y="193145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0_Blank">
    <p:spTree>
      <p:nvGrpSpPr>
        <p:cNvPr id="1" name=""/>
        <p:cNvGrpSpPr/>
        <p:nvPr/>
      </p:nvGrpSpPr>
      <p:grpSpPr>
        <a:xfrm>
          <a:off x="0" y="0"/>
          <a:ext cx="0" cy="0"/>
          <a:chOff x="0" y="0"/>
          <a:chExt cx="0" cy="0"/>
        </a:xfrm>
      </p:grpSpPr>
      <p:sp>
        <p:nvSpPr>
          <p:cNvPr id="10" name="Picture Placeholder 17"/>
          <p:cNvSpPr>
            <a:spLocks noGrp="1"/>
          </p:cNvSpPr>
          <p:nvPr>
            <p:ph type="pic" sz="quarter" idx="15"/>
          </p:nvPr>
        </p:nvSpPr>
        <p:spPr>
          <a:xfrm rot="5400000" flipH="1">
            <a:off x="-487094" y="2737316"/>
            <a:ext cx="2996251" cy="2022066"/>
          </a:xfrm>
          <a:prstGeom prst="trapezoid">
            <a:avLst>
              <a:gd name="adj" fmla="val 9926"/>
            </a:avLst>
          </a:prstGeom>
          <a:solidFill>
            <a:schemeClr val="bg1">
              <a:lumMod val="50000"/>
            </a:schemeClr>
          </a:solidFill>
        </p:spPr>
        <p:txBody>
          <a:bodyPr>
            <a:normAutofit/>
          </a:bodyPr>
          <a:lstStyle>
            <a:lvl1pPr marL="0" indent="0" algn="ctr">
              <a:buNone/>
              <a:defRPr sz="2000">
                <a:solidFill>
                  <a:schemeClr val="bg1">
                    <a:lumMod val="75000"/>
                  </a:schemeClr>
                </a:solidFill>
                <a:latin typeface="+mj-lt"/>
              </a:defRPr>
            </a:lvl1pPr>
          </a:lstStyle>
          <a:p>
            <a:endParaRPr lang="en-US"/>
          </a:p>
        </p:txBody>
      </p:sp>
      <p:sp>
        <p:nvSpPr>
          <p:cNvPr id="11" name="Picture Placeholder 17"/>
          <p:cNvSpPr>
            <a:spLocks noGrp="1"/>
          </p:cNvSpPr>
          <p:nvPr>
            <p:ph type="pic" sz="quarter" idx="16"/>
          </p:nvPr>
        </p:nvSpPr>
        <p:spPr>
          <a:xfrm rot="16200000">
            <a:off x="9682843" y="2737317"/>
            <a:ext cx="2996251" cy="2022066"/>
          </a:xfrm>
          <a:prstGeom prst="trapezoid">
            <a:avLst>
              <a:gd name="adj" fmla="val 9926"/>
            </a:avLst>
          </a:prstGeom>
          <a:solidFill>
            <a:schemeClr val="bg1">
              <a:lumMod val="50000"/>
            </a:schemeClr>
          </a:solidFill>
        </p:spPr>
        <p:txBody>
          <a:bodyPr>
            <a:normAutofit/>
          </a:bodyPr>
          <a:lstStyle>
            <a:lvl1pPr marL="0" indent="0" algn="ctr">
              <a:buNone/>
              <a:defRPr sz="2000">
                <a:solidFill>
                  <a:schemeClr val="bg1">
                    <a:lumMod val="75000"/>
                  </a:schemeClr>
                </a:solidFill>
                <a:latin typeface="+mj-lt"/>
              </a:defRPr>
            </a:lvl1pPr>
          </a:lstStyle>
          <a:p>
            <a:endParaRPr lang="en-US"/>
          </a:p>
        </p:txBody>
      </p:sp>
      <p:sp>
        <p:nvSpPr>
          <p:cNvPr id="9" name="Picture Placeholder 17"/>
          <p:cNvSpPr>
            <a:spLocks noGrp="1"/>
          </p:cNvSpPr>
          <p:nvPr>
            <p:ph type="pic" sz="quarter" idx="14"/>
          </p:nvPr>
        </p:nvSpPr>
        <p:spPr>
          <a:xfrm>
            <a:off x="8096895" y="2468524"/>
            <a:ext cx="2073041" cy="2559648"/>
          </a:xfrm>
          <a:solidFill>
            <a:schemeClr val="bg1">
              <a:lumMod val="50000"/>
            </a:schemeClr>
          </a:solidFill>
        </p:spPr>
        <p:txBody>
          <a:bodyPr>
            <a:normAutofit/>
          </a:bodyPr>
          <a:lstStyle>
            <a:lvl1pPr marL="0" indent="0" algn="ctr">
              <a:buNone/>
              <a:defRPr sz="2000">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2022066" y="2468524"/>
            <a:ext cx="2073041" cy="2559648"/>
          </a:xfrm>
          <a:solidFill>
            <a:schemeClr val="bg1">
              <a:lumMod val="50000"/>
            </a:schemeClr>
          </a:solidFill>
        </p:spPr>
        <p:txBody>
          <a:bodyPr>
            <a:normAutofit/>
          </a:bodyPr>
          <a:lstStyle>
            <a:lvl1pPr marL="0" indent="0" algn="ctr">
              <a:buNone/>
              <a:defRPr sz="2000">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a:xfrm>
            <a:off x="838200" y="6356352"/>
            <a:ext cx="27432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468318" y="0"/>
            <a:ext cx="4572001" cy="685800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6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45300"/>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3" name="Picture Placeholder 2"/>
          <p:cNvSpPr>
            <a:spLocks noGrp="1"/>
          </p:cNvSpPr>
          <p:nvPr>
            <p:ph type="pic" sz="quarter" idx="14"/>
          </p:nvPr>
        </p:nvSpPr>
        <p:spPr>
          <a:xfrm>
            <a:off x="1806826" y="1913642"/>
            <a:ext cx="3374774" cy="3374774"/>
          </a:xfrm>
          <a:prstGeom prst="ellipse">
            <a:avLst/>
          </a:prstGeom>
          <a:solidFill>
            <a:schemeClr val="bg1">
              <a:lumMod val="85000"/>
            </a:schemeClr>
          </a:solidFill>
        </p:spPr>
        <p:txBody>
          <a:body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7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5094514"/>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7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3" name="Picture Placeholder 2"/>
          <p:cNvSpPr>
            <a:spLocks noGrp="1"/>
          </p:cNvSpPr>
          <p:nvPr>
            <p:ph type="pic" sz="quarter" idx="14"/>
          </p:nvPr>
        </p:nvSpPr>
        <p:spPr>
          <a:xfrm>
            <a:off x="4234860" y="1491374"/>
            <a:ext cx="945354" cy="945354"/>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49" name="Picture Placeholder 2"/>
          <p:cNvSpPr>
            <a:spLocks noGrp="1"/>
          </p:cNvSpPr>
          <p:nvPr>
            <p:ph type="pic" sz="quarter" idx="15"/>
          </p:nvPr>
        </p:nvSpPr>
        <p:spPr>
          <a:xfrm>
            <a:off x="5557835" y="3343112"/>
            <a:ext cx="1328740" cy="1328740"/>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0" name="Picture Placeholder 2"/>
          <p:cNvSpPr>
            <a:spLocks noGrp="1"/>
          </p:cNvSpPr>
          <p:nvPr>
            <p:ph type="pic" sz="quarter" idx="16"/>
          </p:nvPr>
        </p:nvSpPr>
        <p:spPr>
          <a:xfrm>
            <a:off x="4310301" y="2872741"/>
            <a:ext cx="1062432" cy="1062430"/>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1" name="Picture Placeholder 2"/>
          <p:cNvSpPr>
            <a:spLocks noGrp="1"/>
          </p:cNvSpPr>
          <p:nvPr>
            <p:ph type="pic" sz="quarter" idx="17"/>
          </p:nvPr>
        </p:nvSpPr>
        <p:spPr>
          <a:xfrm>
            <a:off x="3442774" y="3875641"/>
            <a:ext cx="836136" cy="836134"/>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2" name="Picture Placeholder 2"/>
          <p:cNvSpPr>
            <a:spLocks noGrp="1"/>
          </p:cNvSpPr>
          <p:nvPr>
            <p:ph type="pic" sz="quarter" idx="18"/>
          </p:nvPr>
        </p:nvSpPr>
        <p:spPr>
          <a:xfrm>
            <a:off x="4544123" y="4717977"/>
            <a:ext cx="1067090" cy="1067088"/>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4" name="Picture Placeholder 2"/>
          <p:cNvSpPr>
            <a:spLocks noGrp="1"/>
          </p:cNvSpPr>
          <p:nvPr>
            <p:ph type="pic" sz="quarter" idx="19"/>
          </p:nvPr>
        </p:nvSpPr>
        <p:spPr>
          <a:xfrm>
            <a:off x="6370322" y="4936331"/>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5" name="Picture Placeholder 2"/>
          <p:cNvSpPr>
            <a:spLocks noGrp="1"/>
          </p:cNvSpPr>
          <p:nvPr>
            <p:ph type="pic" sz="quarter" idx="20"/>
          </p:nvPr>
        </p:nvSpPr>
        <p:spPr>
          <a:xfrm>
            <a:off x="7697437" y="4996738"/>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6" name="Picture Placeholder 2"/>
          <p:cNvSpPr>
            <a:spLocks noGrp="1"/>
          </p:cNvSpPr>
          <p:nvPr>
            <p:ph type="pic" sz="quarter" idx="21"/>
          </p:nvPr>
        </p:nvSpPr>
        <p:spPr>
          <a:xfrm>
            <a:off x="7469350" y="3782217"/>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7" name="Picture Placeholder 2"/>
          <p:cNvSpPr>
            <a:spLocks noGrp="1"/>
          </p:cNvSpPr>
          <p:nvPr>
            <p:ph type="pic" sz="quarter" idx="22"/>
          </p:nvPr>
        </p:nvSpPr>
        <p:spPr>
          <a:xfrm>
            <a:off x="7814549" y="2563892"/>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8" name="Picture Placeholder 2"/>
          <p:cNvSpPr>
            <a:spLocks noGrp="1"/>
          </p:cNvSpPr>
          <p:nvPr>
            <p:ph type="pic" sz="quarter" idx="23"/>
          </p:nvPr>
        </p:nvSpPr>
        <p:spPr>
          <a:xfrm>
            <a:off x="6947297" y="1559006"/>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9" name="Picture Placeholder 2"/>
          <p:cNvSpPr>
            <a:spLocks noGrp="1"/>
          </p:cNvSpPr>
          <p:nvPr>
            <p:ph type="pic" sz="quarter" idx="24"/>
          </p:nvPr>
        </p:nvSpPr>
        <p:spPr>
          <a:xfrm>
            <a:off x="5627533" y="1891820"/>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8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58000"/>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38" name="Picture Placeholder 2"/>
          <p:cNvSpPr>
            <a:spLocks noGrp="1"/>
          </p:cNvSpPr>
          <p:nvPr>
            <p:ph type="pic" sz="quarter" idx="15"/>
          </p:nvPr>
        </p:nvSpPr>
        <p:spPr>
          <a:xfrm>
            <a:off x="3173867" y="1367067"/>
            <a:ext cx="1157426" cy="1234280"/>
          </a:xfrm>
          <a:solidFill>
            <a:schemeClr val="bg1">
              <a:lumMod val="75000"/>
            </a:schemeClr>
          </a:solidFill>
        </p:spPr>
        <p:txBody>
          <a:bodyPr>
            <a:normAutofit/>
          </a:bodyPr>
          <a:lstStyle>
            <a:lvl1pPr marL="0" indent="0" algn="ctr">
              <a:buNone/>
              <a:defRPr sz="800"/>
            </a:lvl1pPr>
          </a:lstStyle>
          <a:p>
            <a:endParaRPr lang="en-US"/>
          </a:p>
        </p:txBody>
      </p:sp>
      <p:sp>
        <p:nvSpPr>
          <p:cNvPr id="3" name="Picture Placeholder 2"/>
          <p:cNvSpPr>
            <a:spLocks noGrp="1"/>
          </p:cNvSpPr>
          <p:nvPr>
            <p:ph type="pic" sz="quarter" idx="14"/>
          </p:nvPr>
        </p:nvSpPr>
        <p:spPr>
          <a:xfrm>
            <a:off x="2568927" y="1622861"/>
            <a:ext cx="705580" cy="733637"/>
          </a:xfrm>
          <a:solidFill>
            <a:schemeClr val="bg1">
              <a:lumMod val="85000"/>
            </a:schemeClr>
          </a:solidFill>
        </p:spPr>
        <p:txBody>
          <a:bodyPr>
            <a:normAutofit/>
          </a:bodyPr>
          <a:lstStyle>
            <a:lvl1pPr marL="0" indent="0" algn="ctr">
              <a:buNone/>
              <a:defRPr sz="800"/>
            </a:lvl1pPr>
          </a:lstStyle>
          <a:p>
            <a:endParaRPr lang="en-US" dirty="0"/>
          </a:p>
        </p:txBody>
      </p:sp>
      <p:sp>
        <p:nvSpPr>
          <p:cNvPr id="40" name="Picture Placeholder 2"/>
          <p:cNvSpPr>
            <a:spLocks noGrp="1"/>
          </p:cNvSpPr>
          <p:nvPr>
            <p:ph type="pic" sz="quarter" idx="17"/>
          </p:nvPr>
        </p:nvSpPr>
        <p:spPr>
          <a:xfrm>
            <a:off x="4789489" y="1164924"/>
            <a:ext cx="1233496" cy="1288536"/>
          </a:xfrm>
          <a:solidFill>
            <a:schemeClr val="bg1">
              <a:lumMod val="75000"/>
            </a:schemeClr>
          </a:solidFill>
        </p:spPr>
        <p:txBody>
          <a:bodyPr>
            <a:normAutofit/>
          </a:bodyPr>
          <a:lstStyle>
            <a:lvl1pPr marL="0" indent="0" algn="ctr">
              <a:buNone/>
              <a:defRPr sz="800"/>
            </a:lvl1pPr>
          </a:lstStyle>
          <a:p>
            <a:endParaRPr lang="en-US"/>
          </a:p>
        </p:txBody>
      </p:sp>
      <p:sp>
        <p:nvSpPr>
          <p:cNvPr id="39" name="Picture Placeholder 2"/>
          <p:cNvSpPr>
            <a:spLocks noGrp="1"/>
          </p:cNvSpPr>
          <p:nvPr>
            <p:ph type="pic" sz="quarter" idx="16"/>
          </p:nvPr>
        </p:nvSpPr>
        <p:spPr>
          <a:xfrm>
            <a:off x="4220007" y="2090990"/>
            <a:ext cx="905321" cy="965435"/>
          </a:xfrm>
          <a:solidFill>
            <a:schemeClr val="bg1">
              <a:lumMod val="65000"/>
            </a:schemeClr>
          </a:solidFill>
        </p:spPr>
        <p:txBody>
          <a:bodyPr>
            <a:normAutofit/>
          </a:bodyPr>
          <a:lstStyle>
            <a:lvl1pPr marL="0" indent="0" algn="ctr">
              <a:buNone/>
              <a:defRPr sz="800"/>
            </a:lvl1pPr>
          </a:lstStyle>
          <a:p>
            <a:endParaRPr lang="en-US"/>
          </a:p>
        </p:txBody>
      </p:sp>
      <p:sp>
        <p:nvSpPr>
          <p:cNvPr id="42" name="Picture Placeholder 2"/>
          <p:cNvSpPr>
            <a:spLocks noGrp="1"/>
          </p:cNvSpPr>
          <p:nvPr>
            <p:ph type="pic" sz="quarter" idx="18"/>
          </p:nvPr>
        </p:nvSpPr>
        <p:spPr>
          <a:xfrm>
            <a:off x="6568983" y="1764371"/>
            <a:ext cx="1015933" cy="1055050"/>
          </a:xfrm>
          <a:solidFill>
            <a:schemeClr val="bg1">
              <a:lumMod val="75000"/>
            </a:schemeClr>
          </a:solidFill>
        </p:spPr>
        <p:txBody>
          <a:bodyPr>
            <a:normAutofit/>
          </a:bodyPr>
          <a:lstStyle>
            <a:lvl1pPr marL="0" indent="0" algn="ctr">
              <a:buNone/>
              <a:defRPr sz="800"/>
            </a:lvl1pPr>
          </a:lstStyle>
          <a:p>
            <a:endParaRPr lang="en-US"/>
          </a:p>
        </p:txBody>
      </p:sp>
      <p:sp>
        <p:nvSpPr>
          <p:cNvPr id="44" name="Picture Placeholder 2"/>
          <p:cNvSpPr>
            <a:spLocks noGrp="1"/>
          </p:cNvSpPr>
          <p:nvPr>
            <p:ph type="pic" sz="quarter" idx="20"/>
          </p:nvPr>
        </p:nvSpPr>
        <p:spPr>
          <a:xfrm>
            <a:off x="6320050" y="3316362"/>
            <a:ext cx="1512150" cy="1553539"/>
          </a:xfrm>
          <a:solidFill>
            <a:schemeClr val="bg1">
              <a:lumMod val="75000"/>
            </a:schemeClr>
          </a:solidFill>
        </p:spPr>
        <p:txBody>
          <a:bodyPr>
            <a:normAutofit/>
          </a:bodyPr>
          <a:lstStyle>
            <a:lvl1pPr marL="0" indent="0" algn="ctr">
              <a:buNone/>
              <a:defRPr sz="800"/>
            </a:lvl1pPr>
          </a:lstStyle>
          <a:p>
            <a:endParaRPr lang="en-US"/>
          </a:p>
        </p:txBody>
      </p:sp>
      <p:sp>
        <p:nvSpPr>
          <p:cNvPr id="43" name="Picture Placeholder 2"/>
          <p:cNvSpPr>
            <a:spLocks noGrp="1"/>
          </p:cNvSpPr>
          <p:nvPr>
            <p:ph type="pic" sz="quarter" idx="19"/>
          </p:nvPr>
        </p:nvSpPr>
        <p:spPr>
          <a:xfrm>
            <a:off x="7562400" y="2585844"/>
            <a:ext cx="1380784" cy="1454555"/>
          </a:xfrm>
          <a:solidFill>
            <a:schemeClr val="bg1">
              <a:lumMod val="65000"/>
            </a:schemeClr>
          </a:solidFill>
        </p:spPr>
        <p:txBody>
          <a:bodyPr>
            <a:normAutofit/>
          </a:bodyPr>
          <a:lstStyle>
            <a:lvl1pPr marL="0" indent="0" algn="ctr">
              <a:buNone/>
              <a:defRPr sz="800"/>
            </a:lvl1pPr>
          </a:lstStyle>
          <a:p>
            <a:endParaRPr lang="en-US"/>
          </a:p>
        </p:txBody>
      </p:sp>
      <p:sp>
        <p:nvSpPr>
          <p:cNvPr id="45" name="Picture Placeholder 2"/>
          <p:cNvSpPr>
            <a:spLocks noGrp="1"/>
          </p:cNvSpPr>
          <p:nvPr>
            <p:ph type="pic" sz="quarter" idx="21"/>
          </p:nvPr>
        </p:nvSpPr>
        <p:spPr>
          <a:xfrm>
            <a:off x="8431981" y="3589991"/>
            <a:ext cx="1916288" cy="2026159"/>
          </a:xfrm>
          <a:solidFill>
            <a:schemeClr val="bg1">
              <a:lumMod val="75000"/>
            </a:schemeClr>
          </a:solidFill>
        </p:spPr>
        <p:txBody>
          <a:bodyPr>
            <a:normAutofit/>
          </a:bodyPr>
          <a:lstStyle>
            <a:lvl1pPr marL="0" indent="0" algn="ctr">
              <a:buNone/>
              <a:defRPr sz="800"/>
            </a:lvl1pPr>
          </a:lstStyle>
          <a:p>
            <a:endParaRPr lang="en-US"/>
          </a:p>
        </p:txBody>
      </p:sp>
      <p:sp>
        <p:nvSpPr>
          <p:cNvPr id="46" name="Picture Placeholder 2"/>
          <p:cNvSpPr>
            <a:spLocks noGrp="1"/>
          </p:cNvSpPr>
          <p:nvPr>
            <p:ph type="pic" sz="quarter" idx="22"/>
          </p:nvPr>
        </p:nvSpPr>
        <p:spPr>
          <a:xfrm>
            <a:off x="9648880" y="2470425"/>
            <a:ext cx="1784220" cy="1878911"/>
          </a:xfrm>
          <a:solidFill>
            <a:schemeClr val="bg1">
              <a:lumMod val="65000"/>
            </a:schemeClr>
          </a:solidFill>
        </p:spPr>
        <p:txBody>
          <a:bodyPr>
            <a:normAutofit/>
          </a:bodyPr>
          <a:lstStyle>
            <a:lvl1pPr marL="0" indent="0" algn="ctr">
              <a:buNone/>
              <a:defRPr sz="800"/>
            </a:lvl1pPr>
          </a:lstStyle>
          <a:p>
            <a:endParaRPr 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showMasterSp="0" userDrawn="1">
  <p:cSld name="26_Blank">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14" name="Picture Placeholder 5"/>
          <p:cNvSpPr>
            <a:spLocks noGrp="1"/>
          </p:cNvSpPr>
          <p:nvPr>
            <p:ph type="pic" sz="quarter" idx="14"/>
          </p:nvPr>
        </p:nvSpPr>
        <p:spPr>
          <a:xfrm>
            <a:off x="3093509" y="1339409"/>
            <a:ext cx="4166896" cy="4166896"/>
          </a:xfrm>
          <a:custGeom>
            <a:avLst/>
            <a:gdLst>
              <a:gd name="connsiteX0" fmla="*/ 2083449 w 4166896"/>
              <a:gd name="connsiteY0" fmla="*/ 1556232 h 4166896"/>
              <a:gd name="connsiteX1" fmla="*/ 1556233 w 4166896"/>
              <a:gd name="connsiteY1" fmla="*/ 2083448 h 4166896"/>
              <a:gd name="connsiteX2" fmla="*/ 2083449 w 4166896"/>
              <a:gd name="connsiteY2" fmla="*/ 2610664 h 4166896"/>
              <a:gd name="connsiteX3" fmla="*/ 2610665 w 4166896"/>
              <a:gd name="connsiteY3" fmla="*/ 2083448 h 4166896"/>
              <a:gd name="connsiteX4" fmla="*/ 2083449 w 4166896"/>
              <a:gd name="connsiteY4" fmla="*/ 1556232 h 4166896"/>
              <a:gd name="connsiteX5" fmla="*/ 2083448 w 4166896"/>
              <a:gd name="connsiteY5" fmla="*/ 0 h 4166896"/>
              <a:gd name="connsiteX6" fmla="*/ 4166896 w 4166896"/>
              <a:gd name="connsiteY6" fmla="*/ 2083448 h 4166896"/>
              <a:gd name="connsiteX7" fmla="*/ 2083448 w 4166896"/>
              <a:gd name="connsiteY7" fmla="*/ 4166896 h 4166896"/>
              <a:gd name="connsiteX8" fmla="*/ 0 w 4166896"/>
              <a:gd name="connsiteY8" fmla="*/ 2083448 h 4166896"/>
              <a:gd name="connsiteX9" fmla="*/ 2083448 w 4166896"/>
              <a:gd name="connsiteY9" fmla="*/ 0 h 416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6896" h="4166896">
                <a:moveTo>
                  <a:pt x="2083449" y="1556232"/>
                </a:moveTo>
                <a:cubicBezTo>
                  <a:pt x="1792276" y="1556232"/>
                  <a:pt x="1556233" y="1792275"/>
                  <a:pt x="1556233" y="2083448"/>
                </a:cubicBezTo>
                <a:cubicBezTo>
                  <a:pt x="1556233" y="2374621"/>
                  <a:pt x="1792276" y="2610664"/>
                  <a:pt x="2083449" y="2610664"/>
                </a:cubicBezTo>
                <a:cubicBezTo>
                  <a:pt x="2374622" y="2610664"/>
                  <a:pt x="2610665" y="2374621"/>
                  <a:pt x="2610665" y="2083448"/>
                </a:cubicBezTo>
                <a:cubicBezTo>
                  <a:pt x="2610665" y="1792275"/>
                  <a:pt x="2374622" y="1556232"/>
                  <a:pt x="2083449" y="1556232"/>
                </a:cubicBezTo>
                <a:close/>
                <a:moveTo>
                  <a:pt x="2083448" y="0"/>
                </a:moveTo>
                <a:cubicBezTo>
                  <a:pt x="3234105" y="0"/>
                  <a:pt x="4166896" y="932791"/>
                  <a:pt x="4166896" y="2083448"/>
                </a:cubicBezTo>
                <a:cubicBezTo>
                  <a:pt x="4166896" y="3234105"/>
                  <a:pt x="3234105" y="4166896"/>
                  <a:pt x="2083448" y="4166896"/>
                </a:cubicBezTo>
                <a:cubicBezTo>
                  <a:pt x="932791" y="4166896"/>
                  <a:pt x="0" y="3234105"/>
                  <a:pt x="0" y="2083448"/>
                </a:cubicBezTo>
                <a:cubicBezTo>
                  <a:pt x="0" y="932791"/>
                  <a:pt x="932791" y="0"/>
                  <a:pt x="2083448" y="0"/>
                </a:cubicBezTo>
                <a:close/>
              </a:path>
            </a:pathLst>
          </a:custGeom>
          <a:solidFill>
            <a:schemeClr val="bg1">
              <a:lumMod val="85000"/>
            </a:schemeClr>
          </a:solidFill>
        </p:spPr>
        <p:txBody>
          <a:bodyPr wrap="square">
            <a:noAutofit/>
          </a:bodyPr>
          <a:lstStyle/>
          <a:p>
            <a:endParaRPr 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45300"/>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3" name="Picture Placeholder 2"/>
          <p:cNvSpPr>
            <a:spLocks noGrp="1"/>
          </p:cNvSpPr>
          <p:nvPr>
            <p:ph type="pic" sz="quarter" idx="14"/>
          </p:nvPr>
        </p:nvSpPr>
        <p:spPr>
          <a:xfrm>
            <a:off x="4509361" y="1734366"/>
            <a:ext cx="3624339" cy="3625215"/>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9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45300"/>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7" name="Picture Placeholder 6"/>
          <p:cNvSpPr>
            <a:spLocks noGrp="1"/>
          </p:cNvSpPr>
          <p:nvPr>
            <p:ph type="pic" sz="quarter" idx="14"/>
          </p:nvPr>
        </p:nvSpPr>
        <p:spPr>
          <a:xfrm>
            <a:off x="1160463" y="2032000"/>
            <a:ext cx="2860675" cy="2786063"/>
          </a:xfrm>
          <a:solidFill>
            <a:schemeClr val="bg1">
              <a:lumMod val="85000"/>
            </a:schemeClr>
          </a:solidFill>
        </p:spPr>
        <p:txBody>
          <a:bodyPr/>
          <a:lstStyle>
            <a:lvl1pPr marL="0" indent="0" algn="ctr">
              <a:buNone/>
              <a:defRPr/>
            </a:lvl1pPr>
          </a:lstStyle>
          <a:p>
            <a:endParaRPr lang="en-US"/>
          </a:p>
        </p:txBody>
      </p:sp>
      <p:sp>
        <p:nvSpPr>
          <p:cNvPr id="9" name="Picture Placeholder 6"/>
          <p:cNvSpPr>
            <a:spLocks noGrp="1"/>
          </p:cNvSpPr>
          <p:nvPr>
            <p:ph type="pic" sz="quarter" idx="15"/>
          </p:nvPr>
        </p:nvSpPr>
        <p:spPr>
          <a:xfrm>
            <a:off x="3957583" y="2032000"/>
            <a:ext cx="2860675" cy="2786063"/>
          </a:xfrm>
          <a:solidFill>
            <a:schemeClr val="bg1">
              <a:lumMod val="85000"/>
            </a:schemeClr>
          </a:solidFill>
        </p:spPr>
        <p:txBody>
          <a:bodyPr/>
          <a:lstStyle>
            <a:lvl1pPr marL="0" indent="0" algn="ctr">
              <a:buNone/>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4" name="Picture Placeholder 16"/>
          <p:cNvSpPr>
            <a:spLocks noGrp="1"/>
          </p:cNvSpPr>
          <p:nvPr>
            <p:ph type="pic" sz="quarter" idx="20"/>
          </p:nvPr>
        </p:nvSpPr>
        <p:spPr>
          <a:xfrm>
            <a:off x="-1" y="4474410"/>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5" name="Picture Placeholder 16"/>
          <p:cNvSpPr>
            <a:spLocks noGrp="1"/>
          </p:cNvSpPr>
          <p:nvPr>
            <p:ph type="pic" sz="quarter" idx="21"/>
          </p:nvPr>
        </p:nvSpPr>
        <p:spPr>
          <a:xfrm>
            <a:off x="2438398" y="4474410"/>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6" name="Picture Placeholder 16"/>
          <p:cNvSpPr>
            <a:spLocks noGrp="1"/>
          </p:cNvSpPr>
          <p:nvPr>
            <p:ph type="pic" sz="quarter" idx="22"/>
          </p:nvPr>
        </p:nvSpPr>
        <p:spPr>
          <a:xfrm>
            <a:off x="4876796" y="4474410"/>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7" name="Picture Placeholder 16"/>
          <p:cNvSpPr>
            <a:spLocks noGrp="1"/>
          </p:cNvSpPr>
          <p:nvPr>
            <p:ph type="pic" sz="quarter" idx="23"/>
          </p:nvPr>
        </p:nvSpPr>
        <p:spPr>
          <a:xfrm>
            <a:off x="7315199" y="4474410"/>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8" name="Picture Placeholder 16"/>
          <p:cNvSpPr>
            <a:spLocks noGrp="1"/>
          </p:cNvSpPr>
          <p:nvPr>
            <p:ph type="pic" sz="quarter" idx="24"/>
          </p:nvPr>
        </p:nvSpPr>
        <p:spPr>
          <a:xfrm>
            <a:off x="9753594" y="4474410"/>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17" name="Picture Placeholder 16"/>
          <p:cNvSpPr>
            <a:spLocks noGrp="1"/>
          </p:cNvSpPr>
          <p:nvPr>
            <p:ph type="pic" sz="quarter" idx="13"/>
          </p:nvPr>
        </p:nvSpPr>
        <p:spPr>
          <a:xfrm>
            <a:off x="-1" y="-1"/>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18" name="Picture Placeholder 16"/>
          <p:cNvSpPr>
            <a:spLocks noGrp="1"/>
          </p:cNvSpPr>
          <p:nvPr>
            <p:ph type="pic" sz="quarter" idx="14"/>
          </p:nvPr>
        </p:nvSpPr>
        <p:spPr>
          <a:xfrm>
            <a:off x="2438398" y="-1"/>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19" name="Picture Placeholder 16"/>
          <p:cNvSpPr>
            <a:spLocks noGrp="1"/>
          </p:cNvSpPr>
          <p:nvPr>
            <p:ph type="pic" sz="quarter" idx="15"/>
          </p:nvPr>
        </p:nvSpPr>
        <p:spPr>
          <a:xfrm>
            <a:off x="4876796" y="-1"/>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0" name="Picture Placeholder 16"/>
          <p:cNvSpPr>
            <a:spLocks noGrp="1"/>
          </p:cNvSpPr>
          <p:nvPr>
            <p:ph type="pic" sz="quarter" idx="16"/>
          </p:nvPr>
        </p:nvSpPr>
        <p:spPr>
          <a:xfrm>
            <a:off x="7315199" y="-1"/>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1" name="Picture Placeholder 16"/>
          <p:cNvSpPr>
            <a:spLocks noGrp="1"/>
          </p:cNvSpPr>
          <p:nvPr>
            <p:ph type="pic" sz="quarter" idx="17"/>
          </p:nvPr>
        </p:nvSpPr>
        <p:spPr>
          <a:xfrm>
            <a:off x="9753594" y="-1"/>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2" name="Picture Placeholder 16"/>
          <p:cNvSpPr>
            <a:spLocks noGrp="1"/>
          </p:cNvSpPr>
          <p:nvPr>
            <p:ph type="pic" sz="quarter" idx="18"/>
          </p:nvPr>
        </p:nvSpPr>
        <p:spPr>
          <a:xfrm>
            <a:off x="-1" y="2394856"/>
            <a:ext cx="2438399" cy="206828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3" name="Picture Placeholder 16"/>
          <p:cNvSpPr>
            <a:spLocks noGrp="1"/>
          </p:cNvSpPr>
          <p:nvPr>
            <p:ph type="pic" sz="quarter" idx="19"/>
          </p:nvPr>
        </p:nvSpPr>
        <p:spPr>
          <a:xfrm>
            <a:off x="9753601" y="2394856"/>
            <a:ext cx="2438399" cy="206828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58000"/>
          </a:xfrm>
          <a:noFill/>
        </p:spPr>
        <p:txBody>
          <a:bodyPr/>
          <a:lstStyle>
            <a:lvl1pPr marL="0" indent="0" algn="ctr">
              <a:buNone/>
              <a:defRPr>
                <a:solidFill>
                  <a:schemeClr val="tx1">
                    <a:lumMod val="65000"/>
                    <a:lumOff val="3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1492223"/>
            <a:ext cx="12192000" cy="4772976"/>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showMasterSp="0" userDrawn="1">
  <p:cSld name="39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5" name="Picture Placeholder 5"/>
          <p:cNvSpPr>
            <a:spLocks noGrp="1"/>
          </p:cNvSpPr>
          <p:nvPr>
            <p:ph type="pic" sz="quarter" idx="14"/>
          </p:nvPr>
        </p:nvSpPr>
        <p:spPr>
          <a:xfrm>
            <a:off x="1" y="1"/>
            <a:ext cx="12191999" cy="6160512"/>
          </a:xfrm>
          <a:custGeom>
            <a:avLst/>
            <a:gdLst>
              <a:gd name="connsiteX0" fmla="*/ 0 w 12191999"/>
              <a:gd name="connsiteY0" fmla="*/ 0 h 6160512"/>
              <a:gd name="connsiteX1" fmla="*/ 12191999 w 12191999"/>
              <a:gd name="connsiteY1" fmla="*/ 0 h 6160512"/>
              <a:gd name="connsiteX2" fmla="*/ 12191999 w 12191999"/>
              <a:gd name="connsiteY2" fmla="*/ 5668811 h 6160512"/>
              <a:gd name="connsiteX3" fmla="*/ 11724557 w 12191999"/>
              <a:gd name="connsiteY3" fmla="*/ 5668811 h 6160512"/>
              <a:gd name="connsiteX4" fmla="*/ 11364934 w 12191999"/>
              <a:gd name="connsiteY4" fmla="*/ 6160512 h 6160512"/>
              <a:gd name="connsiteX5" fmla="*/ 0 w 12191999"/>
              <a:gd name="connsiteY5" fmla="*/ 6160512 h 6160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160512">
                <a:moveTo>
                  <a:pt x="0" y="0"/>
                </a:moveTo>
                <a:lnTo>
                  <a:pt x="12191999" y="0"/>
                </a:lnTo>
                <a:lnTo>
                  <a:pt x="12191999" y="5668811"/>
                </a:lnTo>
                <a:lnTo>
                  <a:pt x="11724557" y="5668811"/>
                </a:lnTo>
                <a:lnTo>
                  <a:pt x="11364934" y="6160512"/>
                </a:lnTo>
                <a:lnTo>
                  <a:pt x="0" y="6160512"/>
                </a:lnTo>
                <a:close/>
              </a:path>
            </a:pathLst>
          </a:custGeom>
          <a:solidFill>
            <a:schemeClr val="bg1">
              <a:lumMod val="50000"/>
            </a:schemeClr>
          </a:solidFill>
        </p:spPr>
        <p:txBody>
          <a:bodyPr wrap="square">
            <a:noAutofit/>
          </a:bodyPr>
          <a:lstStyle>
            <a:lvl1pPr marL="0" indent="0" algn="r">
              <a:buNone/>
              <a:defRPr>
                <a:solidFill>
                  <a:schemeClr val="bg1">
                    <a:lumMod val="75000"/>
                  </a:schemeClr>
                </a:solidFill>
                <a:latin typeface="+mj-lt"/>
              </a:defRPr>
            </a:lvl1pPr>
          </a:lstStyle>
          <a:p>
            <a:endParaRPr 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8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58000"/>
          </a:xfrm>
          <a:noFill/>
        </p:spPr>
        <p:txBody>
          <a:bodyPr/>
          <a:lstStyle>
            <a:lvl1pPr marL="0" indent="0" algn="ctr">
              <a:buNone/>
              <a:defRPr>
                <a:solidFill>
                  <a:schemeClr val="tx1">
                    <a:lumMod val="65000"/>
                    <a:lumOff val="3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5" name="Picture Placeholder 2"/>
          <p:cNvSpPr>
            <a:spLocks noGrp="1"/>
          </p:cNvSpPr>
          <p:nvPr>
            <p:ph type="pic" sz="quarter" idx="14"/>
          </p:nvPr>
        </p:nvSpPr>
        <p:spPr>
          <a:xfrm>
            <a:off x="301211" y="1320800"/>
            <a:ext cx="8016139" cy="5732463"/>
          </a:xfrm>
          <a:solidFill>
            <a:schemeClr val="tx1">
              <a:lumMod val="85000"/>
              <a:lumOff val="15000"/>
            </a:schemeClr>
          </a:solidFill>
        </p:spPr>
        <p:txBody>
          <a:bodyPr/>
          <a:lstStyle/>
          <a:p>
            <a:endParaRPr 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showMasterSp="0" userDrawn="1">
  <p:cSld name="23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162701" y="153675"/>
            <a:ext cx="11866600" cy="6550652"/>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dirty="0"/>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showMasterSp="0">
  <p:cSld name="1_Blank">
    <p:bg>
      <p:bgPr>
        <a:pattFill prst="pct5">
          <a:fgClr>
            <a:schemeClr val="bg1">
              <a:lumMod val="85000"/>
            </a:schemeClr>
          </a:fgClr>
          <a:bgClr>
            <a:schemeClr val="bg1"/>
          </a:bgClr>
        </a:pattFill>
        <a:effectLst/>
      </p:bgPr>
    </p:bg>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ptop_mockup2">
    <p:spTree>
      <p:nvGrpSpPr>
        <p:cNvPr id="1" name=""/>
        <p:cNvGrpSpPr/>
        <p:nvPr/>
      </p:nvGrpSpPr>
      <p:grpSpPr>
        <a:xfrm>
          <a:off x="0" y="0"/>
          <a:ext cx="0" cy="0"/>
          <a:chOff x="0" y="0"/>
          <a:chExt cx="0" cy="0"/>
        </a:xfrm>
      </p:grpSpPr>
      <p:sp>
        <p:nvSpPr>
          <p:cNvPr id="15" name="Picture Placeholder 13"/>
          <p:cNvSpPr>
            <a:spLocks noGrp="1"/>
          </p:cNvSpPr>
          <p:nvPr>
            <p:ph type="pic" sz="quarter" idx="20"/>
          </p:nvPr>
        </p:nvSpPr>
        <p:spPr>
          <a:xfrm>
            <a:off x="6365962" y="1016302"/>
            <a:ext cx="4137675" cy="260682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ptop3">
    <p:spTree>
      <p:nvGrpSpPr>
        <p:cNvPr id="1" name=""/>
        <p:cNvGrpSpPr/>
        <p:nvPr/>
      </p:nvGrpSpPr>
      <p:grpSpPr>
        <a:xfrm>
          <a:off x="0" y="0"/>
          <a:ext cx="0" cy="0"/>
          <a:chOff x="0" y="0"/>
          <a:chExt cx="0" cy="0"/>
        </a:xfrm>
      </p:grpSpPr>
      <p:sp>
        <p:nvSpPr>
          <p:cNvPr id="17" name="Picture Placeholder 13"/>
          <p:cNvSpPr>
            <a:spLocks noGrp="1"/>
          </p:cNvSpPr>
          <p:nvPr>
            <p:ph type="pic" sz="quarter" idx="20"/>
          </p:nvPr>
        </p:nvSpPr>
        <p:spPr>
          <a:xfrm>
            <a:off x="6500689" y="2373904"/>
            <a:ext cx="4137675" cy="2610612"/>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Laptop3">
    <p:spTree>
      <p:nvGrpSpPr>
        <p:cNvPr id="1" name=""/>
        <p:cNvGrpSpPr/>
        <p:nvPr/>
      </p:nvGrpSpPr>
      <p:grpSpPr>
        <a:xfrm>
          <a:off x="0" y="0"/>
          <a:ext cx="0" cy="0"/>
          <a:chOff x="0" y="0"/>
          <a:chExt cx="0" cy="0"/>
        </a:xfrm>
      </p:grpSpPr>
      <p:sp>
        <p:nvSpPr>
          <p:cNvPr id="16" name="Picture Placeholder 13"/>
          <p:cNvSpPr>
            <a:spLocks noGrp="1"/>
          </p:cNvSpPr>
          <p:nvPr>
            <p:ph type="pic" sz="quarter" idx="20"/>
          </p:nvPr>
        </p:nvSpPr>
        <p:spPr>
          <a:xfrm>
            <a:off x="4216574" y="2674242"/>
            <a:ext cx="3790604" cy="240130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Responsive devices mockup">
    <p:spTree>
      <p:nvGrpSpPr>
        <p:cNvPr id="1" name=""/>
        <p:cNvGrpSpPr/>
        <p:nvPr/>
      </p:nvGrpSpPr>
      <p:grpSpPr>
        <a:xfrm>
          <a:off x="0" y="0"/>
          <a:ext cx="0" cy="0"/>
          <a:chOff x="0" y="0"/>
          <a:chExt cx="0" cy="0"/>
        </a:xfrm>
      </p:grpSpPr>
      <p:sp>
        <p:nvSpPr>
          <p:cNvPr id="61" name="Picture Placeholder 13"/>
          <p:cNvSpPr>
            <a:spLocks noGrp="1"/>
          </p:cNvSpPr>
          <p:nvPr>
            <p:ph type="pic" sz="quarter" idx="19"/>
          </p:nvPr>
        </p:nvSpPr>
        <p:spPr>
          <a:xfrm>
            <a:off x="9349301" y="2966473"/>
            <a:ext cx="527112" cy="925080"/>
          </a:xfrm>
          <a:prstGeom prst="rect">
            <a:avLst/>
          </a:prstGeom>
          <a:effectLst/>
        </p:spPr>
        <p:txBody>
          <a:bodyPr>
            <a:normAutofit/>
          </a:bodyPr>
          <a:lstStyle>
            <a:lvl1pPr marL="0" indent="0">
              <a:buNone/>
              <a:defRPr sz="6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62" name="Picture Placeholder 13"/>
          <p:cNvSpPr>
            <a:spLocks noGrp="1"/>
          </p:cNvSpPr>
          <p:nvPr>
            <p:ph type="pic" sz="quarter" idx="20"/>
          </p:nvPr>
        </p:nvSpPr>
        <p:spPr>
          <a:xfrm>
            <a:off x="6439371" y="937960"/>
            <a:ext cx="3793652" cy="212986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63" name="Picture Placeholder 13"/>
          <p:cNvSpPr>
            <a:spLocks noGrp="1"/>
          </p:cNvSpPr>
          <p:nvPr>
            <p:ph type="pic" sz="quarter" idx="21"/>
          </p:nvPr>
        </p:nvSpPr>
        <p:spPr>
          <a:xfrm>
            <a:off x="10064163" y="2241835"/>
            <a:ext cx="1238522" cy="1649718"/>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64" name="Picture Placeholder 13"/>
          <p:cNvSpPr>
            <a:spLocks noGrp="1"/>
          </p:cNvSpPr>
          <p:nvPr>
            <p:ph type="pic" sz="quarter" idx="22"/>
          </p:nvPr>
        </p:nvSpPr>
        <p:spPr>
          <a:xfrm>
            <a:off x="5044065" y="2320279"/>
            <a:ext cx="2432019" cy="1538507"/>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ortfolio of 4">
    <p:spTree>
      <p:nvGrpSpPr>
        <p:cNvPr id="1" name=""/>
        <p:cNvGrpSpPr/>
        <p:nvPr/>
      </p:nvGrpSpPr>
      <p:grpSpPr>
        <a:xfrm>
          <a:off x="0" y="0"/>
          <a:ext cx="0" cy="0"/>
          <a:chOff x="0" y="0"/>
          <a:chExt cx="0" cy="0"/>
        </a:xfrm>
      </p:grpSpPr>
      <p:sp>
        <p:nvSpPr>
          <p:cNvPr id="7" name="Picture Placeholder 13"/>
          <p:cNvSpPr>
            <a:spLocks noGrp="1"/>
          </p:cNvSpPr>
          <p:nvPr>
            <p:ph type="pic" sz="quarter" idx="18"/>
          </p:nvPr>
        </p:nvSpPr>
        <p:spPr>
          <a:xfrm>
            <a:off x="6101306" y="3423424"/>
            <a:ext cx="6090694" cy="343457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8" name="Picture Placeholder 13"/>
          <p:cNvSpPr>
            <a:spLocks noGrp="1"/>
          </p:cNvSpPr>
          <p:nvPr>
            <p:ph type="pic" sz="quarter" idx="19"/>
          </p:nvPr>
        </p:nvSpPr>
        <p:spPr>
          <a:xfrm>
            <a:off x="0" y="3423424"/>
            <a:ext cx="6101306" cy="343457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9" name="Picture Placeholder 13"/>
          <p:cNvSpPr>
            <a:spLocks noGrp="1"/>
          </p:cNvSpPr>
          <p:nvPr>
            <p:ph type="pic" sz="quarter" idx="20"/>
          </p:nvPr>
        </p:nvSpPr>
        <p:spPr>
          <a:xfrm>
            <a:off x="6101306" y="0"/>
            <a:ext cx="6090694" cy="3423424"/>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3183467"/>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s">
    <p:spTree>
      <p:nvGrpSpPr>
        <p:cNvPr id="1" name=""/>
        <p:cNvGrpSpPr/>
        <p:nvPr/>
      </p:nvGrpSpPr>
      <p:grpSpPr>
        <a:xfrm>
          <a:off x="0" y="0"/>
          <a:ext cx="0" cy="0"/>
          <a:chOff x="0" y="0"/>
          <a:chExt cx="0" cy="0"/>
        </a:xfrm>
      </p:grpSpPr>
      <p:sp>
        <p:nvSpPr>
          <p:cNvPr id="7" name="Picture Placeholder 13"/>
          <p:cNvSpPr>
            <a:spLocks noGrp="1"/>
          </p:cNvSpPr>
          <p:nvPr>
            <p:ph type="pic" sz="quarter" idx="18"/>
          </p:nvPr>
        </p:nvSpPr>
        <p:spPr>
          <a:xfrm>
            <a:off x="6101306" y="3423424"/>
            <a:ext cx="6090694" cy="343457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9" name="Picture Placeholder 13"/>
          <p:cNvSpPr>
            <a:spLocks noGrp="1"/>
          </p:cNvSpPr>
          <p:nvPr>
            <p:ph type="pic" sz="quarter" idx="20"/>
          </p:nvPr>
        </p:nvSpPr>
        <p:spPr>
          <a:xfrm>
            <a:off x="-11154" y="0"/>
            <a:ext cx="6112460" cy="3423424"/>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ortfolio Masonry Left">
    <p:spTree>
      <p:nvGrpSpPr>
        <p:cNvPr id="1" name=""/>
        <p:cNvGrpSpPr/>
        <p:nvPr/>
      </p:nvGrpSpPr>
      <p:grpSpPr>
        <a:xfrm>
          <a:off x="0" y="0"/>
          <a:ext cx="0" cy="0"/>
          <a:chOff x="0" y="0"/>
          <a:chExt cx="0" cy="0"/>
        </a:xfrm>
      </p:grpSpPr>
      <p:sp>
        <p:nvSpPr>
          <p:cNvPr id="10" name="Picture Placeholder 13"/>
          <p:cNvSpPr>
            <a:spLocks noGrp="1"/>
          </p:cNvSpPr>
          <p:nvPr>
            <p:ph type="pic" sz="quarter" idx="19"/>
          </p:nvPr>
        </p:nvSpPr>
        <p:spPr>
          <a:xfrm>
            <a:off x="0" y="4594303"/>
            <a:ext cx="2963853" cy="2263697"/>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1" name="Picture Placeholder 13"/>
          <p:cNvSpPr>
            <a:spLocks noGrp="1"/>
          </p:cNvSpPr>
          <p:nvPr>
            <p:ph type="pic" sz="quarter" idx="20"/>
          </p:nvPr>
        </p:nvSpPr>
        <p:spPr>
          <a:xfrm>
            <a:off x="0" y="-5577"/>
            <a:ext cx="2989305" cy="446606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21"/>
          </p:nvPr>
        </p:nvSpPr>
        <p:spPr>
          <a:xfrm>
            <a:off x="3126299" y="-5577"/>
            <a:ext cx="2963853" cy="2258123"/>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3" name="Picture Placeholder 13"/>
          <p:cNvSpPr>
            <a:spLocks noGrp="1"/>
          </p:cNvSpPr>
          <p:nvPr>
            <p:ph type="pic" sz="quarter" idx="22"/>
          </p:nvPr>
        </p:nvSpPr>
        <p:spPr>
          <a:xfrm>
            <a:off x="3126299" y="2391935"/>
            <a:ext cx="2963853" cy="446606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ortfolio Masonry Right">
    <p:spTree>
      <p:nvGrpSpPr>
        <p:cNvPr id="1" name=""/>
        <p:cNvGrpSpPr/>
        <p:nvPr/>
      </p:nvGrpSpPr>
      <p:grpSpPr>
        <a:xfrm>
          <a:off x="0" y="0"/>
          <a:ext cx="0" cy="0"/>
          <a:chOff x="0" y="0"/>
          <a:chExt cx="0" cy="0"/>
        </a:xfrm>
      </p:grpSpPr>
      <p:sp>
        <p:nvSpPr>
          <p:cNvPr id="10" name="Picture Placeholder 13"/>
          <p:cNvSpPr>
            <a:spLocks noGrp="1"/>
          </p:cNvSpPr>
          <p:nvPr>
            <p:ph type="pic" sz="quarter" idx="19"/>
          </p:nvPr>
        </p:nvSpPr>
        <p:spPr>
          <a:xfrm>
            <a:off x="9202695" y="4594303"/>
            <a:ext cx="2989305" cy="2263697"/>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1" name="Picture Placeholder 13"/>
          <p:cNvSpPr>
            <a:spLocks noGrp="1"/>
          </p:cNvSpPr>
          <p:nvPr>
            <p:ph type="pic" sz="quarter" idx="20"/>
          </p:nvPr>
        </p:nvSpPr>
        <p:spPr>
          <a:xfrm>
            <a:off x="9202695" y="-5577"/>
            <a:ext cx="2989305" cy="446606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21"/>
          </p:nvPr>
        </p:nvSpPr>
        <p:spPr>
          <a:xfrm>
            <a:off x="6082684" y="-5577"/>
            <a:ext cx="2963853" cy="2258123"/>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3" name="Picture Placeholder 13"/>
          <p:cNvSpPr>
            <a:spLocks noGrp="1"/>
          </p:cNvSpPr>
          <p:nvPr>
            <p:ph type="pic" sz="quarter" idx="22"/>
          </p:nvPr>
        </p:nvSpPr>
        <p:spPr>
          <a:xfrm>
            <a:off x="6082684" y="2391935"/>
            <a:ext cx="2963853" cy="446606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ortfolio5">
    <p:spTree>
      <p:nvGrpSpPr>
        <p:cNvPr id="1" name=""/>
        <p:cNvGrpSpPr/>
        <p:nvPr/>
      </p:nvGrpSpPr>
      <p:grpSpPr>
        <a:xfrm>
          <a:off x="0" y="0"/>
          <a:ext cx="0" cy="0"/>
          <a:chOff x="0" y="0"/>
          <a:chExt cx="0" cy="0"/>
        </a:xfrm>
      </p:grpSpPr>
      <p:sp>
        <p:nvSpPr>
          <p:cNvPr id="7" name="Rectangle 7"/>
          <p:cNvSpPr/>
          <p:nvPr userDrawn="1"/>
        </p:nvSpPr>
        <p:spPr>
          <a:xfrm>
            <a:off x="1729238" y="6400800"/>
            <a:ext cx="869383" cy="2341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6" name="Picture Placeholder 13"/>
          <p:cNvSpPr>
            <a:spLocks noGrp="1"/>
          </p:cNvSpPr>
          <p:nvPr>
            <p:ph type="pic" sz="quarter" idx="19"/>
          </p:nvPr>
        </p:nvSpPr>
        <p:spPr>
          <a:xfrm>
            <a:off x="0" y="1672683"/>
            <a:ext cx="2130438" cy="15611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0" name="Picture Placeholder 13"/>
          <p:cNvSpPr>
            <a:spLocks noGrp="1"/>
          </p:cNvSpPr>
          <p:nvPr>
            <p:ph type="pic" sz="quarter" idx="20"/>
          </p:nvPr>
        </p:nvSpPr>
        <p:spPr>
          <a:xfrm>
            <a:off x="5052818" y="3376961"/>
            <a:ext cx="1505265" cy="152957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1" name="Picture Placeholder 13"/>
          <p:cNvSpPr>
            <a:spLocks noGrp="1"/>
          </p:cNvSpPr>
          <p:nvPr>
            <p:ph type="pic" sz="quarter" idx="21"/>
          </p:nvPr>
        </p:nvSpPr>
        <p:spPr>
          <a:xfrm>
            <a:off x="2264287" y="3376961"/>
            <a:ext cx="2654682" cy="348103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22"/>
          </p:nvPr>
        </p:nvSpPr>
        <p:spPr>
          <a:xfrm>
            <a:off x="2264287" y="-11151"/>
            <a:ext cx="4293796" cy="324500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ortfolio 6">
    <p:spTree>
      <p:nvGrpSpPr>
        <p:cNvPr id="1" name=""/>
        <p:cNvGrpSpPr/>
        <p:nvPr/>
      </p:nvGrpSpPr>
      <p:grpSpPr>
        <a:xfrm>
          <a:off x="0" y="0"/>
          <a:ext cx="0" cy="0"/>
          <a:chOff x="0" y="0"/>
          <a:chExt cx="0" cy="0"/>
        </a:xfrm>
      </p:grpSpPr>
      <p:sp>
        <p:nvSpPr>
          <p:cNvPr id="6" name="Rectangle 7"/>
          <p:cNvSpPr/>
          <p:nvPr userDrawn="1"/>
        </p:nvSpPr>
        <p:spPr>
          <a:xfrm>
            <a:off x="1729238" y="6400800"/>
            <a:ext cx="869383" cy="2341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17" name="Picture Placeholder 13"/>
          <p:cNvSpPr>
            <a:spLocks noGrp="1"/>
          </p:cNvSpPr>
          <p:nvPr>
            <p:ph type="pic" sz="quarter" idx="24"/>
          </p:nvPr>
        </p:nvSpPr>
        <p:spPr>
          <a:xfrm>
            <a:off x="0" y="-11151"/>
            <a:ext cx="2453908" cy="68691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9" name="Picture Placeholder 13"/>
          <p:cNvSpPr>
            <a:spLocks noGrp="1"/>
          </p:cNvSpPr>
          <p:nvPr>
            <p:ph type="pic" sz="quarter" idx="23"/>
          </p:nvPr>
        </p:nvSpPr>
        <p:spPr>
          <a:xfrm>
            <a:off x="2582284" y="3376962"/>
            <a:ext cx="2654682" cy="348103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0" name="Picture Placeholder 13"/>
          <p:cNvSpPr>
            <a:spLocks noGrp="1"/>
          </p:cNvSpPr>
          <p:nvPr>
            <p:ph type="pic" sz="quarter" idx="25"/>
          </p:nvPr>
        </p:nvSpPr>
        <p:spPr>
          <a:xfrm>
            <a:off x="2582284" y="-11151"/>
            <a:ext cx="2654682" cy="324500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1" name="Picture Placeholder 13"/>
          <p:cNvSpPr>
            <a:spLocks noGrp="1"/>
          </p:cNvSpPr>
          <p:nvPr>
            <p:ph type="pic" sz="quarter" idx="22"/>
          </p:nvPr>
        </p:nvSpPr>
        <p:spPr>
          <a:xfrm>
            <a:off x="5365343" y="-11151"/>
            <a:ext cx="2453908" cy="68691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ortfolio 7">
    <p:spTree>
      <p:nvGrpSpPr>
        <p:cNvPr id="1" name=""/>
        <p:cNvGrpSpPr/>
        <p:nvPr/>
      </p:nvGrpSpPr>
      <p:grpSpPr>
        <a:xfrm>
          <a:off x="0" y="0"/>
          <a:ext cx="0" cy="0"/>
          <a:chOff x="0" y="0"/>
          <a:chExt cx="0" cy="0"/>
        </a:xfrm>
      </p:grpSpPr>
      <p:sp>
        <p:nvSpPr>
          <p:cNvPr id="17" name="Picture Placeholder 13"/>
          <p:cNvSpPr>
            <a:spLocks noGrp="1"/>
          </p:cNvSpPr>
          <p:nvPr>
            <p:ph type="pic" sz="quarter" idx="24"/>
          </p:nvPr>
        </p:nvSpPr>
        <p:spPr>
          <a:xfrm>
            <a:off x="4372749" y="-11151"/>
            <a:ext cx="2453908" cy="68691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9" name="Picture Placeholder 13"/>
          <p:cNvSpPr>
            <a:spLocks noGrp="1"/>
          </p:cNvSpPr>
          <p:nvPr>
            <p:ph type="pic" sz="quarter" idx="23"/>
          </p:nvPr>
        </p:nvSpPr>
        <p:spPr>
          <a:xfrm>
            <a:off x="6955034" y="3376962"/>
            <a:ext cx="2654682" cy="348103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0" name="Picture Placeholder 13"/>
          <p:cNvSpPr>
            <a:spLocks noGrp="1"/>
          </p:cNvSpPr>
          <p:nvPr>
            <p:ph type="pic" sz="quarter" idx="25"/>
          </p:nvPr>
        </p:nvSpPr>
        <p:spPr>
          <a:xfrm>
            <a:off x="6955034" y="-11151"/>
            <a:ext cx="2654682" cy="324500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1" name="Picture Placeholder 13"/>
          <p:cNvSpPr>
            <a:spLocks noGrp="1"/>
          </p:cNvSpPr>
          <p:nvPr>
            <p:ph type="pic" sz="quarter" idx="22"/>
          </p:nvPr>
        </p:nvSpPr>
        <p:spPr>
          <a:xfrm>
            <a:off x="9738092" y="-11151"/>
            <a:ext cx="2453908" cy="68691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Portfolio5">
    <p:spTree>
      <p:nvGrpSpPr>
        <p:cNvPr id="1" name=""/>
        <p:cNvGrpSpPr/>
        <p:nvPr/>
      </p:nvGrpSpPr>
      <p:grpSpPr>
        <a:xfrm>
          <a:off x="0" y="0"/>
          <a:ext cx="0" cy="0"/>
          <a:chOff x="0" y="0"/>
          <a:chExt cx="0" cy="0"/>
        </a:xfrm>
      </p:grpSpPr>
      <p:sp>
        <p:nvSpPr>
          <p:cNvPr id="6" name="Picture Placeholder 13"/>
          <p:cNvSpPr>
            <a:spLocks noGrp="1"/>
          </p:cNvSpPr>
          <p:nvPr>
            <p:ph type="pic" sz="quarter" idx="19"/>
          </p:nvPr>
        </p:nvSpPr>
        <p:spPr>
          <a:xfrm>
            <a:off x="10061562" y="1672683"/>
            <a:ext cx="2130438" cy="15611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0" name="Picture Placeholder 13"/>
          <p:cNvSpPr>
            <a:spLocks noGrp="1"/>
          </p:cNvSpPr>
          <p:nvPr>
            <p:ph type="pic" sz="quarter" idx="20"/>
          </p:nvPr>
        </p:nvSpPr>
        <p:spPr>
          <a:xfrm>
            <a:off x="5611608" y="3376961"/>
            <a:ext cx="1505265" cy="152957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1" name="Picture Placeholder 13"/>
          <p:cNvSpPr>
            <a:spLocks noGrp="1"/>
          </p:cNvSpPr>
          <p:nvPr>
            <p:ph type="pic" sz="quarter" idx="21"/>
          </p:nvPr>
        </p:nvSpPr>
        <p:spPr>
          <a:xfrm>
            <a:off x="7273030" y="3376961"/>
            <a:ext cx="2654682" cy="348103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22"/>
          </p:nvPr>
        </p:nvSpPr>
        <p:spPr>
          <a:xfrm>
            <a:off x="5611608" y="-11151"/>
            <a:ext cx="4293796" cy="324500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phone_devices of 3">
    <p:spTree>
      <p:nvGrpSpPr>
        <p:cNvPr id="1" name=""/>
        <p:cNvGrpSpPr/>
        <p:nvPr/>
      </p:nvGrpSpPr>
      <p:grpSpPr>
        <a:xfrm>
          <a:off x="0" y="0"/>
          <a:ext cx="0" cy="0"/>
          <a:chOff x="0" y="0"/>
          <a:chExt cx="0" cy="0"/>
        </a:xfrm>
      </p:grpSpPr>
      <p:sp>
        <p:nvSpPr>
          <p:cNvPr id="5" name="Rectangle 7"/>
          <p:cNvSpPr/>
          <p:nvPr userDrawn="1"/>
        </p:nvSpPr>
        <p:spPr>
          <a:xfrm>
            <a:off x="1753056" y="6362700"/>
            <a:ext cx="1105188" cy="3429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60" name="Picture Placeholder 13"/>
          <p:cNvSpPr>
            <a:spLocks noGrp="1"/>
          </p:cNvSpPr>
          <p:nvPr>
            <p:ph type="pic" sz="quarter" idx="18"/>
          </p:nvPr>
        </p:nvSpPr>
        <p:spPr>
          <a:xfrm>
            <a:off x="7680343" y="5618218"/>
            <a:ext cx="2091948" cy="3666852"/>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61" name="Picture Placeholder 13"/>
          <p:cNvSpPr>
            <a:spLocks noGrp="1"/>
          </p:cNvSpPr>
          <p:nvPr>
            <p:ph type="pic" sz="quarter" idx="19"/>
          </p:nvPr>
        </p:nvSpPr>
        <p:spPr>
          <a:xfrm>
            <a:off x="5052997" y="4177822"/>
            <a:ext cx="2091948" cy="3666852"/>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62" name="Picture Placeholder 13"/>
          <p:cNvSpPr>
            <a:spLocks noGrp="1"/>
          </p:cNvSpPr>
          <p:nvPr>
            <p:ph type="pic" sz="quarter" idx="20"/>
          </p:nvPr>
        </p:nvSpPr>
        <p:spPr>
          <a:xfrm>
            <a:off x="2411317" y="5618218"/>
            <a:ext cx="2091948" cy="3666852"/>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phone of 3">
    <p:spTree>
      <p:nvGrpSpPr>
        <p:cNvPr id="1" name=""/>
        <p:cNvGrpSpPr/>
        <p:nvPr/>
      </p:nvGrpSpPr>
      <p:grpSpPr>
        <a:xfrm>
          <a:off x="0" y="0"/>
          <a:ext cx="0" cy="0"/>
          <a:chOff x="0" y="0"/>
          <a:chExt cx="0" cy="0"/>
        </a:xfrm>
      </p:grpSpPr>
      <p:sp>
        <p:nvSpPr>
          <p:cNvPr id="9" name="Picture Placeholder 13"/>
          <p:cNvSpPr>
            <a:spLocks noGrp="1"/>
          </p:cNvSpPr>
          <p:nvPr>
            <p:ph type="pic" sz="quarter" idx="20"/>
          </p:nvPr>
        </p:nvSpPr>
        <p:spPr>
          <a:xfrm>
            <a:off x="8297880" y="2495877"/>
            <a:ext cx="1927637" cy="340311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0" name="Picture Placeholder 13"/>
          <p:cNvSpPr>
            <a:spLocks noGrp="1"/>
          </p:cNvSpPr>
          <p:nvPr>
            <p:ph type="pic" sz="quarter" idx="21"/>
          </p:nvPr>
        </p:nvSpPr>
        <p:spPr>
          <a:xfrm>
            <a:off x="1953998" y="2495877"/>
            <a:ext cx="1927637" cy="340311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1" name="Picture Placeholder 13"/>
          <p:cNvSpPr>
            <a:spLocks noGrp="1"/>
          </p:cNvSpPr>
          <p:nvPr>
            <p:ph type="pic" sz="quarter" idx="22"/>
          </p:nvPr>
        </p:nvSpPr>
        <p:spPr>
          <a:xfrm>
            <a:off x="5124606" y="2495877"/>
            <a:ext cx="1927637" cy="340311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pp features">
    <p:spTree>
      <p:nvGrpSpPr>
        <p:cNvPr id="1" name=""/>
        <p:cNvGrpSpPr/>
        <p:nvPr/>
      </p:nvGrpSpPr>
      <p:grpSpPr>
        <a:xfrm>
          <a:off x="0" y="0"/>
          <a:ext cx="0" cy="0"/>
          <a:chOff x="0" y="0"/>
          <a:chExt cx="0" cy="0"/>
        </a:xfrm>
      </p:grpSpPr>
      <p:sp>
        <p:nvSpPr>
          <p:cNvPr id="44" name="Picture Placeholder 13"/>
          <p:cNvSpPr>
            <a:spLocks noGrp="1"/>
          </p:cNvSpPr>
          <p:nvPr>
            <p:ph type="pic" sz="quarter" idx="20"/>
          </p:nvPr>
        </p:nvSpPr>
        <p:spPr>
          <a:xfrm>
            <a:off x="7041231" y="2149557"/>
            <a:ext cx="2936460" cy="516382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1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1919679"/>
            <a:ext cx="12192000" cy="2459786"/>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PAD RIGHT">
    <p:spTree>
      <p:nvGrpSpPr>
        <p:cNvPr id="1" name=""/>
        <p:cNvGrpSpPr/>
        <p:nvPr/>
      </p:nvGrpSpPr>
      <p:grpSpPr>
        <a:xfrm>
          <a:off x="0" y="0"/>
          <a:ext cx="0" cy="0"/>
          <a:chOff x="0" y="0"/>
          <a:chExt cx="0" cy="0"/>
        </a:xfrm>
      </p:grpSpPr>
      <p:sp>
        <p:nvSpPr>
          <p:cNvPr id="16" name="Picture Placeholder 13"/>
          <p:cNvSpPr>
            <a:spLocks noGrp="1"/>
          </p:cNvSpPr>
          <p:nvPr>
            <p:ph type="pic" sz="quarter" idx="20"/>
          </p:nvPr>
        </p:nvSpPr>
        <p:spPr>
          <a:xfrm>
            <a:off x="7478813" y="1217875"/>
            <a:ext cx="3229152" cy="4305323"/>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PAD LEFT">
    <p:spTree>
      <p:nvGrpSpPr>
        <p:cNvPr id="1" name=""/>
        <p:cNvGrpSpPr/>
        <p:nvPr/>
      </p:nvGrpSpPr>
      <p:grpSpPr>
        <a:xfrm>
          <a:off x="0" y="0"/>
          <a:ext cx="0" cy="0"/>
          <a:chOff x="0" y="0"/>
          <a:chExt cx="0" cy="0"/>
        </a:xfrm>
      </p:grpSpPr>
      <p:sp>
        <p:nvSpPr>
          <p:cNvPr id="17" name="Picture Placeholder 13"/>
          <p:cNvSpPr>
            <a:spLocks noGrp="1"/>
          </p:cNvSpPr>
          <p:nvPr>
            <p:ph type="pic" sz="quarter" idx="20"/>
          </p:nvPr>
        </p:nvSpPr>
        <p:spPr>
          <a:xfrm>
            <a:off x="1263934" y="1217875"/>
            <a:ext cx="3229152" cy="4305323"/>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aptop mockup">
    <p:spTree>
      <p:nvGrpSpPr>
        <p:cNvPr id="1" name=""/>
        <p:cNvGrpSpPr/>
        <p:nvPr/>
      </p:nvGrpSpPr>
      <p:grpSpPr>
        <a:xfrm>
          <a:off x="0" y="0"/>
          <a:ext cx="0" cy="0"/>
          <a:chOff x="0" y="0"/>
          <a:chExt cx="0" cy="0"/>
        </a:xfrm>
      </p:grpSpPr>
      <p:sp>
        <p:nvSpPr>
          <p:cNvPr id="45" name="Picture Placeholder 13"/>
          <p:cNvSpPr>
            <a:spLocks noGrp="1"/>
          </p:cNvSpPr>
          <p:nvPr>
            <p:ph type="pic" sz="quarter" idx="22"/>
          </p:nvPr>
        </p:nvSpPr>
        <p:spPr>
          <a:xfrm>
            <a:off x="7341086" y="3410818"/>
            <a:ext cx="2908549" cy="1847088"/>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47" name="Picture Placeholder 13"/>
          <p:cNvSpPr>
            <a:spLocks noGrp="1"/>
          </p:cNvSpPr>
          <p:nvPr>
            <p:ph type="pic" sz="quarter" idx="24"/>
          </p:nvPr>
        </p:nvSpPr>
        <p:spPr>
          <a:xfrm>
            <a:off x="1930377" y="3410818"/>
            <a:ext cx="2908549" cy="1847088"/>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46" name="Picture Placeholder 13"/>
          <p:cNvSpPr>
            <a:spLocks noGrp="1"/>
          </p:cNvSpPr>
          <p:nvPr>
            <p:ph type="pic" sz="quarter" idx="23"/>
          </p:nvPr>
        </p:nvSpPr>
        <p:spPr>
          <a:xfrm>
            <a:off x="4452513" y="3767647"/>
            <a:ext cx="3281748" cy="207111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rojects 2">
    <p:spTree>
      <p:nvGrpSpPr>
        <p:cNvPr id="1" name=""/>
        <p:cNvGrpSpPr/>
        <p:nvPr/>
      </p:nvGrpSpPr>
      <p:grpSpPr>
        <a:xfrm>
          <a:off x="0" y="0"/>
          <a:ext cx="0" cy="0"/>
          <a:chOff x="0" y="0"/>
          <a:chExt cx="0" cy="0"/>
        </a:xfrm>
      </p:grpSpPr>
      <p:sp>
        <p:nvSpPr>
          <p:cNvPr id="6" name="Picture Placeholder 13"/>
          <p:cNvSpPr>
            <a:spLocks noGrp="1"/>
          </p:cNvSpPr>
          <p:nvPr>
            <p:ph type="pic" sz="quarter" idx="17"/>
          </p:nvPr>
        </p:nvSpPr>
        <p:spPr>
          <a:xfrm>
            <a:off x="791130" y="3416300"/>
            <a:ext cx="2575247" cy="34417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7" name="Picture Placeholder 13"/>
          <p:cNvSpPr>
            <a:spLocks noGrp="1"/>
          </p:cNvSpPr>
          <p:nvPr>
            <p:ph type="pic" sz="quarter" idx="18"/>
          </p:nvPr>
        </p:nvSpPr>
        <p:spPr>
          <a:xfrm>
            <a:off x="2078753" y="2286000"/>
            <a:ext cx="2575247" cy="34417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Right Project">
    <p:spTree>
      <p:nvGrpSpPr>
        <p:cNvPr id="1" name=""/>
        <p:cNvGrpSpPr/>
        <p:nvPr/>
      </p:nvGrpSpPr>
      <p:grpSpPr>
        <a:xfrm>
          <a:off x="0" y="0"/>
          <a:ext cx="0" cy="0"/>
          <a:chOff x="0" y="0"/>
          <a:chExt cx="0" cy="0"/>
        </a:xfrm>
      </p:grpSpPr>
      <p:sp>
        <p:nvSpPr>
          <p:cNvPr id="6" name="Picture Placeholder 13"/>
          <p:cNvSpPr>
            <a:spLocks noGrp="1"/>
          </p:cNvSpPr>
          <p:nvPr>
            <p:ph type="pic" sz="quarter" idx="17"/>
          </p:nvPr>
        </p:nvSpPr>
        <p:spPr>
          <a:xfrm>
            <a:off x="8632668" y="3416300"/>
            <a:ext cx="2575247" cy="34417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7" name="Picture Placeholder 13"/>
          <p:cNvSpPr>
            <a:spLocks noGrp="1"/>
          </p:cNvSpPr>
          <p:nvPr>
            <p:ph type="pic" sz="quarter" idx="18"/>
          </p:nvPr>
        </p:nvSpPr>
        <p:spPr>
          <a:xfrm>
            <a:off x="7345045" y="2286000"/>
            <a:ext cx="2575247" cy="34417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Projects 2">
    <p:spTree>
      <p:nvGrpSpPr>
        <p:cNvPr id="1" name=""/>
        <p:cNvGrpSpPr/>
        <p:nvPr/>
      </p:nvGrpSpPr>
      <p:grpSpPr>
        <a:xfrm>
          <a:off x="0" y="0"/>
          <a:ext cx="0" cy="0"/>
          <a:chOff x="0" y="0"/>
          <a:chExt cx="0" cy="0"/>
        </a:xfrm>
      </p:grpSpPr>
      <p:sp>
        <p:nvSpPr>
          <p:cNvPr id="11" name="Picture Placeholder 13"/>
          <p:cNvSpPr>
            <a:spLocks noGrp="1"/>
          </p:cNvSpPr>
          <p:nvPr>
            <p:ph type="pic" sz="quarter" idx="18"/>
          </p:nvPr>
        </p:nvSpPr>
        <p:spPr>
          <a:xfrm>
            <a:off x="6096000" y="2265391"/>
            <a:ext cx="4795280" cy="35306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Projects 2">
    <p:spTree>
      <p:nvGrpSpPr>
        <p:cNvPr id="1" name=""/>
        <p:cNvGrpSpPr/>
        <p:nvPr/>
      </p:nvGrpSpPr>
      <p:grpSpPr>
        <a:xfrm>
          <a:off x="0" y="0"/>
          <a:ext cx="0" cy="0"/>
          <a:chOff x="0" y="0"/>
          <a:chExt cx="0" cy="0"/>
        </a:xfrm>
      </p:grpSpPr>
      <p:sp>
        <p:nvSpPr>
          <p:cNvPr id="5" name="Picture Placeholder 13"/>
          <p:cNvSpPr>
            <a:spLocks noGrp="1"/>
          </p:cNvSpPr>
          <p:nvPr>
            <p:ph type="pic" sz="quarter" idx="18"/>
          </p:nvPr>
        </p:nvSpPr>
        <p:spPr>
          <a:xfrm>
            <a:off x="9146382" y="0"/>
            <a:ext cx="3045618" cy="684099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6" name="Picture Placeholder 13"/>
          <p:cNvSpPr>
            <a:spLocks noGrp="1"/>
          </p:cNvSpPr>
          <p:nvPr>
            <p:ph type="pic" sz="quarter" idx="19"/>
          </p:nvPr>
        </p:nvSpPr>
        <p:spPr>
          <a:xfrm>
            <a:off x="5873867" y="0"/>
            <a:ext cx="3045745" cy="684099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reative jobs">
    <p:spTree>
      <p:nvGrpSpPr>
        <p:cNvPr id="1" name=""/>
        <p:cNvGrpSpPr/>
        <p:nvPr/>
      </p:nvGrpSpPr>
      <p:grpSpPr>
        <a:xfrm>
          <a:off x="0" y="0"/>
          <a:ext cx="0" cy="0"/>
          <a:chOff x="0" y="0"/>
          <a:chExt cx="0" cy="0"/>
        </a:xfrm>
      </p:grpSpPr>
      <p:sp>
        <p:nvSpPr>
          <p:cNvPr id="9" name="Picture Placeholder 8"/>
          <p:cNvSpPr>
            <a:spLocks noGrp="1"/>
          </p:cNvSpPr>
          <p:nvPr>
            <p:ph type="pic" sz="quarter" idx="18"/>
          </p:nvPr>
        </p:nvSpPr>
        <p:spPr>
          <a:xfrm>
            <a:off x="6530772" y="3801263"/>
            <a:ext cx="2522876" cy="2925775"/>
          </a:xfrm>
          <a:custGeom>
            <a:avLst/>
            <a:gdLst>
              <a:gd name="connsiteX0" fmla="*/ 2522219 w 5044439"/>
              <a:gd name="connsiteY0" fmla="*/ 0 h 5851550"/>
              <a:gd name="connsiteX1" fmla="*/ 5044439 w 5044439"/>
              <a:gd name="connsiteY1" fmla="*/ 1261110 h 5851550"/>
              <a:gd name="connsiteX2" fmla="*/ 5044439 w 5044439"/>
              <a:gd name="connsiteY2" fmla="*/ 4590440 h 5851550"/>
              <a:gd name="connsiteX3" fmla="*/ 2522219 w 5044439"/>
              <a:gd name="connsiteY3" fmla="*/ 5851550 h 5851550"/>
              <a:gd name="connsiteX4" fmla="*/ 0 w 5044439"/>
              <a:gd name="connsiteY4" fmla="*/ 4590440 h 5851550"/>
              <a:gd name="connsiteX5" fmla="*/ 0 w 5044439"/>
              <a:gd name="connsiteY5" fmla="*/ 1261110 h 585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439" h="5851550">
                <a:moveTo>
                  <a:pt x="2522219" y="0"/>
                </a:moveTo>
                <a:lnTo>
                  <a:pt x="5044439" y="1261110"/>
                </a:lnTo>
                <a:lnTo>
                  <a:pt x="5044439" y="4590440"/>
                </a:lnTo>
                <a:lnTo>
                  <a:pt x="2522219" y="5851550"/>
                </a:lnTo>
                <a:lnTo>
                  <a:pt x="0" y="4590440"/>
                </a:lnTo>
                <a:lnTo>
                  <a:pt x="0" y="1261110"/>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elcome Message">
    <p:spTree>
      <p:nvGrpSpPr>
        <p:cNvPr id="1" name=""/>
        <p:cNvGrpSpPr/>
        <p:nvPr/>
      </p:nvGrpSpPr>
      <p:grpSpPr>
        <a:xfrm>
          <a:off x="0" y="0"/>
          <a:ext cx="0" cy="0"/>
          <a:chOff x="0" y="0"/>
          <a:chExt cx="0" cy="0"/>
        </a:xfrm>
      </p:grpSpPr>
      <p:sp>
        <p:nvSpPr>
          <p:cNvPr id="5" name="Picture Placeholder 8"/>
          <p:cNvSpPr>
            <a:spLocks noGrp="1"/>
          </p:cNvSpPr>
          <p:nvPr>
            <p:ph type="pic" sz="quarter" idx="18"/>
          </p:nvPr>
        </p:nvSpPr>
        <p:spPr>
          <a:xfrm>
            <a:off x="1140948" y="1667631"/>
            <a:ext cx="2248875" cy="2608016"/>
          </a:xfrm>
          <a:custGeom>
            <a:avLst/>
            <a:gdLst>
              <a:gd name="connsiteX0" fmla="*/ 2522219 w 5044439"/>
              <a:gd name="connsiteY0" fmla="*/ 0 h 5851550"/>
              <a:gd name="connsiteX1" fmla="*/ 5044439 w 5044439"/>
              <a:gd name="connsiteY1" fmla="*/ 1261110 h 5851550"/>
              <a:gd name="connsiteX2" fmla="*/ 5044439 w 5044439"/>
              <a:gd name="connsiteY2" fmla="*/ 4590440 h 5851550"/>
              <a:gd name="connsiteX3" fmla="*/ 2522219 w 5044439"/>
              <a:gd name="connsiteY3" fmla="*/ 5851550 h 5851550"/>
              <a:gd name="connsiteX4" fmla="*/ 0 w 5044439"/>
              <a:gd name="connsiteY4" fmla="*/ 4590440 h 5851550"/>
              <a:gd name="connsiteX5" fmla="*/ 0 w 5044439"/>
              <a:gd name="connsiteY5" fmla="*/ 1261110 h 585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439" h="5851550">
                <a:moveTo>
                  <a:pt x="2522219" y="0"/>
                </a:moveTo>
                <a:lnTo>
                  <a:pt x="5044439" y="1261110"/>
                </a:lnTo>
                <a:lnTo>
                  <a:pt x="5044439" y="4590440"/>
                </a:lnTo>
                <a:lnTo>
                  <a:pt x="2522219" y="5851550"/>
                </a:lnTo>
                <a:lnTo>
                  <a:pt x="0" y="4590440"/>
                </a:lnTo>
                <a:lnTo>
                  <a:pt x="0" y="1261110"/>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rojects_1">
    <p:spTree>
      <p:nvGrpSpPr>
        <p:cNvPr id="1" name=""/>
        <p:cNvGrpSpPr/>
        <p:nvPr/>
      </p:nvGrpSpPr>
      <p:grpSpPr>
        <a:xfrm>
          <a:off x="0" y="0"/>
          <a:ext cx="0" cy="0"/>
          <a:chOff x="0" y="0"/>
          <a:chExt cx="0" cy="0"/>
        </a:xfrm>
      </p:grpSpPr>
      <p:sp>
        <p:nvSpPr>
          <p:cNvPr id="7" name="Picture Placeholder 13"/>
          <p:cNvSpPr>
            <a:spLocks noGrp="1"/>
          </p:cNvSpPr>
          <p:nvPr>
            <p:ph type="pic" sz="quarter" idx="15"/>
          </p:nvPr>
        </p:nvSpPr>
        <p:spPr>
          <a:xfrm>
            <a:off x="9978449" y="2413000"/>
            <a:ext cx="2194147" cy="32131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8" name="Picture Placeholder 13"/>
          <p:cNvSpPr>
            <a:spLocks noGrp="1"/>
          </p:cNvSpPr>
          <p:nvPr>
            <p:ph type="pic" sz="quarter" idx="16"/>
          </p:nvPr>
        </p:nvSpPr>
        <p:spPr>
          <a:xfrm>
            <a:off x="0" y="2413000"/>
            <a:ext cx="5602858" cy="32131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9" name="Picture Placeholder 13"/>
          <p:cNvSpPr>
            <a:spLocks noGrp="1"/>
          </p:cNvSpPr>
          <p:nvPr>
            <p:ph type="pic" sz="quarter" idx="17"/>
          </p:nvPr>
        </p:nvSpPr>
        <p:spPr>
          <a:xfrm>
            <a:off x="5592981" y="2413000"/>
            <a:ext cx="2194147" cy="32131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0" name="Picture Placeholder 13"/>
          <p:cNvSpPr>
            <a:spLocks noGrp="1"/>
          </p:cNvSpPr>
          <p:nvPr>
            <p:ph type="pic" sz="quarter" idx="18"/>
          </p:nvPr>
        </p:nvSpPr>
        <p:spPr>
          <a:xfrm>
            <a:off x="7790653" y="2413000"/>
            <a:ext cx="2194147" cy="32131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370510" y="0"/>
            <a:ext cx="2169612" cy="2737865"/>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6080192" y="0"/>
            <a:ext cx="6111808" cy="685800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rvices Features">
    <p:spTree>
      <p:nvGrpSpPr>
        <p:cNvPr id="1" name=""/>
        <p:cNvGrpSpPr/>
        <p:nvPr/>
      </p:nvGrpSpPr>
      <p:grpSpPr>
        <a:xfrm>
          <a:off x="0" y="0"/>
          <a:ext cx="0" cy="0"/>
          <a:chOff x="0" y="0"/>
          <a:chExt cx="0" cy="0"/>
        </a:xfrm>
      </p:grpSpPr>
      <p:sp>
        <p:nvSpPr>
          <p:cNvPr id="8" name="Picture Placeholder 13"/>
          <p:cNvSpPr>
            <a:spLocks noGrp="1"/>
          </p:cNvSpPr>
          <p:nvPr>
            <p:ph type="pic" sz="quarter" idx="16"/>
          </p:nvPr>
        </p:nvSpPr>
        <p:spPr>
          <a:xfrm>
            <a:off x="-1" y="3644900"/>
            <a:ext cx="12192001" cy="32131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7" name="Picture Placeholder 13"/>
          <p:cNvSpPr>
            <a:spLocks noGrp="1"/>
          </p:cNvSpPr>
          <p:nvPr>
            <p:ph type="pic" sz="quarter" idx="17"/>
          </p:nvPr>
        </p:nvSpPr>
        <p:spPr>
          <a:xfrm>
            <a:off x="6662666" y="4544121"/>
            <a:ext cx="3099468" cy="20183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9" name="Picture Placeholder 13"/>
          <p:cNvSpPr>
            <a:spLocks noGrp="1"/>
          </p:cNvSpPr>
          <p:nvPr>
            <p:ph type="pic" sz="quarter" idx="18"/>
          </p:nvPr>
        </p:nvSpPr>
        <p:spPr>
          <a:xfrm>
            <a:off x="2432976" y="3289610"/>
            <a:ext cx="3099468" cy="20183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7" name="Picture Placeholder 13"/>
          <p:cNvSpPr>
            <a:spLocks noGrp="1"/>
          </p:cNvSpPr>
          <p:nvPr>
            <p:ph type="pic" sz="quarter" idx="17"/>
          </p:nvPr>
        </p:nvSpPr>
        <p:spPr>
          <a:xfrm>
            <a:off x="6662666" y="2263943"/>
            <a:ext cx="3099468" cy="20183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9" name="Picture Placeholder 13"/>
          <p:cNvSpPr>
            <a:spLocks noGrp="1"/>
          </p:cNvSpPr>
          <p:nvPr>
            <p:ph type="pic" sz="quarter" idx="18"/>
          </p:nvPr>
        </p:nvSpPr>
        <p:spPr>
          <a:xfrm>
            <a:off x="2432976" y="1009431"/>
            <a:ext cx="3099468" cy="20183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0" name="Picture Placeholder 13"/>
          <p:cNvSpPr>
            <a:spLocks noGrp="1"/>
          </p:cNvSpPr>
          <p:nvPr>
            <p:ph type="pic" sz="quarter" idx="19"/>
          </p:nvPr>
        </p:nvSpPr>
        <p:spPr>
          <a:xfrm>
            <a:off x="2432976" y="4176378"/>
            <a:ext cx="3099468" cy="20183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roject 4">
    <p:spTree>
      <p:nvGrpSpPr>
        <p:cNvPr id="1" name=""/>
        <p:cNvGrpSpPr/>
        <p:nvPr/>
      </p:nvGrpSpPr>
      <p:grpSpPr>
        <a:xfrm>
          <a:off x="0" y="0"/>
          <a:ext cx="0" cy="0"/>
          <a:chOff x="0" y="0"/>
          <a:chExt cx="0" cy="0"/>
        </a:xfrm>
      </p:grpSpPr>
      <p:sp>
        <p:nvSpPr>
          <p:cNvPr id="6" name="Picture Placeholder 13"/>
          <p:cNvSpPr>
            <a:spLocks noGrp="1"/>
          </p:cNvSpPr>
          <p:nvPr>
            <p:ph type="pic" sz="quarter" idx="17"/>
          </p:nvPr>
        </p:nvSpPr>
        <p:spPr>
          <a:xfrm>
            <a:off x="4155183" y="3646449"/>
            <a:ext cx="3881635" cy="32115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18"/>
          </p:nvPr>
        </p:nvSpPr>
        <p:spPr>
          <a:xfrm>
            <a:off x="0" y="3646449"/>
            <a:ext cx="3881635" cy="32115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3" name="Picture Placeholder 13"/>
          <p:cNvSpPr>
            <a:spLocks noGrp="1"/>
          </p:cNvSpPr>
          <p:nvPr>
            <p:ph type="pic" sz="quarter" idx="19"/>
          </p:nvPr>
        </p:nvSpPr>
        <p:spPr>
          <a:xfrm>
            <a:off x="8310365" y="3646449"/>
            <a:ext cx="3881635" cy="32115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rojects of 4">
    <p:spTree>
      <p:nvGrpSpPr>
        <p:cNvPr id="1" name=""/>
        <p:cNvGrpSpPr/>
        <p:nvPr/>
      </p:nvGrpSpPr>
      <p:grpSpPr>
        <a:xfrm>
          <a:off x="0" y="0"/>
          <a:ext cx="0" cy="0"/>
          <a:chOff x="0" y="0"/>
          <a:chExt cx="0" cy="0"/>
        </a:xfrm>
      </p:grpSpPr>
      <p:sp>
        <p:nvSpPr>
          <p:cNvPr id="12" name="Picture Placeholder 13"/>
          <p:cNvSpPr>
            <a:spLocks noGrp="1"/>
          </p:cNvSpPr>
          <p:nvPr>
            <p:ph type="pic" sz="quarter" idx="14"/>
          </p:nvPr>
        </p:nvSpPr>
        <p:spPr>
          <a:xfrm>
            <a:off x="9722980" y="4622275"/>
            <a:ext cx="2469020" cy="223572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3" name="Picture Placeholder 13"/>
          <p:cNvSpPr>
            <a:spLocks noGrp="1"/>
          </p:cNvSpPr>
          <p:nvPr>
            <p:ph type="pic" sz="quarter" idx="15"/>
          </p:nvPr>
        </p:nvSpPr>
        <p:spPr>
          <a:xfrm>
            <a:off x="2431592" y="2386549"/>
            <a:ext cx="2431604" cy="223572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4" name="Picture Placeholder 13"/>
          <p:cNvSpPr>
            <a:spLocks noGrp="1"/>
          </p:cNvSpPr>
          <p:nvPr>
            <p:ph type="pic" sz="quarter" idx="17"/>
          </p:nvPr>
        </p:nvSpPr>
        <p:spPr>
          <a:xfrm>
            <a:off x="0" y="4622275"/>
            <a:ext cx="2431604" cy="223572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5" name="Picture Placeholder 13"/>
          <p:cNvSpPr>
            <a:spLocks noGrp="1"/>
          </p:cNvSpPr>
          <p:nvPr>
            <p:ph type="pic" sz="quarter" idx="18"/>
          </p:nvPr>
        </p:nvSpPr>
        <p:spPr>
          <a:xfrm>
            <a:off x="7293088" y="2386549"/>
            <a:ext cx="2431604" cy="223572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6" name="Picture Placeholder 13"/>
          <p:cNvSpPr>
            <a:spLocks noGrp="1"/>
          </p:cNvSpPr>
          <p:nvPr>
            <p:ph type="pic" sz="quarter" idx="19"/>
          </p:nvPr>
        </p:nvSpPr>
        <p:spPr>
          <a:xfrm>
            <a:off x="4863197" y="4622275"/>
            <a:ext cx="2431604" cy="223572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Meet_the_squad">
    <p:spTree>
      <p:nvGrpSpPr>
        <p:cNvPr id="1" name=""/>
        <p:cNvGrpSpPr/>
        <p:nvPr/>
      </p:nvGrpSpPr>
      <p:grpSpPr>
        <a:xfrm>
          <a:off x="0" y="0"/>
          <a:ext cx="0" cy="0"/>
          <a:chOff x="0" y="0"/>
          <a:chExt cx="0" cy="0"/>
        </a:xfrm>
      </p:grpSpPr>
      <p:sp>
        <p:nvSpPr>
          <p:cNvPr id="3" name="Picture Placeholder 13"/>
          <p:cNvSpPr>
            <a:spLocks noGrp="1"/>
          </p:cNvSpPr>
          <p:nvPr>
            <p:ph type="pic" sz="quarter" idx="14"/>
          </p:nvPr>
        </p:nvSpPr>
        <p:spPr>
          <a:xfrm>
            <a:off x="1360720" y="1996175"/>
            <a:ext cx="2973453" cy="308375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4" name="Picture Placeholder 13"/>
          <p:cNvSpPr>
            <a:spLocks noGrp="1"/>
          </p:cNvSpPr>
          <p:nvPr>
            <p:ph type="pic" sz="quarter" idx="15"/>
          </p:nvPr>
        </p:nvSpPr>
        <p:spPr>
          <a:xfrm>
            <a:off x="7831785" y="1996175"/>
            <a:ext cx="2973453" cy="308375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5" name="Picture Placeholder 13"/>
          <p:cNvSpPr>
            <a:spLocks noGrp="1"/>
          </p:cNvSpPr>
          <p:nvPr>
            <p:ph type="pic" sz="quarter" idx="16"/>
          </p:nvPr>
        </p:nvSpPr>
        <p:spPr>
          <a:xfrm>
            <a:off x="4596253" y="1996175"/>
            <a:ext cx="2973453" cy="308375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2" name="Picture Placeholder 13"/>
          <p:cNvSpPr>
            <a:spLocks noGrp="1"/>
          </p:cNvSpPr>
          <p:nvPr>
            <p:ph type="pic" sz="quarter" idx="13"/>
          </p:nvPr>
        </p:nvSpPr>
        <p:spPr>
          <a:xfrm>
            <a:off x="0" y="0"/>
            <a:ext cx="12192000" cy="6858000"/>
          </a:xfrm>
          <a:prstGeom prst="rect">
            <a:avLst/>
          </a:prstGeom>
          <a:effectLst/>
        </p:spPr>
        <p:txBody>
          <a:bodyPr>
            <a:normAutofit/>
          </a:bodyPr>
          <a:lstStyle>
            <a:lvl1pPr marL="0" indent="0">
              <a:buNone/>
              <a:defRPr sz="2100">
                <a:ln>
                  <a:noFill/>
                </a:ln>
                <a:solidFill>
                  <a:schemeClr val="bg1">
                    <a:lumMod val="85000"/>
                  </a:schemeClr>
                </a:solidFill>
                <a:latin typeface="Lato Light" charset="0"/>
                <a:ea typeface="Lato Light" charset="0"/>
                <a:cs typeface="Lato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Big Picture">
    <p:spTree>
      <p:nvGrpSpPr>
        <p:cNvPr id="1" name=""/>
        <p:cNvGrpSpPr/>
        <p:nvPr/>
      </p:nvGrpSpPr>
      <p:grpSpPr>
        <a:xfrm>
          <a:off x="0" y="0"/>
          <a:ext cx="0" cy="0"/>
          <a:chOff x="0" y="0"/>
          <a:chExt cx="0" cy="0"/>
        </a:xfrm>
      </p:grpSpPr>
      <p:sp>
        <p:nvSpPr>
          <p:cNvPr id="3" name="Rectangle 7"/>
          <p:cNvSpPr/>
          <p:nvPr userDrawn="1"/>
        </p:nvSpPr>
        <p:spPr>
          <a:xfrm>
            <a:off x="9845064" y="6248400"/>
            <a:ext cx="1981716" cy="444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4" name="Rectangle 8"/>
          <p:cNvSpPr/>
          <p:nvPr userDrawn="1"/>
        </p:nvSpPr>
        <p:spPr>
          <a:xfrm>
            <a:off x="11102691" y="177800"/>
            <a:ext cx="546242" cy="457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5" name="Rectangle 9"/>
          <p:cNvSpPr/>
          <p:nvPr userDrawn="1"/>
        </p:nvSpPr>
        <p:spPr>
          <a:xfrm>
            <a:off x="724089" y="6375400"/>
            <a:ext cx="1981716" cy="3429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2" name="Picture Placeholder 13"/>
          <p:cNvSpPr>
            <a:spLocks noGrp="1"/>
          </p:cNvSpPr>
          <p:nvPr>
            <p:ph type="pic" sz="quarter" idx="13"/>
          </p:nvPr>
        </p:nvSpPr>
        <p:spPr>
          <a:xfrm>
            <a:off x="925689" y="520700"/>
            <a:ext cx="10340622" cy="5816600"/>
          </a:xfrm>
          <a:prstGeom prst="rect">
            <a:avLst/>
          </a:prstGeom>
          <a:effectLst/>
        </p:spPr>
        <p:txBody>
          <a:bodyPr>
            <a:normAutofit/>
          </a:bodyPr>
          <a:lstStyle>
            <a:lvl1pPr marL="0" indent="0">
              <a:buNone/>
              <a:defRPr sz="2100">
                <a:ln>
                  <a:noFill/>
                </a:ln>
                <a:solidFill>
                  <a:schemeClr val="bg1">
                    <a:lumMod val="85000"/>
                  </a:schemeClr>
                </a:solidFill>
                <a:latin typeface="Lato Light" charset="0"/>
                <a:ea typeface="Lato Light" charset="0"/>
                <a:cs typeface="Lato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Left Picture">
    <p:spTree>
      <p:nvGrpSpPr>
        <p:cNvPr id="1" name=""/>
        <p:cNvGrpSpPr/>
        <p:nvPr/>
      </p:nvGrpSpPr>
      <p:grpSpPr>
        <a:xfrm>
          <a:off x="0" y="0"/>
          <a:ext cx="0" cy="0"/>
          <a:chOff x="0" y="0"/>
          <a:chExt cx="0" cy="0"/>
        </a:xfrm>
      </p:grpSpPr>
      <p:sp>
        <p:nvSpPr>
          <p:cNvPr id="3" name="Rectangle 7"/>
          <p:cNvSpPr/>
          <p:nvPr userDrawn="1"/>
        </p:nvSpPr>
        <p:spPr>
          <a:xfrm>
            <a:off x="5644239" y="289719"/>
            <a:ext cx="947984" cy="346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2" name="Picture Placeholder 13"/>
          <p:cNvSpPr>
            <a:spLocks noGrp="1"/>
          </p:cNvSpPr>
          <p:nvPr>
            <p:ph type="pic" sz="quarter" idx="13"/>
          </p:nvPr>
        </p:nvSpPr>
        <p:spPr>
          <a:xfrm>
            <a:off x="0" y="0"/>
            <a:ext cx="6101306" cy="6858000"/>
          </a:xfrm>
          <a:prstGeom prst="rect">
            <a:avLst/>
          </a:prstGeom>
          <a:effectLst/>
        </p:spPr>
        <p:txBody>
          <a:bodyPr>
            <a:normAutofit/>
          </a:bodyPr>
          <a:lstStyle>
            <a:lvl1pPr marL="0" indent="0">
              <a:buNone/>
              <a:defRPr sz="2100">
                <a:ln>
                  <a:noFill/>
                </a:ln>
                <a:solidFill>
                  <a:schemeClr val="bg1">
                    <a:lumMod val="85000"/>
                  </a:schemeClr>
                </a:solidFill>
                <a:latin typeface="Lato Light" charset="0"/>
                <a:ea typeface="Lato Light" charset="0"/>
                <a:cs typeface="Lato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Right Picture">
    <p:spTree>
      <p:nvGrpSpPr>
        <p:cNvPr id="1" name=""/>
        <p:cNvGrpSpPr/>
        <p:nvPr/>
      </p:nvGrpSpPr>
      <p:grpSpPr>
        <a:xfrm>
          <a:off x="0" y="0"/>
          <a:ext cx="0" cy="0"/>
          <a:chOff x="0" y="0"/>
          <a:chExt cx="0" cy="0"/>
        </a:xfrm>
      </p:grpSpPr>
      <p:sp>
        <p:nvSpPr>
          <p:cNvPr id="3" name="Rectangle 7"/>
          <p:cNvSpPr/>
          <p:nvPr userDrawn="1"/>
        </p:nvSpPr>
        <p:spPr>
          <a:xfrm>
            <a:off x="5644239" y="289719"/>
            <a:ext cx="947984" cy="346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2" name="Picture Placeholder 13"/>
          <p:cNvSpPr>
            <a:spLocks noGrp="1"/>
          </p:cNvSpPr>
          <p:nvPr>
            <p:ph type="pic" sz="quarter" idx="13"/>
          </p:nvPr>
        </p:nvSpPr>
        <p:spPr>
          <a:xfrm>
            <a:off x="6090694" y="0"/>
            <a:ext cx="6101306" cy="6858000"/>
          </a:xfrm>
          <a:prstGeom prst="rect">
            <a:avLst/>
          </a:prstGeom>
          <a:effectLst/>
        </p:spPr>
        <p:txBody>
          <a:bodyPr>
            <a:normAutofit/>
          </a:bodyPr>
          <a:lstStyle>
            <a:lvl1pPr marL="0" indent="0">
              <a:buNone/>
              <a:defRPr sz="2100">
                <a:ln>
                  <a:noFill/>
                </a:ln>
                <a:solidFill>
                  <a:schemeClr val="bg1">
                    <a:lumMod val="85000"/>
                  </a:schemeClr>
                </a:solidFill>
                <a:latin typeface="Lato Light" charset="0"/>
                <a:ea typeface="Lato Light" charset="0"/>
                <a:cs typeface="Lato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7_Blank">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483416" y="0"/>
            <a:ext cx="3711211" cy="6845715"/>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artners of 4">
    <p:spTree>
      <p:nvGrpSpPr>
        <p:cNvPr id="1" name=""/>
        <p:cNvGrpSpPr/>
        <p:nvPr/>
      </p:nvGrpSpPr>
      <p:grpSpPr>
        <a:xfrm>
          <a:off x="0" y="0"/>
          <a:ext cx="0" cy="0"/>
          <a:chOff x="0" y="0"/>
          <a:chExt cx="0" cy="0"/>
        </a:xfrm>
      </p:grpSpPr>
      <p:sp>
        <p:nvSpPr>
          <p:cNvPr id="15" name="Picture Placeholder 13"/>
          <p:cNvSpPr>
            <a:spLocks noGrp="1"/>
          </p:cNvSpPr>
          <p:nvPr>
            <p:ph type="pic" sz="quarter" idx="20"/>
          </p:nvPr>
        </p:nvSpPr>
        <p:spPr>
          <a:xfrm>
            <a:off x="3639219" y="2112080"/>
            <a:ext cx="2268406" cy="217417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6" name="Picture Placeholder 13"/>
          <p:cNvSpPr>
            <a:spLocks noGrp="1"/>
          </p:cNvSpPr>
          <p:nvPr>
            <p:ph type="pic" sz="quarter" idx="21"/>
          </p:nvPr>
        </p:nvSpPr>
        <p:spPr>
          <a:xfrm>
            <a:off x="975336" y="2112080"/>
            <a:ext cx="2268406" cy="217417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7" name="Picture Placeholder 13"/>
          <p:cNvSpPr>
            <a:spLocks noGrp="1"/>
          </p:cNvSpPr>
          <p:nvPr>
            <p:ph type="pic" sz="quarter" idx="18"/>
          </p:nvPr>
        </p:nvSpPr>
        <p:spPr>
          <a:xfrm>
            <a:off x="8966987" y="2112080"/>
            <a:ext cx="2268406" cy="217417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8" name="Picture Placeholder 13"/>
          <p:cNvSpPr>
            <a:spLocks noGrp="1"/>
          </p:cNvSpPr>
          <p:nvPr>
            <p:ph type="pic" sz="quarter" idx="19"/>
          </p:nvPr>
        </p:nvSpPr>
        <p:spPr>
          <a:xfrm>
            <a:off x="6303104" y="2112080"/>
            <a:ext cx="2268406" cy="217417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artners Left">
    <p:spTree>
      <p:nvGrpSpPr>
        <p:cNvPr id="1" name=""/>
        <p:cNvGrpSpPr/>
        <p:nvPr/>
      </p:nvGrpSpPr>
      <p:grpSpPr>
        <a:xfrm>
          <a:off x="0" y="0"/>
          <a:ext cx="0" cy="0"/>
          <a:chOff x="0" y="0"/>
          <a:chExt cx="0" cy="0"/>
        </a:xfrm>
      </p:grpSpPr>
      <p:sp>
        <p:nvSpPr>
          <p:cNvPr id="11" name="Picture Placeholder 13"/>
          <p:cNvSpPr>
            <a:spLocks noGrp="1"/>
          </p:cNvSpPr>
          <p:nvPr>
            <p:ph type="pic" sz="quarter" idx="18"/>
          </p:nvPr>
        </p:nvSpPr>
        <p:spPr>
          <a:xfrm>
            <a:off x="4065682" y="3924158"/>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19"/>
          </p:nvPr>
        </p:nvSpPr>
        <p:spPr>
          <a:xfrm>
            <a:off x="1841968" y="3924158"/>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5" name="Picture Placeholder 13"/>
          <p:cNvSpPr>
            <a:spLocks noGrp="1"/>
          </p:cNvSpPr>
          <p:nvPr>
            <p:ph type="pic" sz="quarter" idx="22"/>
          </p:nvPr>
        </p:nvSpPr>
        <p:spPr>
          <a:xfrm>
            <a:off x="8513109" y="3924158"/>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6" name="Picture Placeholder 13"/>
          <p:cNvSpPr>
            <a:spLocks noGrp="1"/>
          </p:cNvSpPr>
          <p:nvPr>
            <p:ph type="pic" sz="quarter" idx="23"/>
          </p:nvPr>
        </p:nvSpPr>
        <p:spPr>
          <a:xfrm>
            <a:off x="6289396" y="3924158"/>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9" name="Picture Placeholder 13"/>
          <p:cNvSpPr>
            <a:spLocks noGrp="1"/>
          </p:cNvSpPr>
          <p:nvPr>
            <p:ph type="pic" sz="quarter" idx="24"/>
          </p:nvPr>
        </p:nvSpPr>
        <p:spPr>
          <a:xfrm>
            <a:off x="4065682" y="2500269"/>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0" name="Picture Placeholder 13"/>
          <p:cNvSpPr>
            <a:spLocks noGrp="1"/>
          </p:cNvSpPr>
          <p:nvPr>
            <p:ph type="pic" sz="quarter" idx="25"/>
          </p:nvPr>
        </p:nvSpPr>
        <p:spPr>
          <a:xfrm>
            <a:off x="1841968" y="2500269"/>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1" name="Picture Placeholder 13"/>
          <p:cNvSpPr>
            <a:spLocks noGrp="1"/>
          </p:cNvSpPr>
          <p:nvPr>
            <p:ph type="pic" sz="quarter" idx="26"/>
          </p:nvPr>
        </p:nvSpPr>
        <p:spPr>
          <a:xfrm>
            <a:off x="8513109" y="2500269"/>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2" name="Picture Placeholder 13"/>
          <p:cNvSpPr>
            <a:spLocks noGrp="1"/>
          </p:cNvSpPr>
          <p:nvPr>
            <p:ph type="pic" sz="quarter" idx="27"/>
          </p:nvPr>
        </p:nvSpPr>
        <p:spPr>
          <a:xfrm>
            <a:off x="6289396" y="2500269"/>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eet The Team">
    <p:spTree>
      <p:nvGrpSpPr>
        <p:cNvPr id="1" name=""/>
        <p:cNvGrpSpPr/>
        <p:nvPr/>
      </p:nvGrpSpPr>
      <p:grpSpPr>
        <a:xfrm>
          <a:off x="0" y="0"/>
          <a:ext cx="0" cy="0"/>
          <a:chOff x="0" y="0"/>
          <a:chExt cx="0" cy="0"/>
        </a:xfrm>
      </p:grpSpPr>
      <p:sp>
        <p:nvSpPr>
          <p:cNvPr id="14" name="Picture Placeholder 13"/>
          <p:cNvSpPr>
            <a:spLocks noGrp="1"/>
          </p:cNvSpPr>
          <p:nvPr>
            <p:ph type="pic" sz="quarter" idx="23"/>
          </p:nvPr>
        </p:nvSpPr>
        <p:spPr>
          <a:xfrm>
            <a:off x="1258167" y="2163260"/>
            <a:ext cx="1634721" cy="1895784"/>
          </a:xfrm>
          <a:custGeom>
            <a:avLst/>
            <a:gdLst>
              <a:gd name="connsiteX0" fmla="*/ 1634295 w 3268590"/>
              <a:gd name="connsiteY0" fmla="*/ 0 h 3791568"/>
              <a:gd name="connsiteX1" fmla="*/ 3268590 w 3268590"/>
              <a:gd name="connsiteY1" fmla="*/ 817148 h 3791568"/>
              <a:gd name="connsiteX2" fmla="*/ 3268590 w 3268590"/>
              <a:gd name="connsiteY2" fmla="*/ 2974420 h 3791568"/>
              <a:gd name="connsiteX3" fmla="*/ 1634295 w 3268590"/>
              <a:gd name="connsiteY3" fmla="*/ 3791568 h 3791568"/>
              <a:gd name="connsiteX4" fmla="*/ 0 w 3268590"/>
              <a:gd name="connsiteY4" fmla="*/ 2974420 h 3791568"/>
              <a:gd name="connsiteX5" fmla="*/ 0 w 3268590"/>
              <a:gd name="connsiteY5" fmla="*/ 817148 h 3791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8590" h="3791568">
                <a:moveTo>
                  <a:pt x="1634295" y="0"/>
                </a:moveTo>
                <a:lnTo>
                  <a:pt x="3268590" y="817148"/>
                </a:lnTo>
                <a:lnTo>
                  <a:pt x="3268590" y="2974420"/>
                </a:lnTo>
                <a:lnTo>
                  <a:pt x="1634295" y="3791568"/>
                </a:lnTo>
                <a:lnTo>
                  <a:pt x="0" y="2974420"/>
                </a:lnTo>
                <a:lnTo>
                  <a:pt x="0" y="817148"/>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6" name="Picture Placeholder 15"/>
          <p:cNvSpPr>
            <a:spLocks noGrp="1"/>
          </p:cNvSpPr>
          <p:nvPr>
            <p:ph type="pic" sz="quarter" idx="20"/>
          </p:nvPr>
        </p:nvSpPr>
        <p:spPr>
          <a:xfrm>
            <a:off x="9278831" y="2163260"/>
            <a:ext cx="1634721" cy="1895784"/>
          </a:xfrm>
          <a:custGeom>
            <a:avLst/>
            <a:gdLst>
              <a:gd name="connsiteX0" fmla="*/ 1634295 w 3268590"/>
              <a:gd name="connsiteY0" fmla="*/ 0 h 3791568"/>
              <a:gd name="connsiteX1" fmla="*/ 3268590 w 3268590"/>
              <a:gd name="connsiteY1" fmla="*/ 817148 h 3791568"/>
              <a:gd name="connsiteX2" fmla="*/ 3268590 w 3268590"/>
              <a:gd name="connsiteY2" fmla="*/ 2974420 h 3791568"/>
              <a:gd name="connsiteX3" fmla="*/ 1634295 w 3268590"/>
              <a:gd name="connsiteY3" fmla="*/ 3791568 h 3791568"/>
              <a:gd name="connsiteX4" fmla="*/ 0 w 3268590"/>
              <a:gd name="connsiteY4" fmla="*/ 2974420 h 3791568"/>
              <a:gd name="connsiteX5" fmla="*/ 0 w 3268590"/>
              <a:gd name="connsiteY5" fmla="*/ 817148 h 3791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8590" h="3791568">
                <a:moveTo>
                  <a:pt x="1634295" y="0"/>
                </a:moveTo>
                <a:lnTo>
                  <a:pt x="3268590" y="817148"/>
                </a:lnTo>
                <a:lnTo>
                  <a:pt x="3268590" y="2974420"/>
                </a:lnTo>
                <a:lnTo>
                  <a:pt x="1634295" y="3791568"/>
                </a:lnTo>
                <a:lnTo>
                  <a:pt x="0" y="2974420"/>
                </a:lnTo>
                <a:lnTo>
                  <a:pt x="0" y="817148"/>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7" name="Picture Placeholder 16"/>
          <p:cNvSpPr>
            <a:spLocks noGrp="1"/>
          </p:cNvSpPr>
          <p:nvPr>
            <p:ph type="pic" sz="quarter" idx="21"/>
          </p:nvPr>
        </p:nvSpPr>
        <p:spPr>
          <a:xfrm>
            <a:off x="6614947" y="2163260"/>
            <a:ext cx="1634721" cy="1895784"/>
          </a:xfrm>
          <a:custGeom>
            <a:avLst/>
            <a:gdLst>
              <a:gd name="connsiteX0" fmla="*/ 1634295 w 3268590"/>
              <a:gd name="connsiteY0" fmla="*/ 0 h 3791568"/>
              <a:gd name="connsiteX1" fmla="*/ 3268590 w 3268590"/>
              <a:gd name="connsiteY1" fmla="*/ 817148 h 3791568"/>
              <a:gd name="connsiteX2" fmla="*/ 3268590 w 3268590"/>
              <a:gd name="connsiteY2" fmla="*/ 2974420 h 3791568"/>
              <a:gd name="connsiteX3" fmla="*/ 1634295 w 3268590"/>
              <a:gd name="connsiteY3" fmla="*/ 3791568 h 3791568"/>
              <a:gd name="connsiteX4" fmla="*/ 0 w 3268590"/>
              <a:gd name="connsiteY4" fmla="*/ 2974420 h 3791568"/>
              <a:gd name="connsiteX5" fmla="*/ 0 w 3268590"/>
              <a:gd name="connsiteY5" fmla="*/ 817148 h 3791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8590" h="3791568">
                <a:moveTo>
                  <a:pt x="1634295" y="0"/>
                </a:moveTo>
                <a:lnTo>
                  <a:pt x="3268590" y="817148"/>
                </a:lnTo>
                <a:lnTo>
                  <a:pt x="3268590" y="2974420"/>
                </a:lnTo>
                <a:lnTo>
                  <a:pt x="1634295" y="3791568"/>
                </a:lnTo>
                <a:lnTo>
                  <a:pt x="0" y="2974420"/>
                </a:lnTo>
                <a:lnTo>
                  <a:pt x="0" y="817148"/>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8" name="Picture Placeholder 17"/>
          <p:cNvSpPr>
            <a:spLocks noGrp="1"/>
          </p:cNvSpPr>
          <p:nvPr>
            <p:ph type="pic" sz="quarter" idx="22"/>
          </p:nvPr>
        </p:nvSpPr>
        <p:spPr>
          <a:xfrm>
            <a:off x="3922051" y="2163260"/>
            <a:ext cx="1634721" cy="1895784"/>
          </a:xfrm>
          <a:custGeom>
            <a:avLst/>
            <a:gdLst>
              <a:gd name="connsiteX0" fmla="*/ 1634295 w 3268590"/>
              <a:gd name="connsiteY0" fmla="*/ 0 h 3791568"/>
              <a:gd name="connsiteX1" fmla="*/ 3268590 w 3268590"/>
              <a:gd name="connsiteY1" fmla="*/ 817148 h 3791568"/>
              <a:gd name="connsiteX2" fmla="*/ 3268590 w 3268590"/>
              <a:gd name="connsiteY2" fmla="*/ 2974420 h 3791568"/>
              <a:gd name="connsiteX3" fmla="*/ 1634295 w 3268590"/>
              <a:gd name="connsiteY3" fmla="*/ 3791568 h 3791568"/>
              <a:gd name="connsiteX4" fmla="*/ 0 w 3268590"/>
              <a:gd name="connsiteY4" fmla="*/ 2974420 h 3791568"/>
              <a:gd name="connsiteX5" fmla="*/ 0 w 3268590"/>
              <a:gd name="connsiteY5" fmla="*/ 817148 h 3791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8590" h="3791568">
                <a:moveTo>
                  <a:pt x="1634295" y="0"/>
                </a:moveTo>
                <a:lnTo>
                  <a:pt x="3268590" y="817148"/>
                </a:lnTo>
                <a:lnTo>
                  <a:pt x="3268590" y="2974420"/>
                </a:lnTo>
                <a:lnTo>
                  <a:pt x="1634295" y="3791568"/>
                </a:lnTo>
                <a:lnTo>
                  <a:pt x="0" y="2974420"/>
                </a:lnTo>
                <a:lnTo>
                  <a:pt x="0" y="817148"/>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am 2">
    <p:spTree>
      <p:nvGrpSpPr>
        <p:cNvPr id="1" name=""/>
        <p:cNvGrpSpPr/>
        <p:nvPr/>
      </p:nvGrpSpPr>
      <p:grpSpPr>
        <a:xfrm>
          <a:off x="0" y="0"/>
          <a:ext cx="0" cy="0"/>
          <a:chOff x="0" y="0"/>
          <a:chExt cx="0" cy="0"/>
        </a:xfrm>
      </p:grpSpPr>
      <p:sp>
        <p:nvSpPr>
          <p:cNvPr id="6" name="Picture Placeholder 13"/>
          <p:cNvSpPr>
            <a:spLocks noGrp="1"/>
          </p:cNvSpPr>
          <p:nvPr>
            <p:ph type="pic" sz="quarter" idx="25"/>
          </p:nvPr>
        </p:nvSpPr>
        <p:spPr>
          <a:xfrm>
            <a:off x="0" y="0"/>
            <a:ext cx="12192000" cy="685800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4" name="Picture Placeholder 3"/>
          <p:cNvSpPr>
            <a:spLocks noGrp="1"/>
          </p:cNvSpPr>
          <p:nvPr>
            <p:ph type="pic" sz="quarter" idx="11"/>
          </p:nvPr>
        </p:nvSpPr>
        <p:spPr>
          <a:xfrm>
            <a:off x="9367481"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15" name="Picture Placeholder 3"/>
          <p:cNvSpPr>
            <a:spLocks noGrp="1"/>
          </p:cNvSpPr>
          <p:nvPr>
            <p:ph type="pic" sz="quarter" idx="12"/>
          </p:nvPr>
        </p:nvSpPr>
        <p:spPr>
          <a:xfrm>
            <a:off x="6703597"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25" name="Picture Placeholder 3"/>
          <p:cNvSpPr>
            <a:spLocks noGrp="1"/>
          </p:cNvSpPr>
          <p:nvPr>
            <p:ph type="pic" sz="quarter" idx="13"/>
          </p:nvPr>
        </p:nvSpPr>
        <p:spPr>
          <a:xfrm>
            <a:off x="4005414"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34" name="Picture Placeholder 3"/>
          <p:cNvSpPr>
            <a:spLocks noGrp="1"/>
          </p:cNvSpPr>
          <p:nvPr>
            <p:ph type="pic" sz="quarter" idx="14"/>
          </p:nvPr>
        </p:nvSpPr>
        <p:spPr>
          <a:xfrm>
            <a:off x="1341531"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am No Background">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9367481"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15" name="Picture Placeholder 3"/>
          <p:cNvSpPr>
            <a:spLocks noGrp="1"/>
          </p:cNvSpPr>
          <p:nvPr>
            <p:ph type="pic" sz="quarter" idx="12"/>
          </p:nvPr>
        </p:nvSpPr>
        <p:spPr>
          <a:xfrm>
            <a:off x="6703597"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25" name="Picture Placeholder 3"/>
          <p:cNvSpPr>
            <a:spLocks noGrp="1"/>
          </p:cNvSpPr>
          <p:nvPr>
            <p:ph type="pic" sz="quarter" idx="13"/>
          </p:nvPr>
        </p:nvSpPr>
        <p:spPr>
          <a:xfrm>
            <a:off x="4005414"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34" name="Picture Placeholder 3"/>
          <p:cNvSpPr>
            <a:spLocks noGrp="1"/>
          </p:cNvSpPr>
          <p:nvPr>
            <p:ph type="pic" sz="quarter" idx="14"/>
          </p:nvPr>
        </p:nvSpPr>
        <p:spPr>
          <a:xfrm>
            <a:off x="1341531"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0_Blank">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83128" y="59582"/>
            <a:ext cx="4987636" cy="6738837"/>
          </a:xfrm>
          <a:solidFill>
            <a:schemeClr val="bg1">
              <a:lumMod val="50000"/>
              <a:alpha val="7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5" Type="http://schemas.openxmlformats.org/officeDocument/2006/relationships/theme" Target="../theme/theme1.xml"/><Relationship Id="rId44" Type="http://schemas.openxmlformats.org/officeDocument/2006/relationships/tags" Target="../tags/tag1.xml"/><Relationship Id="rId43" Type="http://schemas.openxmlformats.org/officeDocument/2006/relationships/slideLayout" Target="../slideLayouts/slideLayout43.xml"/><Relationship Id="rId42" Type="http://schemas.openxmlformats.org/officeDocument/2006/relationships/slideLayout" Target="../slideLayouts/slideLayout42.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52.xml"/><Relationship Id="rId8" Type="http://schemas.openxmlformats.org/officeDocument/2006/relationships/slideLayout" Target="../slideLayouts/slideLayout51.xml"/><Relationship Id="rId7" Type="http://schemas.openxmlformats.org/officeDocument/2006/relationships/slideLayout" Target="../slideLayouts/slideLayout50.xml"/><Relationship Id="rId6" Type="http://schemas.openxmlformats.org/officeDocument/2006/relationships/slideLayout" Target="../slideLayouts/slideLayout49.xml"/><Relationship Id="rId5" Type="http://schemas.openxmlformats.org/officeDocument/2006/relationships/slideLayout" Target="../slideLayouts/slideLayout48.xml"/><Relationship Id="rId42" Type="http://schemas.openxmlformats.org/officeDocument/2006/relationships/theme" Target="../theme/theme2.xml"/><Relationship Id="rId41" Type="http://schemas.openxmlformats.org/officeDocument/2006/relationships/slideLayout" Target="../slideLayouts/slideLayout84.xml"/><Relationship Id="rId40" Type="http://schemas.openxmlformats.org/officeDocument/2006/relationships/slideLayout" Target="../slideLayouts/slideLayout83.xml"/><Relationship Id="rId4" Type="http://schemas.openxmlformats.org/officeDocument/2006/relationships/slideLayout" Target="../slideLayouts/slideLayout47.xml"/><Relationship Id="rId39" Type="http://schemas.openxmlformats.org/officeDocument/2006/relationships/slideLayout" Target="../slideLayouts/slideLayout82.xml"/><Relationship Id="rId38" Type="http://schemas.openxmlformats.org/officeDocument/2006/relationships/slideLayout" Target="../slideLayouts/slideLayout81.xml"/><Relationship Id="rId37" Type="http://schemas.openxmlformats.org/officeDocument/2006/relationships/slideLayout" Target="../slideLayouts/slideLayout80.xml"/><Relationship Id="rId36" Type="http://schemas.openxmlformats.org/officeDocument/2006/relationships/slideLayout" Target="../slideLayouts/slideLayout79.xml"/><Relationship Id="rId35" Type="http://schemas.openxmlformats.org/officeDocument/2006/relationships/slideLayout" Target="../slideLayouts/slideLayout78.xml"/><Relationship Id="rId34" Type="http://schemas.openxmlformats.org/officeDocument/2006/relationships/slideLayout" Target="../slideLayouts/slideLayout77.xml"/><Relationship Id="rId33" Type="http://schemas.openxmlformats.org/officeDocument/2006/relationships/slideLayout" Target="../slideLayouts/slideLayout76.xml"/><Relationship Id="rId32" Type="http://schemas.openxmlformats.org/officeDocument/2006/relationships/slideLayout" Target="../slideLayouts/slideLayout75.xml"/><Relationship Id="rId31" Type="http://schemas.openxmlformats.org/officeDocument/2006/relationships/slideLayout" Target="../slideLayouts/slideLayout74.xml"/><Relationship Id="rId30" Type="http://schemas.openxmlformats.org/officeDocument/2006/relationships/slideLayout" Target="../slideLayouts/slideLayout73.xml"/><Relationship Id="rId3" Type="http://schemas.openxmlformats.org/officeDocument/2006/relationships/slideLayout" Target="../slideLayouts/slideLayout46.xml"/><Relationship Id="rId29" Type="http://schemas.openxmlformats.org/officeDocument/2006/relationships/slideLayout" Target="../slideLayouts/slideLayout72.xml"/><Relationship Id="rId28" Type="http://schemas.openxmlformats.org/officeDocument/2006/relationships/slideLayout" Target="../slideLayouts/slideLayout71.xml"/><Relationship Id="rId27" Type="http://schemas.openxmlformats.org/officeDocument/2006/relationships/slideLayout" Target="../slideLayouts/slideLayout70.xml"/><Relationship Id="rId26" Type="http://schemas.openxmlformats.org/officeDocument/2006/relationships/slideLayout" Target="../slideLayouts/slideLayout69.xml"/><Relationship Id="rId25" Type="http://schemas.openxmlformats.org/officeDocument/2006/relationships/slideLayout" Target="../slideLayouts/slideLayout68.xml"/><Relationship Id="rId24" Type="http://schemas.openxmlformats.org/officeDocument/2006/relationships/slideLayout" Target="../slideLayouts/slideLayout67.xml"/><Relationship Id="rId23" Type="http://schemas.openxmlformats.org/officeDocument/2006/relationships/slideLayout" Target="../slideLayouts/slideLayout66.xml"/><Relationship Id="rId22" Type="http://schemas.openxmlformats.org/officeDocument/2006/relationships/slideLayout" Target="../slideLayouts/slideLayout65.xml"/><Relationship Id="rId21" Type="http://schemas.openxmlformats.org/officeDocument/2006/relationships/slideLayout" Target="../slideLayouts/slideLayout64.xml"/><Relationship Id="rId20" Type="http://schemas.openxmlformats.org/officeDocument/2006/relationships/slideLayout" Target="../slideLayouts/slideLayout63.xml"/><Relationship Id="rId2" Type="http://schemas.openxmlformats.org/officeDocument/2006/relationships/slideLayout" Target="../slideLayouts/slideLayout45.xml"/><Relationship Id="rId19" Type="http://schemas.openxmlformats.org/officeDocument/2006/relationships/slideLayout" Target="../slideLayouts/slideLayout62.xml"/><Relationship Id="rId18" Type="http://schemas.openxmlformats.org/officeDocument/2006/relationships/slideLayout" Target="../slideLayouts/slideLayout61.xml"/><Relationship Id="rId17" Type="http://schemas.openxmlformats.org/officeDocument/2006/relationships/slideLayout" Target="../slideLayouts/slideLayout60.xml"/><Relationship Id="rId16" Type="http://schemas.openxmlformats.org/officeDocument/2006/relationships/slideLayout" Target="../slideLayouts/slideLayout59.xml"/><Relationship Id="rId15" Type="http://schemas.openxmlformats.org/officeDocument/2006/relationships/slideLayout" Target="../slideLayouts/slideLayout58.xml"/><Relationship Id="rId14" Type="http://schemas.openxmlformats.org/officeDocument/2006/relationships/slideLayout" Target="../slideLayouts/slideLayout57.xml"/><Relationship Id="rId13" Type="http://schemas.openxmlformats.org/officeDocument/2006/relationships/slideLayout" Target="../slideLayouts/slideLayout56.xml"/><Relationship Id="rId12" Type="http://schemas.openxmlformats.org/officeDocument/2006/relationships/slideLayout" Target="../slideLayouts/slideLayout55.xml"/><Relationship Id="rId11" Type="http://schemas.openxmlformats.org/officeDocument/2006/relationships/slideLayout" Target="../slideLayouts/slideLayout54.xml"/><Relationship Id="rId10" Type="http://schemas.openxmlformats.org/officeDocument/2006/relationships/slideLayout" Target="../slideLayouts/slideLayout53.xml"/><Relationship Id="rId1"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5" name="Group 14"/>
          <p:cNvGrpSpPr/>
          <p:nvPr userDrawn="1"/>
        </p:nvGrpSpPr>
        <p:grpSpPr>
          <a:xfrm>
            <a:off x="11236081" y="6483829"/>
            <a:ext cx="955920" cy="377967"/>
            <a:chOff x="11236081" y="6503705"/>
            <a:chExt cx="955920" cy="377967"/>
          </a:xfrm>
        </p:grpSpPr>
        <p:sp>
          <p:nvSpPr>
            <p:cNvPr id="16" name="Freeform 15"/>
            <p:cNvSpPr/>
            <p:nvPr userDrawn="1"/>
          </p:nvSpPr>
          <p:spPr>
            <a:xfrm>
              <a:off x="11236081" y="6503705"/>
              <a:ext cx="827067" cy="377967"/>
            </a:xfrm>
            <a:custGeom>
              <a:avLst/>
              <a:gdLst>
                <a:gd name="connsiteX0" fmla="*/ 359623 w 827067"/>
                <a:gd name="connsiteY0" fmla="*/ 0 h 377967"/>
                <a:gd name="connsiteX1" fmla="*/ 827067 w 827067"/>
                <a:gd name="connsiteY1" fmla="*/ 0 h 377967"/>
                <a:gd name="connsiteX2" fmla="*/ 827067 w 827067"/>
                <a:gd name="connsiteY2" fmla="*/ 377967 h 377967"/>
                <a:gd name="connsiteX3" fmla="*/ 0 w 827067"/>
                <a:gd name="connsiteY3" fmla="*/ 377967 h 377967"/>
              </a:gdLst>
              <a:ahLst/>
              <a:cxnLst>
                <a:cxn ang="0">
                  <a:pos x="connsiteX0" y="connsiteY0"/>
                </a:cxn>
                <a:cxn ang="0">
                  <a:pos x="connsiteX1" y="connsiteY1"/>
                </a:cxn>
                <a:cxn ang="0">
                  <a:pos x="connsiteX2" y="connsiteY2"/>
                </a:cxn>
                <a:cxn ang="0">
                  <a:pos x="connsiteX3" y="connsiteY3"/>
                </a:cxn>
              </a:cxnLst>
              <a:rect l="l" t="t" r="r" b="b"/>
              <a:pathLst>
                <a:path w="827067" h="377967">
                  <a:moveTo>
                    <a:pt x="359623" y="0"/>
                  </a:moveTo>
                  <a:lnTo>
                    <a:pt x="827067" y="0"/>
                  </a:lnTo>
                  <a:lnTo>
                    <a:pt x="827067" y="377967"/>
                  </a:lnTo>
                  <a:lnTo>
                    <a:pt x="0" y="377967"/>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dirty="0"/>
            </a:p>
          </p:txBody>
        </p:sp>
        <p:sp>
          <p:nvSpPr>
            <p:cNvPr id="17" name="Freeform 16"/>
            <p:cNvSpPr/>
            <p:nvPr userDrawn="1"/>
          </p:nvSpPr>
          <p:spPr>
            <a:xfrm>
              <a:off x="11364934" y="6503705"/>
              <a:ext cx="827067" cy="377967"/>
            </a:xfrm>
            <a:custGeom>
              <a:avLst/>
              <a:gdLst>
                <a:gd name="connsiteX0" fmla="*/ 359623 w 827067"/>
                <a:gd name="connsiteY0" fmla="*/ 0 h 377967"/>
                <a:gd name="connsiteX1" fmla="*/ 827067 w 827067"/>
                <a:gd name="connsiteY1" fmla="*/ 0 h 377967"/>
                <a:gd name="connsiteX2" fmla="*/ 827067 w 827067"/>
                <a:gd name="connsiteY2" fmla="*/ 377967 h 377967"/>
                <a:gd name="connsiteX3" fmla="*/ 0 w 827067"/>
                <a:gd name="connsiteY3" fmla="*/ 377967 h 377967"/>
              </a:gdLst>
              <a:ahLst/>
              <a:cxnLst>
                <a:cxn ang="0">
                  <a:pos x="connsiteX0" y="connsiteY0"/>
                </a:cxn>
                <a:cxn ang="0">
                  <a:pos x="connsiteX1" y="connsiteY1"/>
                </a:cxn>
                <a:cxn ang="0">
                  <a:pos x="connsiteX2" y="connsiteY2"/>
                </a:cxn>
                <a:cxn ang="0">
                  <a:pos x="connsiteX3" y="connsiteY3"/>
                </a:cxn>
              </a:cxnLst>
              <a:rect l="l" t="t" r="r" b="b"/>
              <a:pathLst>
                <a:path w="827067" h="377967">
                  <a:moveTo>
                    <a:pt x="359623" y="0"/>
                  </a:moveTo>
                  <a:lnTo>
                    <a:pt x="827067" y="0"/>
                  </a:lnTo>
                  <a:lnTo>
                    <a:pt x="827067" y="377967"/>
                  </a:lnTo>
                  <a:lnTo>
                    <a:pt x="0" y="377967"/>
                  </a:ln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dirty="0"/>
            </a:p>
          </p:txBody>
        </p:sp>
      </p:grpSp>
      <p:sp>
        <p:nvSpPr>
          <p:cNvPr id="2" name="Title Placeholder 1"/>
          <p:cNvSpPr>
            <a:spLocks noGrp="1"/>
          </p:cNvSpPr>
          <p:nvPr userDrawn="1">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userDrawn="1">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Slide Number Placeholder 5"/>
          <p:cNvSpPr>
            <a:spLocks noGrp="1"/>
          </p:cNvSpPr>
          <p:nvPr userDrawn="1">
            <p:ph type="sldNum" sz="quarter" idx="4"/>
          </p:nvPr>
        </p:nvSpPr>
        <p:spPr>
          <a:xfrm>
            <a:off x="11586116" y="6492875"/>
            <a:ext cx="605883" cy="365125"/>
          </a:xfrm>
          <a:prstGeom prst="rect">
            <a:avLst/>
          </a:prstGeom>
        </p:spPr>
        <p:txBody>
          <a:bodyPr vert="horz" lIns="91440" tIns="45720" rIns="91440" bIns="45720" rtlCol="0" anchor="ctr"/>
          <a:lstStyle>
            <a:lvl1pPr algn="ctr">
              <a:defRPr sz="1100">
                <a:solidFill>
                  <a:schemeClr val="bg1">
                    <a:lumMod val="75000"/>
                  </a:schemeClr>
                </a:solidFill>
                <a:latin typeface="+mj-lt"/>
                <a:ea typeface="Roboto Light" panose="02000000000000000000" pitchFamily="2" charset="0"/>
              </a:defRPr>
            </a:lvl1pPr>
          </a:lstStyle>
          <a:p>
            <a:fld id="{52E43EAC-4EE4-493E-B844-9691317359C0}" type="slidenum">
              <a:rPr lang="en-US" smtClean="0"/>
            </a:fld>
            <a:endParaRPr lang="en-US" dirty="0"/>
          </a:p>
        </p:txBody>
      </p:sp>
      <p:sp>
        <p:nvSpPr>
          <p:cNvPr id="9" name="Date Placeholder 1"/>
          <p:cNvSpPr txBox="1"/>
          <p:nvPr userDrawn="1">
            <p:custDataLst>
              <p:tags r:id="rId44"/>
            </p:custDataLst>
          </p:nvPr>
        </p:nvSpPr>
        <p:spPr>
          <a:xfrm>
            <a:off x="9715500" y="6542088"/>
            <a:ext cx="1649413" cy="261937"/>
          </a:xfrm>
          <a:prstGeom prst="rect">
            <a:avLst/>
          </a:prstGeom>
          <a:noFill/>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fontAlgn="auto">
              <a:spcBef>
                <a:spcPts val="0"/>
              </a:spcBef>
              <a:spcAft>
                <a:spcPts val="0"/>
              </a:spcAft>
              <a:defRPr/>
            </a:pPr>
            <a:r>
              <a:rPr lang="en-US" sz="1100" dirty="0">
                <a:solidFill>
                  <a:schemeClr val="bg1">
                    <a:lumMod val="65000"/>
                  </a:schemeClr>
                </a:solidFill>
                <a:latin typeface="+mj-lt"/>
                <a:ea typeface="Roboto Light" panose="02000000000000000000" pitchFamily="2" charset="0"/>
              </a:rPr>
              <a:t>www.fashionstreet.com</a:t>
            </a:r>
            <a:endParaRPr lang="en-US" sz="1100" dirty="0">
              <a:solidFill>
                <a:schemeClr val="bg1">
                  <a:lumMod val="65000"/>
                </a:schemeClr>
              </a:solidFill>
              <a:latin typeface="+mj-lt"/>
              <a:ea typeface="Roboto Light" panose="02000000000000000000" pitchFamily="2"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Lst>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hf hdr="0" ftr="0" dt="0"/>
  <p:txStyles>
    <p:titleStyle>
      <a:lvl1pPr algn="l" defTabSz="913765" rtl="0" eaLnBrk="1" latinLnBrk="0" hangingPunct="1">
        <a:lnSpc>
          <a:spcPct val="90000"/>
        </a:lnSpc>
        <a:spcBef>
          <a:spcPct val="0"/>
        </a:spcBef>
        <a:buNone/>
        <a:defRPr sz="4400" kern="1200">
          <a:solidFill>
            <a:schemeClr val="tx1">
              <a:lumMod val="65000"/>
              <a:lumOff val="35000"/>
            </a:schemeClr>
          </a:solidFill>
          <a:latin typeface="Bebas Neue" panose="020B0606020202050201" pitchFamily="34" charset="0"/>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2800" kern="1200">
          <a:solidFill>
            <a:schemeClr val="tx1">
              <a:lumMod val="65000"/>
              <a:lumOff val="35000"/>
            </a:schemeClr>
          </a:solidFill>
          <a:latin typeface="+mj-lt"/>
          <a:ea typeface="Roboto Light" panose="02000000000000000000" pitchFamily="2" charset="0"/>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2400" kern="1200">
          <a:solidFill>
            <a:schemeClr val="tx1">
              <a:lumMod val="65000"/>
              <a:lumOff val="35000"/>
            </a:schemeClr>
          </a:solidFill>
          <a:latin typeface="+mj-lt"/>
          <a:ea typeface="Roboto Light" panose="02000000000000000000" pitchFamily="2" charset="0"/>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2000" kern="1200">
          <a:solidFill>
            <a:schemeClr val="tx1">
              <a:lumMod val="65000"/>
              <a:lumOff val="35000"/>
            </a:schemeClr>
          </a:solidFill>
          <a:latin typeface="+mj-lt"/>
          <a:ea typeface="Roboto Light" panose="02000000000000000000" pitchFamily="2" charset="0"/>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mj-lt"/>
          <a:ea typeface="Roboto Light" panose="02000000000000000000" pitchFamily="2" charset="0"/>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mj-lt"/>
          <a:ea typeface="Roboto Light" panose="02000000000000000000" pitchFamily="2" charset="0"/>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026" name="TextBox 5"/>
          <p:cNvSpPr txBox="1">
            <a:spLocks noChangeArrowheads="1"/>
          </p:cNvSpPr>
          <p:nvPr userDrawn="1"/>
        </p:nvSpPr>
        <p:spPr bwMode="auto">
          <a:xfrm>
            <a:off x="736792" y="6390249"/>
            <a:ext cx="192071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eaLnBrk="1" hangingPunct="1"/>
            <a:r>
              <a:rPr lang="en-US" altLang="zh-CN" sz="1100" b="1">
                <a:solidFill>
                  <a:schemeClr val="tx2"/>
                </a:solidFill>
                <a:latin typeface="Lato"/>
                <a:ea typeface="Lato"/>
                <a:cs typeface="Lato"/>
              </a:rPr>
              <a:t>Wolf Company </a:t>
            </a:r>
            <a:r>
              <a:rPr lang="en-US" altLang="zh-CN" sz="1100">
                <a:solidFill>
                  <a:schemeClr val="tx2"/>
                </a:solidFill>
                <a:ea typeface="Lato Light" panose="020F0402020204030203"/>
                <a:cs typeface="Lato Light" panose="020F0402020204030203"/>
              </a:rPr>
              <a:t>| Presentation</a:t>
            </a:r>
            <a:endParaRPr lang="en-US" altLang="zh-CN" sz="1100">
              <a:solidFill>
                <a:schemeClr val="tx2"/>
              </a:solidFill>
              <a:ea typeface="Lato Light" panose="020F0402020204030203"/>
              <a:cs typeface="Lato Light" panose="020F0402020204030203"/>
            </a:endParaRPr>
          </a:p>
        </p:txBody>
      </p:sp>
      <p:sp>
        <p:nvSpPr>
          <p:cNvPr id="14" name="Hexagon 13"/>
          <p:cNvSpPr/>
          <p:nvPr userDrawn="1"/>
        </p:nvSpPr>
        <p:spPr>
          <a:xfrm rot="5400000">
            <a:off x="11214292" y="271816"/>
            <a:ext cx="383381" cy="330286"/>
          </a:xfrm>
          <a:prstGeom prst="hexagon">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1028" name="TextBox 14"/>
          <p:cNvSpPr txBox="1">
            <a:spLocks noChangeArrowheads="1"/>
          </p:cNvSpPr>
          <p:nvPr userDrawn="1"/>
        </p:nvSpPr>
        <p:spPr bwMode="auto">
          <a:xfrm>
            <a:off x="11150287" y="298450"/>
            <a:ext cx="569351" cy="276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eaLnBrk="1" hangingPunct="1"/>
            <a:fld id="{73CD917D-669D-414B-BE56-40F5E5338317}" type="slidenum">
              <a:rPr lang="id-ID" altLang="zh-CN" sz="1200" b="1">
                <a:solidFill>
                  <a:schemeClr val="tx2"/>
                </a:solidFill>
                <a:latin typeface="Lato"/>
                <a:ea typeface="Lato"/>
                <a:cs typeface="Lato"/>
              </a:rPr>
            </a:fld>
            <a:r>
              <a:rPr lang="id-ID" altLang="zh-CN" sz="1200" b="1">
                <a:solidFill>
                  <a:schemeClr val="tx2"/>
                </a:solidFill>
                <a:latin typeface="Lato"/>
                <a:ea typeface="Lato"/>
                <a:cs typeface="Lato"/>
              </a:rPr>
              <a:t>  </a:t>
            </a:r>
            <a:endParaRPr lang="id-ID" altLang="zh-CN" sz="1200" b="1">
              <a:solidFill>
                <a:schemeClr val="tx2"/>
              </a:solidFill>
              <a:latin typeface="Lato"/>
              <a:ea typeface="Lato"/>
              <a:cs typeface="Lato"/>
            </a:endParaRPr>
          </a:p>
        </p:txBody>
      </p:sp>
      <p:sp>
        <p:nvSpPr>
          <p:cNvPr id="16" name="Shape 2863"/>
          <p:cNvSpPr/>
          <p:nvPr userDrawn="1"/>
        </p:nvSpPr>
        <p:spPr>
          <a:xfrm>
            <a:off x="10915317" y="6323807"/>
            <a:ext cx="279473" cy="279400"/>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281" y="6871"/>
                </a:moveTo>
                <a:cubicBezTo>
                  <a:pt x="12915" y="6830"/>
                  <a:pt x="11990" y="7537"/>
                  <a:pt x="11505" y="8992"/>
                </a:cubicBezTo>
                <a:cubicBezTo>
                  <a:pt x="11755" y="8897"/>
                  <a:pt x="11997" y="8849"/>
                  <a:pt x="12232" y="8849"/>
                </a:cubicBezTo>
                <a:cubicBezTo>
                  <a:pt x="12732" y="8849"/>
                  <a:pt x="12952" y="9108"/>
                  <a:pt x="12893" y="9624"/>
                </a:cubicBezTo>
                <a:cubicBezTo>
                  <a:pt x="12864" y="9937"/>
                  <a:pt x="12643" y="10393"/>
                  <a:pt x="12232" y="10991"/>
                </a:cubicBezTo>
                <a:cubicBezTo>
                  <a:pt x="11821" y="11589"/>
                  <a:pt x="11513" y="11888"/>
                  <a:pt x="11307" y="11888"/>
                </a:cubicBezTo>
                <a:cubicBezTo>
                  <a:pt x="11043" y="11888"/>
                  <a:pt x="10800" y="11426"/>
                  <a:pt x="10580" y="10502"/>
                </a:cubicBezTo>
                <a:cubicBezTo>
                  <a:pt x="10506" y="10230"/>
                  <a:pt x="10374" y="9536"/>
                  <a:pt x="10183" y="8421"/>
                </a:cubicBezTo>
                <a:cubicBezTo>
                  <a:pt x="10007" y="7388"/>
                  <a:pt x="9537" y="6905"/>
                  <a:pt x="8774" y="6973"/>
                </a:cubicBezTo>
                <a:cubicBezTo>
                  <a:pt x="8450" y="7000"/>
                  <a:pt x="7966" y="7272"/>
                  <a:pt x="7320" y="7789"/>
                </a:cubicBezTo>
                <a:cubicBezTo>
                  <a:pt x="6849" y="8183"/>
                  <a:pt x="6372" y="8577"/>
                  <a:pt x="5888" y="8972"/>
                </a:cubicBezTo>
                <a:lnTo>
                  <a:pt x="6350" y="9522"/>
                </a:lnTo>
                <a:cubicBezTo>
                  <a:pt x="6790" y="9237"/>
                  <a:pt x="7047" y="9094"/>
                  <a:pt x="7121" y="9094"/>
                </a:cubicBezTo>
                <a:cubicBezTo>
                  <a:pt x="7459" y="9094"/>
                  <a:pt x="7774" y="9583"/>
                  <a:pt x="8068" y="10562"/>
                </a:cubicBezTo>
                <a:cubicBezTo>
                  <a:pt x="8333" y="11460"/>
                  <a:pt x="8597" y="12358"/>
                  <a:pt x="8861" y="13255"/>
                </a:cubicBezTo>
                <a:cubicBezTo>
                  <a:pt x="9258" y="14234"/>
                  <a:pt x="9743" y="14723"/>
                  <a:pt x="10316" y="14723"/>
                </a:cubicBezTo>
                <a:cubicBezTo>
                  <a:pt x="11241" y="14723"/>
                  <a:pt x="12372" y="13921"/>
                  <a:pt x="13709" y="12317"/>
                </a:cubicBezTo>
                <a:cubicBezTo>
                  <a:pt x="15001" y="10780"/>
                  <a:pt x="15669" y="9570"/>
                  <a:pt x="15713" y="8686"/>
                </a:cubicBezTo>
                <a:cubicBezTo>
                  <a:pt x="15772" y="7503"/>
                  <a:pt x="15295" y="6898"/>
                  <a:pt x="14281" y="6871"/>
                </a:cubicBezTo>
              </a:path>
            </a:pathLst>
          </a:custGeom>
          <a:solidFill>
            <a:schemeClr val="tx2"/>
          </a:solidFill>
          <a:ln w="12700">
            <a:miter lim="400000"/>
          </a:ln>
        </p:spPr>
        <p:txBody>
          <a:bodyPr lIns="19045" tIns="19045" rIns="19045" bIns="19045" anchor="ctr"/>
          <a:lstStyle/>
          <a:p>
            <a:pPr defTabSz="227965" eaLnBrk="1" fontAlgn="auto" hangingPunct="1">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7" name="Shape 2864"/>
          <p:cNvSpPr/>
          <p:nvPr userDrawn="1"/>
        </p:nvSpPr>
        <p:spPr>
          <a:xfrm>
            <a:off x="11269422" y="6323807"/>
            <a:ext cx="279473" cy="279400"/>
          </a:xfrm>
          <a:custGeom>
            <a:avLst/>
            <a:gdLst/>
            <a:ahLst/>
            <a:cxnLst>
              <a:cxn ang="0">
                <a:pos x="wd2" y="hd2"/>
              </a:cxn>
              <a:cxn ang="5400000">
                <a:pos x="wd2" y="hd2"/>
              </a:cxn>
              <a:cxn ang="10800000">
                <a:pos x="wd2" y="hd2"/>
              </a:cxn>
              <a:cxn ang="16200000">
                <a:pos x="wd2" y="hd2"/>
              </a:cxn>
            </a:cxnLst>
            <a:rect l="0" t="0" r="r" b="b"/>
            <a:pathLst>
              <a:path w="21600" h="21600" extrusionOk="0">
                <a:moveTo>
                  <a:pt x="14725" y="7359"/>
                </a:moveTo>
                <a:lnTo>
                  <a:pt x="13743" y="7359"/>
                </a:lnTo>
                <a:lnTo>
                  <a:pt x="13743" y="8833"/>
                </a:lnTo>
                <a:lnTo>
                  <a:pt x="12265" y="8833"/>
                </a:lnTo>
                <a:lnTo>
                  <a:pt x="12265" y="9816"/>
                </a:lnTo>
                <a:lnTo>
                  <a:pt x="13743" y="9816"/>
                </a:lnTo>
                <a:lnTo>
                  <a:pt x="13743" y="11283"/>
                </a:lnTo>
                <a:lnTo>
                  <a:pt x="14725" y="11283"/>
                </a:lnTo>
                <a:lnTo>
                  <a:pt x="14725" y="9816"/>
                </a:lnTo>
                <a:lnTo>
                  <a:pt x="16205" y="9816"/>
                </a:lnTo>
                <a:lnTo>
                  <a:pt x="16205" y="8833"/>
                </a:lnTo>
                <a:lnTo>
                  <a:pt x="14725" y="8833"/>
                </a:lnTo>
                <a:cubicBezTo>
                  <a:pt x="14725" y="8833"/>
                  <a:pt x="14725" y="7359"/>
                  <a:pt x="14725" y="7359"/>
                </a:cubicBezTo>
                <a:close/>
                <a:moveTo>
                  <a:pt x="9321" y="13946"/>
                </a:moveTo>
                <a:cubicBezTo>
                  <a:pt x="8620" y="13946"/>
                  <a:pt x="8071" y="13495"/>
                  <a:pt x="8071" y="12919"/>
                </a:cubicBezTo>
                <a:cubicBezTo>
                  <a:pt x="8071" y="12392"/>
                  <a:pt x="8713" y="11929"/>
                  <a:pt x="9446" y="11929"/>
                </a:cubicBezTo>
                <a:lnTo>
                  <a:pt x="9446" y="11723"/>
                </a:lnTo>
                <a:lnTo>
                  <a:pt x="9447" y="11723"/>
                </a:lnTo>
                <a:lnTo>
                  <a:pt x="9465" y="11929"/>
                </a:lnTo>
                <a:cubicBezTo>
                  <a:pt x="9624" y="11930"/>
                  <a:pt x="9777" y="11954"/>
                  <a:pt x="9922" y="12000"/>
                </a:cubicBezTo>
                <a:lnTo>
                  <a:pt x="10067" y="12104"/>
                </a:lnTo>
                <a:cubicBezTo>
                  <a:pt x="10440" y="12371"/>
                  <a:pt x="10637" y="12521"/>
                  <a:pt x="10695" y="12764"/>
                </a:cubicBezTo>
                <a:cubicBezTo>
                  <a:pt x="10710" y="12827"/>
                  <a:pt x="10717" y="12891"/>
                  <a:pt x="10717" y="12954"/>
                </a:cubicBezTo>
                <a:cubicBezTo>
                  <a:pt x="10717" y="13612"/>
                  <a:pt x="10247" y="13946"/>
                  <a:pt x="9321" y="13946"/>
                </a:cubicBezTo>
                <a:moveTo>
                  <a:pt x="8542" y="8739"/>
                </a:moveTo>
                <a:cubicBezTo>
                  <a:pt x="8495" y="8362"/>
                  <a:pt x="8574" y="8014"/>
                  <a:pt x="8754" y="7806"/>
                </a:cubicBezTo>
                <a:cubicBezTo>
                  <a:pt x="8864" y="7680"/>
                  <a:pt x="9006" y="7613"/>
                  <a:pt x="9164" y="7613"/>
                </a:cubicBezTo>
                <a:lnTo>
                  <a:pt x="9164" y="7409"/>
                </a:lnTo>
                <a:lnTo>
                  <a:pt x="9182" y="7613"/>
                </a:lnTo>
                <a:cubicBezTo>
                  <a:pt x="9653" y="7628"/>
                  <a:pt x="10105" y="8185"/>
                  <a:pt x="10189" y="8855"/>
                </a:cubicBezTo>
                <a:cubicBezTo>
                  <a:pt x="10237" y="9239"/>
                  <a:pt x="10155" y="9596"/>
                  <a:pt x="9970" y="9809"/>
                </a:cubicBezTo>
                <a:cubicBezTo>
                  <a:pt x="9860" y="9935"/>
                  <a:pt x="9722" y="10002"/>
                  <a:pt x="9550" y="10001"/>
                </a:cubicBezTo>
                <a:lnTo>
                  <a:pt x="9549" y="10001"/>
                </a:lnTo>
                <a:cubicBezTo>
                  <a:pt x="9087" y="9988"/>
                  <a:pt x="8626" y="9409"/>
                  <a:pt x="8542" y="8739"/>
                </a:cubicBezTo>
                <a:moveTo>
                  <a:pt x="10838" y="11196"/>
                </a:moveTo>
                <a:cubicBezTo>
                  <a:pt x="10586" y="11009"/>
                  <a:pt x="10351" y="10732"/>
                  <a:pt x="10342" y="10646"/>
                </a:cubicBezTo>
                <a:cubicBezTo>
                  <a:pt x="10342" y="10499"/>
                  <a:pt x="10342" y="10431"/>
                  <a:pt x="10689" y="10148"/>
                </a:cubicBezTo>
                <a:cubicBezTo>
                  <a:pt x="11138" y="9780"/>
                  <a:pt x="11386" y="9295"/>
                  <a:pt x="11386" y="8784"/>
                </a:cubicBezTo>
                <a:cubicBezTo>
                  <a:pt x="11386" y="8342"/>
                  <a:pt x="11262" y="7947"/>
                  <a:pt x="11050" y="7659"/>
                </a:cubicBezTo>
                <a:lnTo>
                  <a:pt x="11238" y="7659"/>
                </a:lnTo>
                <a:lnTo>
                  <a:pt x="12276" y="6873"/>
                </a:lnTo>
                <a:lnTo>
                  <a:pt x="9463" y="6873"/>
                </a:lnTo>
                <a:cubicBezTo>
                  <a:pt x="8335" y="6873"/>
                  <a:pt x="7345" y="7759"/>
                  <a:pt x="7345" y="8769"/>
                </a:cubicBezTo>
                <a:cubicBezTo>
                  <a:pt x="7345" y="9812"/>
                  <a:pt x="8109" y="10605"/>
                  <a:pt x="9137" y="10648"/>
                </a:cubicBezTo>
                <a:cubicBezTo>
                  <a:pt x="9121" y="10722"/>
                  <a:pt x="9113" y="10795"/>
                  <a:pt x="9113" y="10868"/>
                </a:cubicBezTo>
                <a:cubicBezTo>
                  <a:pt x="9113" y="11018"/>
                  <a:pt x="9147" y="11162"/>
                  <a:pt x="9216" y="11300"/>
                </a:cubicBezTo>
                <a:cubicBezTo>
                  <a:pt x="7943" y="11309"/>
                  <a:pt x="6870" y="12161"/>
                  <a:pt x="6870" y="13167"/>
                </a:cubicBezTo>
                <a:cubicBezTo>
                  <a:pt x="6870" y="14071"/>
                  <a:pt x="7903" y="14727"/>
                  <a:pt x="9325" y="14727"/>
                </a:cubicBezTo>
                <a:cubicBezTo>
                  <a:pt x="10861" y="14727"/>
                  <a:pt x="11690" y="13766"/>
                  <a:pt x="11690" y="12860"/>
                </a:cubicBezTo>
                <a:cubicBezTo>
                  <a:pt x="11690" y="12108"/>
                  <a:pt x="11459" y="11656"/>
                  <a:pt x="10838" y="11196"/>
                </a:cubicBezTo>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5" y="21600"/>
                  <a:pt x="21600" y="16765"/>
                  <a:pt x="21600" y="10800"/>
                </a:cubicBezTo>
                <a:cubicBezTo>
                  <a:pt x="21600" y="4835"/>
                  <a:pt x="16765" y="0"/>
                  <a:pt x="10800" y="0"/>
                </a:cubicBezTo>
              </a:path>
            </a:pathLst>
          </a:custGeom>
          <a:solidFill>
            <a:schemeClr val="tx2"/>
          </a:solidFill>
          <a:ln w="12700">
            <a:miter lim="400000"/>
          </a:ln>
        </p:spPr>
        <p:txBody>
          <a:bodyPr lIns="19045" tIns="19045" rIns="19045" bIns="19045" anchor="ctr"/>
          <a:lstStyle/>
          <a:p>
            <a:pPr defTabSz="227965" eaLnBrk="1" fontAlgn="auto" hangingPunct="1">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8" name="Shape 2865"/>
          <p:cNvSpPr/>
          <p:nvPr userDrawn="1"/>
        </p:nvSpPr>
        <p:spPr>
          <a:xfrm>
            <a:off x="10559625" y="6323807"/>
            <a:ext cx="279473" cy="279400"/>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tx2"/>
          </a:solidFill>
          <a:ln w="12700">
            <a:miter lim="400000"/>
          </a:ln>
        </p:spPr>
        <p:txBody>
          <a:bodyPr lIns="19045" tIns="19045" rIns="19045" bIns="19045" anchor="ctr"/>
          <a:lstStyle/>
          <a:p>
            <a:pPr defTabSz="227965" eaLnBrk="1" fontAlgn="auto" hangingPunct="1">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Tree>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 id="2147483722" r:id="rId30"/>
    <p:sldLayoutId id="2147483723" r:id="rId31"/>
    <p:sldLayoutId id="2147483724" r:id="rId32"/>
    <p:sldLayoutId id="2147483725" r:id="rId33"/>
    <p:sldLayoutId id="2147483726" r:id="rId34"/>
    <p:sldLayoutId id="2147483727" r:id="rId35"/>
    <p:sldLayoutId id="2147483728" r:id="rId36"/>
    <p:sldLayoutId id="2147483729" r:id="rId37"/>
    <p:sldLayoutId id="2147483730" r:id="rId38"/>
    <p:sldLayoutId id="2147483731" r:id="rId39"/>
    <p:sldLayoutId id="2147483732" r:id="rId40"/>
    <p:sldLayoutId id="2147483733" r:id="rId41"/>
  </p:sldLayoutIdLst>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hf hdr="0" ftr="0" dt="0"/>
  <p:txStyles>
    <p:titleStyle>
      <a:lvl1pPr algn="l" defTabSz="913130" rtl="0" fontAlgn="base">
        <a:lnSpc>
          <a:spcPct val="90000"/>
        </a:lnSpc>
        <a:spcBef>
          <a:spcPct val="0"/>
        </a:spcBef>
        <a:spcAft>
          <a:spcPct val="0"/>
        </a:spcAft>
        <a:defRPr lang="en-US" sz="3000" kern="1200">
          <a:solidFill>
            <a:schemeClr val="tx1"/>
          </a:solidFill>
          <a:latin typeface="Lato Light" charset="0"/>
          <a:ea typeface="Lato Light" charset="0"/>
          <a:cs typeface="Lato Light" charset="0"/>
        </a:defRPr>
      </a:lvl1pPr>
      <a:lvl2pPr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2pPr>
      <a:lvl3pPr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3pPr>
      <a:lvl4pPr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4pPr>
      <a:lvl5pPr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5pPr>
      <a:lvl6pPr marL="228600"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6pPr>
      <a:lvl7pPr marL="457200"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7pPr>
      <a:lvl8pPr marL="685800"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8pPr>
      <a:lvl9pPr marL="914400"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9pPr>
    </p:titleStyle>
    <p:bodyStyle>
      <a:lvl1pPr marL="227965" indent="-227965" algn="l" defTabSz="913130" rtl="0" fontAlgn="base">
        <a:lnSpc>
          <a:spcPct val="90000"/>
        </a:lnSpc>
        <a:spcBef>
          <a:spcPts val="1000"/>
        </a:spcBef>
        <a:spcAft>
          <a:spcPct val="0"/>
        </a:spcAft>
        <a:buFont typeface="Arial" panose="020B0604020202020204" pitchFamily="34" charset="0"/>
        <a:buChar char="•"/>
        <a:defRPr lang="en-US" sz="2400" kern="1200" dirty="0">
          <a:solidFill>
            <a:schemeClr val="tx1"/>
          </a:solidFill>
          <a:latin typeface="Lato Light" charset="0"/>
          <a:ea typeface="Lato Light" charset="0"/>
          <a:cs typeface="Lato Light" charset="0"/>
        </a:defRPr>
      </a:lvl1pPr>
      <a:lvl2pPr marL="685165" indent="-227965" algn="l" defTabSz="913130" rtl="0" fontAlgn="base">
        <a:lnSpc>
          <a:spcPct val="90000"/>
        </a:lnSpc>
        <a:spcBef>
          <a:spcPts val="500"/>
        </a:spcBef>
        <a:spcAft>
          <a:spcPct val="0"/>
        </a:spcAft>
        <a:buFont typeface="Arial" panose="020B0604020202020204" pitchFamily="34" charset="0"/>
        <a:buChar char="•"/>
        <a:defRPr lang="en-US" sz="2000" kern="1200" dirty="0">
          <a:solidFill>
            <a:schemeClr val="tx1"/>
          </a:solidFill>
          <a:latin typeface="Lato Light" charset="0"/>
          <a:ea typeface="Lato Light" charset="0"/>
          <a:cs typeface="Lato Light" charset="0"/>
        </a:defRPr>
      </a:lvl2pPr>
      <a:lvl3pPr marL="1142365" indent="-227965" algn="l" defTabSz="913130" rtl="0" fontAlgn="base">
        <a:lnSpc>
          <a:spcPct val="90000"/>
        </a:lnSpc>
        <a:spcBef>
          <a:spcPts val="500"/>
        </a:spcBef>
        <a:spcAft>
          <a:spcPct val="0"/>
        </a:spcAft>
        <a:buFont typeface="Arial" panose="020B0604020202020204" pitchFamily="34" charset="0"/>
        <a:buChar char="•"/>
        <a:defRPr lang="en-US" sz="1800" kern="1200" dirty="0">
          <a:solidFill>
            <a:schemeClr val="tx1"/>
          </a:solidFill>
          <a:latin typeface="Lato Light" charset="0"/>
          <a:ea typeface="Lato Light" charset="0"/>
          <a:cs typeface="Lato Light" charset="0"/>
        </a:defRPr>
      </a:lvl3pPr>
      <a:lvl4pPr marL="1599565" indent="-227965" algn="l" defTabSz="913130" rtl="0" fontAlgn="base">
        <a:lnSpc>
          <a:spcPct val="90000"/>
        </a:lnSpc>
        <a:spcBef>
          <a:spcPts val="500"/>
        </a:spcBef>
        <a:spcAft>
          <a:spcPct val="0"/>
        </a:spcAft>
        <a:buFont typeface="Arial" panose="020B0604020202020204" pitchFamily="34" charset="0"/>
        <a:buChar char="•"/>
        <a:defRPr lang="en-US" sz="1600" kern="1200" dirty="0">
          <a:solidFill>
            <a:schemeClr val="tx1"/>
          </a:solidFill>
          <a:latin typeface="Lato Light" charset="0"/>
          <a:ea typeface="Lato Light" charset="0"/>
          <a:cs typeface="Lato Light" charset="0"/>
        </a:defRPr>
      </a:lvl4pPr>
      <a:lvl5pPr marL="2056765" indent="-227965" algn="l" defTabSz="913130" rtl="0" fontAlgn="base">
        <a:lnSpc>
          <a:spcPct val="90000"/>
        </a:lnSpc>
        <a:spcBef>
          <a:spcPts val="500"/>
        </a:spcBef>
        <a:spcAft>
          <a:spcPct val="0"/>
        </a:spcAft>
        <a:buFont typeface="Arial" panose="020B0604020202020204" pitchFamily="34" charset="0"/>
        <a:buChar char="•"/>
        <a:defRPr lang="en-US" sz="1600" kern="1200" dirty="0">
          <a:solidFill>
            <a:schemeClr val="tx1"/>
          </a:solidFill>
          <a:latin typeface="Lato Light" charset="0"/>
          <a:ea typeface="Lato Light" charset="0"/>
          <a:cs typeface="Lato Light" charset="0"/>
        </a:defRPr>
      </a:lvl5pPr>
      <a:lvl6pPr marL="2513965"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65"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65"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565"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165" algn="l" defTabSz="913765" rtl="0" eaLnBrk="1" latinLnBrk="0" hangingPunct="1">
        <a:defRPr sz="1800" kern="1200">
          <a:solidFill>
            <a:schemeClr val="tx1"/>
          </a:solidFill>
          <a:latin typeface="+mn-lt"/>
          <a:ea typeface="+mn-ea"/>
          <a:cs typeface="+mn-cs"/>
        </a:defRPr>
      </a:lvl5pPr>
      <a:lvl6pPr marL="2285365" algn="l" defTabSz="913765" rtl="0" eaLnBrk="1" latinLnBrk="0" hangingPunct="1">
        <a:defRPr sz="1800" kern="1200">
          <a:solidFill>
            <a:schemeClr val="tx1"/>
          </a:solidFill>
          <a:latin typeface="+mn-lt"/>
          <a:ea typeface="+mn-ea"/>
          <a:cs typeface="+mn-cs"/>
        </a:defRPr>
      </a:lvl6pPr>
      <a:lvl7pPr marL="2742565" algn="l" defTabSz="913765" rtl="0" eaLnBrk="1" latinLnBrk="0" hangingPunct="1">
        <a:defRPr sz="1800" kern="1200">
          <a:solidFill>
            <a:schemeClr val="tx1"/>
          </a:solidFill>
          <a:latin typeface="+mn-lt"/>
          <a:ea typeface="+mn-ea"/>
          <a:cs typeface="+mn-cs"/>
        </a:defRPr>
      </a:lvl7pPr>
      <a:lvl8pPr marL="3199765" algn="l" defTabSz="913765" rtl="0" eaLnBrk="1" latinLnBrk="0" hangingPunct="1">
        <a:defRPr sz="1800" kern="1200">
          <a:solidFill>
            <a:schemeClr val="tx1"/>
          </a:solidFill>
          <a:latin typeface="+mn-lt"/>
          <a:ea typeface="+mn-ea"/>
          <a:cs typeface="+mn-cs"/>
        </a:defRPr>
      </a:lvl8pPr>
      <a:lvl9pPr marL="3656965"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9" Type="http://schemas.openxmlformats.org/officeDocument/2006/relationships/notesSlide" Target="../notesSlides/notesSlide1.xml"/><Relationship Id="rId8" Type="http://schemas.openxmlformats.org/officeDocument/2006/relationships/slideLayout" Target="../slideLayouts/slideLayout1.xml"/><Relationship Id="rId7" Type="http://schemas.openxmlformats.org/officeDocument/2006/relationships/image" Target="../media/image3.png"/><Relationship Id="rId6" Type="http://schemas.openxmlformats.org/officeDocument/2006/relationships/image" Target="../media/image2.jpeg"/><Relationship Id="rId5" Type="http://schemas.microsoft.com/office/2007/relationships/diagramDrawing" Target="../diagrams/drawing1.xml"/><Relationship Id="rId4" Type="http://schemas.openxmlformats.org/officeDocument/2006/relationships/diagramColors" Target="../diagrams/colors1.xml"/><Relationship Id="rId3" Type="http://schemas.openxmlformats.org/officeDocument/2006/relationships/diagramQuickStyle" Target="../diagrams/quickStyle1.xml"/><Relationship Id="rId2" Type="http://schemas.openxmlformats.org/officeDocument/2006/relationships/diagramLayout" Target="../diagrams/layout1.xml"/><Relationship Id="rId1" Type="http://schemas.openxmlformats.org/officeDocument/2006/relationships/diagramData" Target="../diagrams/data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5.xml"/><Relationship Id="rId1" Type="http://schemas.openxmlformats.org/officeDocument/2006/relationships/image" Target="../media/image5.jpeg"/></Relationships>
</file>

<file path=ppt/slides/_rels/slide11.xml.rels><?xml version="1.0" encoding="UTF-8" standalone="yes"?>
<Relationships xmlns="http://schemas.openxmlformats.org/package/2006/relationships"><Relationship Id="rId5" Type="http://schemas.openxmlformats.org/officeDocument/2006/relationships/notesSlide" Target="../notesSlides/notesSlide11.xml"/><Relationship Id="rId4" Type="http://schemas.openxmlformats.org/officeDocument/2006/relationships/slideLayout" Target="../slideLayouts/slideLayout25.xml"/><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image" Target="../media/image29.png"/></Relationships>
</file>

<file path=ppt/slides/_rels/slide12.xml.rels><?xml version="1.0" encoding="UTF-8" standalone="yes"?>
<Relationships xmlns="http://schemas.openxmlformats.org/package/2006/relationships"><Relationship Id="rId5" Type="http://schemas.openxmlformats.org/officeDocument/2006/relationships/notesSlide" Target="../notesSlides/notesSlide12.xml"/><Relationship Id="rId4" Type="http://schemas.openxmlformats.org/officeDocument/2006/relationships/slideLayout" Target="../slideLayouts/slideLayout19.xml"/><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image" Target="../media/image32.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5.xml"/><Relationship Id="rId1" Type="http://schemas.openxmlformats.org/officeDocument/2006/relationships/image" Target="../media/image5.jpeg"/></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4.xml"/><Relationship Id="rId7" Type="http://schemas.openxmlformats.org/officeDocument/2006/relationships/slideLayout" Target="../slideLayouts/slideLayout1.xml"/><Relationship Id="rId6" Type="http://schemas.openxmlformats.org/officeDocument/2006/relationships/image" Target="../media/image2.jpeg"/><Relationship Id="rId5" Type="http://schemas.microsoft.com/office/2007/relationships/diagramDrawing" Target="../diagrams/drawing2.xml"/><Relationship Id="rId4" Type="http://schemas.openxmlformats.org/officeDocument/2006/relationships/diagramColors" Target="../diagrams/colors2.xml"/><Relationship Id="rId3" Type="http://schemas.openxmlformats.org/officeDocument/2006/relationships/diagramQuickStyle" Target="../diagrams/quickStyle2.xml"/><Relationship Id="rId2" Type="http://schemas.openxmlformats.org/officeDocument/2006/relationships/diagramLayout" Target="../diagrams/layout2.xml"/><Relationship Id="rId1" Type="http://schemas.openxmlformats.org/officeDocument/2006/relationships/diagramData" Target="../diagrams/data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9.xml"/><Relationship Id="rId1"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5.xml"/><Relationship Id="rId1" Type="http://schemas.openxmlformats.org/officeDocument/2006/relationships/image" Target="../media/image5.jpeg"/></Relationships>
</file>

<file path=ppt/slides/_rels/slide4.xml.rels><?xml version="1.0" encoding="UTF-8" standalone="yes"?>
<Relationships xmlns="http://schemas.openxmlformats.org/package/2006/relationships"><Relationship Id="rId6" Type="http://schemas.openxmlformats.org/officeDocument/2006/relationships/notesSlide" Target="../notesSlides/notesSlide4.xml"/><Relationship Id="rId5" Type="http://schemas.openxmlformats.org/officeDocument/2006/relationships/slideLayout" Target="../slideLayouts/slideLayout73.xml"/><Relationship Id="rId4" Type="http://schemas.openxmlformats.org/officeDocument/2006/relationships/image" Target="../media/image9.png"/><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image" Target="../media/image6.png"/></Relationships>
</file>

<file path=ppt/slides/_rels/slide5.xml.rels><?xml version="1.0" encoding="UTF-8" standalone="yes"?>
<Relationships xmlns="http://schemas.openxmlformats.org/package/2006/relationships"><Relationship Id="rId7" Type="http://schemas.openxmlformats.org/officeDocument/2006/relationships/notesSlide" Target="../notesSlides/notesSlide5.xml"/><Relationship Id="rId6" Type="http://schemas.openxmlformats.org/officeDocument/2006/relationships/slideLayout" Target="../slideLayouts/slideLayout73.xml"/><Relationship Id="rId5" Type="http://schemas.openxmlformats.org/officeDocument/2006/relationships/image" Target="../media/image14.png"/><Relationship Id="rId4" Type="http://schemas.openxmlformats.org/officeDocument/2006/relationships/image" Target="../media/image13.png"/><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5.xml"/><Relationship Id="rId1" Type="http://schemas.openxmlformats.org/officeDocument/2006/relationships/image" Target="../media/image5.jpeg"/></Relationships>
</file>

<file path=ppt/slides/_rels/slide7.xml.rels><?xml version="1.0" encoding="UTF-8" standalone="yes"?>
<Relationships xmlns="http://schemas.openxmlformats.org/package/2006/relationships"><Relationship Id="rId5" Type="http://schemas.openxmlformats.org/officeDocument/2006/relationships/notesSlide" Target="../notesSlides/notesSlide7.xml"/><Relationship Id="rId4" Type="http://schemas.openxmlformats.org/officeDocument/2006/relationships/slideLayout" Target="../slideLayouts/slideLayout29.xml"/><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image" Target="../media/image15.jpeg"/></Relationships>
</file>

<file path=ppt/slides/_rels/slide8.xml.rels><?xml version="1.0" encoding="UTF-8" standalone="yes"?>
<Relationships xmlns="http://schemas.openxmlformats.org/package/2006/relationships"><Relationship Id="rId9" Type="http://schemas.openxmlformats.org/officeDocument/2006/relationships/image" Target="../media/image26.jpeg"/><Relationship Id="rId8" Type="http://schemas.openxmlformats.org/officeDocument/2006/relationships/image" Target="../media/image25.jpeg"/><Relationship Id="rId7" Type="http://schemas.openxmlformats.org/officeDocument/2006/relationships/image" Target="../media/image24.jpeg"/><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 Id="rId3" Type="http://schemas.openxmlformats.org/officeDocument/2006/relationships/image" Target="../media/image20.jpeg"/><Relationship Id="rId2" Type="http://schemas.openxmlformats.org/officeDocument/2006/relationships/image" Target="../media/image19.jpeg"/><Relationship Id="rId12" Type="http://schemas.openxmlformats.org/officeDocument/2006/relationships/notesSlide" Target="../notesSlides/notesSlide8.xml"/><Relationship Id="rId11" Type="http://schemas.openxmlformats.org/officeDocument/2006/relationships/slideLayout" Target="../slideLayouts/slideLayout33.xml"/><Relationship Id="rId10" Type="http://schemas.openxmlformats.org/officeDocument/2006/relationships/image" Target="../media/image27.jpeg"/><Relationship Id="rId1" Type="http://schemas.openxmlformats.org/officeDocument/2006/relationships/image" Target="../media/image18.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1.xml"/><Relationship Id="rId1" Type="http://schemas.openxmlformats.org/officeDocument/2006/relationships/image" Target="../media/image2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nvGraphicFramePr>
        <p:xfrm>
          <a:off x="0" y="0"/>
          <a:ext cx="12192000" cy="6858000"/>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pic>
        <p:nvPicPr>
          <p:cNvPr id="8" name="图片 7"/>
          <p:cNvPicPr>
            <a:picLocks noChangeAspect="1"/>
          </p:cNvPicPr>
          <p:nvPr/>
        </p:nvPicPr>
        <p:blipFill rotWithShape="1">
          <a:blip r:embed="rId6">
            <a:extLst>
              <a:ext uri="{28A0092B-C50C-407E-A947-70E740481C1C}">
                <a14:useLocalDpi xmlns:a14="http://schemas.microsoft.com/office/drawing/2010/main" val="0"/>
              </a:ext>
            </a:extLst>
          </a:blip>
          <a:srcRect r="5607"/>
          <a:stretch>
            <a:fillRect/>
          </a:stretch>
        </p:blipFill>
        <p:spPr>
          <a:xfrm>
            <a:off x="1" y="0"/>
            <a:ext cx="12192000" cy="6858000"/>
          </a:xfrm>
          <a:prstGeom prst="rect">
            <a:avLst/>
          </a:prstGeom>
        </p:spPr>
      </p:pic>
      <p:sp>
        <p:nvSpPr>
          <p:cNvPr id="2" name="Rectangle 1"/>
          <p:cNvSpPr/>
          <p:nvPr/>
        </p:nvSpPr>
        <p:spPr>
          <a:xfrm>
            <a:off x="7042908" y="2106801"/>
            <a:ext cx="3531134" cy="35311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Isosceles Triangle 6"/>
          <p:cNvSpPr/>
          <p:nvPr/>
        </p:nvSpPr>
        <p:spPr>
          <a:xfrm>
            <a:off x="5830529" y="471948"/>
            <a:ext cx="6361471" cy="6386052"/>
          </a:xfrm>
          <a:prstGeom prst="triangle">
            <a:avLst>
              <a:gd name="adj" fmla="val 100000"/>
            </a:avLst>
          </a:prstGeom>
          <a:solidFill>
            <a:schemeClr val="tx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5" name="TextBox 30"/>
          <p:cNvSpPr txBox="1"/>
          <p:nvPr/>
        </p:nvSpPr>
        <p:spPr>
          <a:xfrm>
            <a:off x="8094096" y="2871419"/>
            <a:ext cx="1427480" cy="891540"/>
          </a:xfrm>
          <a:prstGeom prst="rect">
            <a:avLst/>
          </a:prstGeom>
          <a:noFill/>
        </p:spPr>
        <p:txBody>
          <a:bodyPr wrap="none" rtlCol="0">
            <a:spAutoFit/>
          </a:bodyPr>
          <a:lstStyle/>
          <a:p>
            <a:pPr algn="ctr"/>
            <a:r>
              <a:rPr lang="zh-CN" sz="5200" spc="-300" dirty="0">
                <a:solidFill>
                  <a:schemeClr val="bg1"/>
                </a:solidFill>
                <a:latin typeface="华文行楷" panose="02010800040101010101" charset="-122"/>
                <a:ea typeface="华文行楷" panose="02010800040101010101" charset="-122"/>
              </a:rPr>
              <a:t>虫二</a:t>
            </a:r>
            <a:endParaRPr lang="zh-CN" sz="5200" spc="-300" dirty="0">
              <a:solidFill>
                <a:schemeClr val="bg1"/>
              </a:solidFill>
              <a:latin typeface="华文行楷" panose="02010800040101010101" charset="-122"/>
              <a:ea typeface="华文行楷" panose="02010800040101010101" charset="-122"/>
            </a:endParaRPr>
          </a:p>
        </p:txBody>
      </p:sp>
      <p:sp>
        <p:nvSpPr>
          <p:cNvPr id="16" name="Content Placeholder 2"/>
          <p:cNvSpPr txBox="1"/>
          <p:nvPr/>
        </p:nvSpPr>
        <p:spPr>
          <a:xfrm>
            <a:off x="6357705" y="5939805"/>
            <a:ext cx="5107913" cy="950496"/>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solidFill>
                  <a:schemeClr val="bg1"/>
                </a:solidFill>
                <a:latin typeface="微软雅黑" panose="020B0503020204020204" charset="-122"/>
                <a:ea typeface="微软雅黑" panose="020B0503020204020204" charset="-122"/>
                <a:cs typeface="+mn-ea"/>
                <a:sym typeface="微软雅黑" panose="020B0503020204020204" charset="-122"/>
              </a:rPr>
              <a:t>Lorem ipsum dolor sit amet, consectetur adipiscing elit. Curabitur elementum posuere pretium. Quisque nibh dolor, dignissim ac </a:t>
            </a:r>
            <a:r>
              <a:rPr lang="en-US" dirty="0" err="1">
                <a:solidFill>
                  <a:schemeClr val="bg1"/>
                </a:solidFill>
                <a:latin typeface="微软雅黑" panose="020B0503020204020204" charset="-122"/>
                <a:ea typeface="微软雅黑" panose="020B0503020204020204" charset="-122"/>
                <a:cs typeface="+mn-ea"/>
                <a:sym typeface="微软雅黑" panose="020B0503020204020204" charset="-122"/>
              </a:rPr>
              <a:t>dignissim</a:t>
            </a:r>
            <a:r>
              <a:rPr lang="en-US" dirty="0">
                <a:solidFill>
                  <a:schemeClr val="bg1"/>
                </a:solidFill>
                <a:latin typeface="微软雅黑" panose="020B0503020204020204" charset="-122"/>
                <a:ea typeface="微软雅黑" panose="020B0503020204020204" charset="-122"/>
                <a:cs typeface="+mn-ea"/>
                <a:sym typeface="微软雅黑" panose="020B0503020204020204" charset="-122"/>
              </a:rPr>
              <a:t> </a:t>
            </a:r>
            <a:r>
              <a:rPr lang="en-US" dirty="0" err="1">
                <a:solidFill>
                  <a:schemeClr val="bg1"/>
                </a:solidFill>
                <a:latin typeface="微软雅黑" panose="020B0503020204020204" charset="-122"/>
                <a:ea typeface="微软雅黑" panose="020B0503020204020204" charset="-122"/>
                <a:cs typeface="+mn-ea"/>
                <a:sym typeface="微软雅黑" panose="020B0503020204020204" charset="-122"/>
              </a:rPr>
              <a:t>ut</a:t>
            </a:r>
            <a:r>
              <a:rPr lang="en-US" altLang="zh-CN" dirty="0" err="1">
                <a:solidFill>
                  <a:schemeClr val="bg1"/>
                </a:solidFill>
                <a:latin typeface="微软雅黑" panose="020B0503020204020204" charset="-122"/>
                <a:ea typeface="微软雅黑" panose="020B0503020204020204" charset="-122"/>
                <a:cs typeface="+mn-ea"/>
                <a:sym typeface="微软雅黑" panose="020B0503020204020204" charset="-122"/>
              </a:rPr>
              <a:t>.</a:t>
            </a:r>
            <a:r>
              <a:rPr lang="en-US" altLang="zh-CN" dirty="0">
                <a:solidFill>
                  <a:schemeClr val="bg1"/>
                </a:solidFill>
                <a:latin typeface="微软雅黑" panose="020B0503020204020204" charset="-122"/>
                <a:ea typeface="微软雅黑" panose="020B0503020204020204" charset="-122"/>
                <a:cs typeface="+mn-ea"/>
                <a:sym typeface="微软雅黑" panose="020B0503020204020204" charset="-122"/>
              </a:rPr>
              <a:t> </a:t>
            </a:r>
            <a:endParaRPr lang="en-US" altLang="zh-CN" dirty="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11" name="文本框 10"/>
          <p:cNvSpPr txBox="1"/>
          <p:nvPr/>
        </p:nvSpPr>
        <p:spPr>
          <a:xfrm>
            <a:off x="7766050" y="4463415"/>
            <a:ext cx="2084070" cy="368300"/>
          </a:xfrm>
          <a:prstGeom prst="rect">
            <a:avLst/>
          </a:prstGeom>
          <a:noFill/>
          <a:ln>
            <a:solidFill>
              <a:schemeClr val="bg1"/>
            </a:solidFill>
          </a:ln>
        </p:spPr>
        <p:txBody>
          <a:bodyPr wrap="square" rtlCol="0">
            <a:spAutoFit/>
          </a:bodyPr>
          <a:lstStyle/>
          <a:p>
            <a:pPr algn="ctr"/>
            <a:r>
              <a:rPr lang="zh-CN" dirty="0">
                <a:solidFill>
                  <a:schemeClr val="bg1"/>
                </a:solidFill>
                <a:latin typeface="微软雅黑" panose="020B0503020204020204" charset="-122"/>
                <a:ea typeface="微软雅黑" panose="020B0503020204020204" charset="-122"/>
              </a:rPr>
              <a:t>组名</a:t>
            </a:r>
            <a:r>
              <a:rPr lang="en-US" altLang="zh-CN" dirty="0">
                <a:solidFill>
                  <a:schemeClr val="bg1"/>
                </a:solidFill>
                <a:latin typeface="微软雅黑" panose="020B0503020204020204" charset="-122"/>
                <a:ea typeface="微软雅黑" panose="020B0503020204020204" charset="-122"/>
              </a:rPr>
              <a:t>:</a:t>
            </a:r>
            <a:r>
              <a:rPr lang="zh-CN" altLang="en-US" dirty="0">
                <a:solidFill>
                  <a:schemeClr val="bg1"/>
                </a:solidFill>
                <a:latin typeface="微软雅黑" panose="020B0503020204020204" charset="-122"/>
                <a:ea typeface="微软雅黑" panose="020B0503020204020204" charset="-122"/>
              </a:rPr>
              <a:t>虫二工作室</a:t>
            </a:r>
            <a:endParaRPr lang="zh-CN" altLang="en-US" dirty="0">
              <a:solidFill>
                <a:schemeClr val="bg1"/>
              </a:solidFill>
              <a:latin typeface="微软雅黑" panose="020B0503020204020204" charset="-122"/>
              <a:ea typeface="微软雅黑" panose="020B0503020204020204" charset="-122"/>
            </a:endParaRPr>
          </a:p>
        </p:txBody>
      </p:sp>
      <p:sp>
        <p:nvSpPr>
          <p:cNvPr id="12" name="文本框 11"/>
          <p:cNvSpPr txBox="1"/>
          <p:nvPr/>
        </p:nvSpPr>
        <p:spPr>
          <a:xfrm>
            <a:off x="7374919" y="4977318"/>
            <a:ext cx="2867104" cy="368300"/>
          </a:xfrm>
          <a:prstGeom prst="rect">
            <a:avLst/>
          </a:prstGeom>
          <a:noFill/>
          <a:ln>
            <a:solidFill>
              <a:schemeClr val="bg1"/>
            </a:solidFill>
          </a:ln>
        </p:spPr>
        <p:txBody>
          <a:bodyPr wrap="square" rtlCol="0">
            <a:spAutoFit/>
          </a:bodyPr>
          <a:lstStyle/>
          <a:p>
            <a:pPr algn="ctr"/>
            <a:r>
              <a:rPr lang="zh-CN" dirty="0">
                <a:solidFill>
                  <a:schemeClr val="bg1"/>
                </a:solidFill>
                <a:latin typeface="微软雅黑" panose="020B0503020204020204" charset="-122"/>
                <a:ea typeface="微软雅黑" panose="020B0503020204020204" charset="-122"/>
              </a:rPr>
              <a:t>项目名</a:t>
            </a:r>
            <a:r>
              <a:rPr lang="en-US" altLang="zh-CN" dirty="0">
                <a:solidFill>
                  <a:schemeClr val="bg1"/>
                </a:solidFill>
                <a:latin typeface="微软雅黑" panose="020B0503020204020204" charset="-122"/>
                <a:ea typeface="微软雅黑" panose="020B0503020204020204" charset="-122"/>
              </a:rPr>
              <a:t>:</a:t>
            </a:r>
            <a:r>
              <a:rPr lang="zh-CN" altLang="en-US" dirty="0">
                <a:solidFill>
                  <a:schemeClr val="bg1"/>
                </a:solidFill>
                <a:latin typeface="微软雅黑" panose="020B0503020204020204" charset="-122"/>
                <a:ea typeface="微软雅黑" panose="020B0503020204020204" charset="-122"/>
              </a:rPr>
              <a:t>虫二旅游网</a:t>
            </a:r>
            <a:endParaRPr lang="zh-CN" altLang="en-US" dirty="0">
              <a:solidFill>
                <a:schemeClr val="bg1"/>
              </a:solidFill>
              <a:latin typeface="微软雅黑" panose="020B0503020204020204" charset="-122"/>
              <a:ea typeface="微软雅黑" panose="020B0503020204020204" charset="-122"/>
            </a:endParaRPr>
          </a:p>
        </p:txBody>
      </p:sp>
      <p:pic>
        <p:nvPicPr>
          <p:cNvPr id="9" name="图片 8" descr="jt-logo"/>
          <p:cNvPicPr>
            <a:picLocks noChangeAspect="1"/>
          </p:cNvPicPr>
          <p:nvPr/>
        </p:nvPicPr>
        <p:blipFill>
          <a:blip r:embed="rId7"/>
          <a:stretch>
            <a:fillRect/>
          </a:stretch>
        </p:blipFill>
        <p:spPr>
          <a:xfrm>
            <a:off x="1440815" y="1622425"/>
            <a:ext cx="4771390" cy="17145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9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ppt_x"/>
                                          </p:val>
                                        </p:tav>
                                        <p:tav tm="100000">
                                          <p:val>
                                            <p:strVal val="#ppt_x"/>
                                          </p:val>
                                        </p:tav>
                                      </p:tavLst>
                                    </p:anim>
                                    <p:anim calcmode="lin" valueType="num">
                                      <p:cBhvr additive="base">
                                        <p:cTn id="8" dur="75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9" decel="100000" fill="hold" grpId="0" nodeType="withEffect">
                                  <p:stCondLst>
                                    <p:cond delay="230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750" fill="hold"/>
                                        <p:tgtEl>
                                          <p:spTgt spid="7"/>
                                        </p:tgtEl>
                                        <p:attrNameLst>
                                          <p:attrName>ppt_x</p:attrName>
                                        </p:attrNameLst>
                                      </p:cBhvr>
                                      <p:tavLst>
                                        <p:tav tm="0">
                                          <p:val>
                                            <p:strVal val="0-#ppt_w/2"/>
                                          </p:val>
                                        </p:tav>
                                        <p:tav tm="100000">
                                          <p:val>
                                            <p:strVal val="#ppt_x"/>
                                          </p:val>
                                        </p:tav>
                                      </p:tavLst>
                                    </p:anim>
                                    <p:anim calcmode="lin" valueType="num">
                                      <p:cBhvr additive="base">
                                        <p:cTn id="12" dur="750" fill="hold"/>
                                        <p:tgtEl>
                                          <p:spTgt spid="7"/>
                                        </p:tgtEl>
                                        <p:attrNameLst>
                                          <p:attrName>ppt_y</p:attrName>
                                        </p:attrNameLst>
                                      </p:cBhvr>
                                      <p:tavLst>
                                        <p:tav tm="0">
                                          <p:val>
                                            <p:strVal val="0-#ppt_h/2"/>
                                          </p:val>
                                        </p:tav>
                                        <p:tav tm="100000">
                                          <p:val>
                                            <p:strVal val="#ppt_y"/>
                                          </p:val>
                                        </p:tav>
                                      </p:tavLst>
                                    </p:anim>
                                  </p:childTnLst>
                                </p:cTn>
                              </p:par>
                            </p:childTnLst>
                          </p:cTn>
                        </p:par>
                        <p:par>
                          <p:cTn id="13" fill="hold">
                            <p:stCondLst>
                              <p:cond delay="1900"/>
                            </p:stCondLst>
                            <p:childTnLst>
                              <p:par>
                                <p:cTn id="14" presetID="2" presetClass="entr" presetSubtype="4" decel="100000" fill="hold" grpId="0" nodeType="afterEffect">
                                  <p:stCondLst>
                                    <p:cond delay="0"/>
                                  </p:stCondLst>
                                  <p:childTnLst>
                                    <p:set>
                                      <p:cBhvr>
                                        <p:cTn id="15" dur="1" fill="hold">
                                          <p:stCondLst>
                                            <p:cond delay="0"/>
                                          </p:stCondLst>
                                        </p:cTn>
                                        <p:tgtEl>
                                          <p:spTgt spid="15"/>
                                        </p:tgtEl>
                                        <p:attrNameLst>
                                          <p:attrName>style.visibility</p:attrName>
                                        </p:attrNameLst>
                                      </p:cBhvr>
                                      <p:to>
                                        <p:strVal val="visible"/>
                                      </p:to>
                                    </p:set>
                                    <p:anim calcmode="lin" valueType="num">
                                      <p:cBhvr additive="base">
                                        <p:cTn id="16" dur="750" fill="hold"/>
                                        <p:tgtEl>
                                          <p:spTgt spid="15"/>
                                        </p:tgtEl>
                                        <p:attrNameLst>
                                          <p:attrName>ppt_x</p:attrName>
                                        </p:attrNameLst>
                                      </p:cBhvr>
                                      <p:tavLst>
                                        <p:tav tm="0">
                                          <p:val>
                                            <p:strVal val="#ppt_x"/>
                                          </p:val>
                                        </p:tav>
                                        <p:tav tm="100000">
                                          <p:val>
                                            <p:strVal val="#ppt_x"/>
                                          </p:val>
                                        </p:tav>
                                      </p:tavLst>
                                    </p:anim>
                                    <p:anim calcmode="lin" valueType="num">
                                      <p:cBhvr additive="base">
                                        <p:cTn id="17" dur="750" fill="hold"/>
                                        <p:tgtEl>
                                          <p:spTgt spid="15"/>
                                        </p:tgtEl>
                                        <p:attrNameLst>
                                          <p:attrName>ppt_y</p:attrName>
                                        </p:attrNameLst>
                                      </p:cBhvr>
                                      <p:tavLst>
                                        <p:tav tm="0">
                                          <p:val>
                                            <p:strVal val="1+#ppt_h/2"/>
                                          </p:val>
                                        </p:tav>
                                        <p:tav tm="100000">
                                          <p:val>
                                            <p:strVal val="#ppt_y"/>
                                          </p:val>
                                        </p:tav>
                                      </p:tavLst>
                                    </p:anim>
                                  </p:childTnLst>
                                </p:cTn>
                              </p:par>
                            </p:childTnLst>
                          </p:cTn>
                        </p:par>
                        <p:par>
                          <p:cTn id="18" fill="hold">
                            <p:stCondLst>
                              <p:cond delay="2900"/>
                            </p:stCondLst>
                            <p:childTnLst>
                              <p:par>
                                <p:cTn id="19" presetID="53" presetClass="entr" presetSubtype="16" fill="hold" grpId="0" nodeType="afterEffect">
                                  <p:stCondLst>
                                    <p:cond delay="0"/>
                                  </p:stCondLst>
                                  <p:childTnLst>
                                    <p:set>
                                      <p:cBhvr>
                                        <p:cTn id="20" dur="1" fill="hold">
                                          <p:stCondLst>
                                            <p:cond delay="0"/>
                                          </p:stCondLst>
                                        </p:cTn>
                                        <p:tgtEl>
                                          <p:spTgt spid="16"/>
                                        </p:tgtEl>
                                        <p:attrNameLst>
                                          <p:attrName>style.visibility</p:attrName>
                                        </p:attrNameLst>
                                      </p:cBhvr>
                                      <p:to>
                                        <p:strVal val="visible"/>
                                      </p:to>
                                    </p:set>
                                    <p:anim calcmode="lin" valueType="num">
                                      <p:cBhvr>
                                        <p:cTn id="21" dur="500" fill="hold"/>
                                        <p:tgtEl>
                                          <p:spTgt spid="16"/>
                                        </p:tgtEl>
                                        <p:attrNameLst>
                                          <p:attrName>ppt_w</p:attrName>
                                        </p:attrNameLst>
                                      </p:cBhvr>
                                      <p:tavLst>
                                        <p:tav tm="0">
                                          <p:val>
                                            <p:fltVal val="0"/>
                                          </p:val>
                                        </p:tav>
                                        <p:tav tm="100000">
                                          <p:val>
                                            <p:strVal val="#ppt_w"/>
                                          </p:val>
                                        </p:tav>
                                      </p:tavLst>
                                    </p:anim>
                                    <p:anim calcmode="lin" valueType="num">
                                      <p:cBhvr>
                                        <p:cTn id="22" dur="500" fill="hold"/>
                                        <p:tgtEl>
                                          <p:spTgt spid="16"/>
                                        </p:tgtEl>
                                        <p:attrNameLst>
                                          <p:attrName>ppt_h</p:attrName>
                                        </p:attrNameLst>
                                      </p:cBhvr>
                                      <p:tavLst>
                                        <p:tav tm="0">
                                          <p:val>
                                            <p:fltVal val="0"/>
                                          </p:val>
                                        </p:tav>
                                        <p:tav tm="100000">
                                          <p:val>
                                            <p:strVal val="#ppt_h"/>
                                          </p:val>
                                        </p:tav>
                                      </p:tavLst>
                                    </p:anim>
                                    <p:animEffect transition="in" filter="fade">
                                      <p:cBhvr>
                                        <p:cTn id="2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15" grpId="0"/>
      <p:bldP spid="16" grpId="0"/>
    </p:bld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图片占位符 5"/>
          <p:cNvPicPr>
            <a:picLocks noGrp="1" noChangeAspect="1"/>
          </p:cNvPicPr>
          <p:nvPr>
            <p:ph type="pic" sz="quarter" idx="14"/>
          </p:nvPr>
        </p:nvPicPr>
        <p:blipFill>
          <a:blip r:embed="rId1">
            <a:extLst>
              <a:ext uri="{28A0092B-C50C-407E-A947-70E740481C1C}">
                <a14:useLocalDpi xmlns:a14="http://schemas.microsoft.com/office/drawing/2010/main" val="0"/>
              </a:ext>
            </a:extLst>
          </a:blip>
          <a:srcRect l="18887" r="18887"/>
          <a:stretch>
            <a:fillRect/>
          </a:stretch>
        </p:blipFill>
        <p:spPr/>
      </p:pic>
      <p:sp>
        <p:nvSpPr>
          <p:cNvPr id="5" name="Rectangle 4"/>
          <p:cNvSpPr/>
          <p:nvPr/>
        </p:nvSpPr>
        <p:spPr>
          <a:xfrm>
            <a:off x="1447800" y="1276278"/>
            <a:ext cx="3747372" cy="4293157"/>
          </a:xfrm>
          <a:prstGeom prst="rect">
            <a:avLst/>
          </a:prstGeom>
          <a:pattFill prst="ltUpDiag">
            <a:fgClr>
              <a:schemeClr val="tx1">
                <a:lumMod val="50000"/>
                <a:lumOff val="50000"/>
              </a:schemeClr>
            </a:fgClr>
            <a:bgClr>
              <a:schemeClr val="tx1">
                <a:lumMod val="75000"/>
                <a:lumOff val="25000"/>
              </a:schemeClr>
            </a:bgClr>
          </a:patt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16" name="Rectangle 15"/>
          <p:cNvSpPr/>
          <p:nvPr/>
        </p:nvSpPr>
        <p:spPr>
          <a:xfrm>
            <a:off x="1856911" y="3551538"/>
            <a:ext cx="3071023" cy="461665"/>
          </a:xfrm>
          <a:prstGeom prst="rect">
            <a:avLst/>
          </a:prstGeom>
        </p:spPr>
        <p:txBody>
          <a:bodyPr wrap="square">
            <a:spAutoFit/>
          </a:bodyPr>
          <a:lstStyle/>
          <a:p>
            <a:pPr algn="ctr">
              <a:buClr>
                <a:srgbClr val="E24848"/>
              </a:buClr>
              <a:defRPr/>
            </a:pPr>
            <a:r>
              <a:rPr lang="en-US" sz="1200" noProof="1">
                <a:solidFill>
                  <a:schemeClr val="bg1">
                    <a:lumMod val="8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bg1">
                  <a:lumMod val="85000"/>
                </a:schemeClr>
              </a:solidFill>
              <a:latin typeface="+mj-lt"/>
              <a:ea typeface="Roboto Light" panose="02000000000000000000" pitchFamily="2" charset="0"/>
              <a:cs typeface="Arial" panose="020B0604020202020204" pitchFamily="34" charset="0"/>
            </a:endParaRPr>
          </a:p>
        </p:txBody>
      </p:sp>
      <p:cxnSp>
        <p:nvCxnSpPr>
          <p:cNvPr id="9" name="Straight Connector 8"/>
          <p:cNvCxnSpPr/>
          <p:nvPr/>
        </p:nvCxnSpPr>
        <p:spPr>
          <a:xfrm>
            <a:off x="1739229" y="27686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739229" y="42164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028023" y="2895641"/>
            <a:ext cx="2801429" cy="830997"/>
          </a:xfrm>
          <a:prstGeom prst="rect">
            <a:avLst/>
          </a:prstGeom>
        </p:spPr>
        <p:txBody>
          <a:bodyPr vert="horz" lIns="91440" tIns="45720" rIns="91440" bIns="45720" rtlCol="0" anchor="ctr">
            <a:noAutofit/>
          </a:bodyPr>
          <a:lstStyle/>
          <a:p>
            <a:pPr algn="ctr" defTabSz="913765">
              <a:spcBef>
                <a:spcPct val="0"/>
              </a:spcBef>
            </a:pPr>
            <a:r>
              <a:rPr lang="zh-CN" altLang="en-US" sz="4800">
                <a:solidFill>
                  <a:schemeClr val="bg1">
                    <a:lumMod val="85000"/>
                  </a:schemeClr>
                </a:solidFill>
                <a:latin typeface="Bebas Neue" panose="020B0606020202050201" pitchFamily="34" charset="0"/>
                <a:ea typeface="Roboto Light" panose="02000000000000000000" pitchFamily="2" charset="0"/>
                <a:cs typeface="Lato Light" charset="0"/>
              </a:rPr>
              <a:t>项目演示</a:t>
            </a:r>
            <a:endParaRPr lang="zh-CN" altLang="en-US" sz="4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
        <p:nvSpPr>
          <p:cNvPr id="24" name="Rectangle 23"/>
          <p:cNvSpPr/>
          <p:nvPr/>
        </p:nvSpPr>
        <p:spPr>
          <a:xfrm>
            <a:off x="7442005" y="2875002"/>
            <a:ext cx="2928218" cy="1107996"/>
          </a:xfrm>
          <a:prstGeom prst="rect">
            <a:avLst/>
          </a:prstGeom>
        </p:spPr>
        <p:txBody>
          <a:bodyPr wrap="square">
            <a:spAutoFit/>
          </a:bodyPr>
          <a:lstStyle/>
          <a:p>
            <a:pPr>
              <a:buClr>
                <a:srgbClr val="E24848"/>
              </a:buClr>
              <a:defRPr/>
            </a:pPr>
            <a:r>
              <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rPr>
              <a:t>Nulla facilisi nam auctor metus vitae quam gravida, ac vehicula elit mollis. Nunc elementum fringilla nisl, a ornare arcu condimentum a. Nulla euismod congue arcu quis feugiat. Phasellus porttitor felis mauris, sed suscipit quam egestas nec. </a:t>
            </a:r>
            <a:endPar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endParaRPr>
          </a:p>
        </p:txBody>
      </p:sp>
      <p:sp>
        <p:nvSpPr>
          <p:cNvPr id="10" name="Rectangle 16"/>
          <p:cNvSpPr/>
          <p:nvPr/>
        </p:nvSpPr>
        <p:spPr>
          <a:xfrm>
            <a:off x="1939049" y="1757722"/>
            <a:ext cx="2801429" cy="830997"/>
          </a:xfrm>
          <a:prstGeom prst="rect">
            <a:avLst/>
          </a:prstGeom>
        </p:spPr>
        <p:txBody>
          <a:bodyPr vert="horz" lIns="91440" tIns="45720" rIns="91440" bIns="45720" rtlCol="0" anchor="ctr">
            <a:noAutofit/>
          </a:bodyPr>
          <a:lstStyle/>
          <a:p>
            <a:pPr algn="ctr" defTabSz="913765">
              <a:spcBef>
                <a:spcPct val="0"/>
              </a:spcBef>
            </a:pPr>
            <a:r>
              <a:rPr lang="en-US" altLang="zh-CN" sz="8800" dirty="0">
                <a:solidFill>
                  <a:schemeClr val="bg1">
                    <a:lumMod val="85000"/>
                  </a:schemeClr>
                </a:solidFill>
                <a:latin typeface="Bebas Neue" panose="020B0606020202050201" pitchFamily="34" charset="0"/>
                <a:ea typeface="Roboto Light" panose="02000000000000000000" pitchFamily="2" charset="0"/>
                <a:cs typeface="Lato Light" charset="0"/>
              </a:rPr>
              <a:t>03</a:t>
            </a:r>
            <a:endParaRPr lang="zh-CN" altLang="en-US" sz="8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42" name="Rectangle 41"/>
          <p:cNvSpPr/>
          <p:nvPr/>
        </p:nvSpPr>
        <p:spPr>
          <a:xfrm>
            <a:off x="7987429" y="2666104"/>
            <a:ext cx="2379350" cy="548576"/>
          </a:xfrm>
          <a:prstGeom prst="rect">
            <a:avLst/>
          </a:prstGeom>
          <a:solidFill>
            <a:schemeClr val="bg1">
              <a:lumMod val="85000"/>
            </a:schemeClr>
          </a:solidFill>
        </p:spPr>
        <p:txBody>
          <a:bodyPr vert="horz" lIns="91440" tIns="45720" rIns="91440" bIns="45720" rtlCol="0" anchor="ctr">
            <a:noAutofit/>
          </a:bodyPr>
          <a:lstStyle/>
          <a:p>
            <a:pPr defTabSz="913765">
              <a:spcBef>
                <a:spcPct val="0"/>
              </a:spcBef>
            </a:pPr>
            <a:r>
              <a:rPr lang="en-US" sz="3600" noProof="1">
                <a:solidFill>
                  <a:schemeClr val="tx1">
                    <a:lumMod val="85000"/>
                    <a:lumOff val="15000"/>
                  </a:schemeClr>
                </a:solidFill>
                <a:latin typeface="Bebas Neue" panose="020B0606020202050201" pitchFamily="34" charset="0"/>
                <a:ea typeface="Roboto Light" panose="02000000000000000000" pitchFamily="2" charset="0"/>
                <a:cs typeface="Lato Light" charset="0"/>
              </a:rPr>
              <a:t>chong er</a:t>
            </a:r>
            <a:endParaRPr lang="en-US" sz="3600" noProof="1">
              <a:solidFill>
                <a:schemeClr val="tx1">
                  <a:lumMod val="85000"/>
                  <a:lumOff val="15000"/>
                </a:schemeClr>
              </a:solidFill>
              <a:latin typeface="Bebas Neue" panose="020B0606020202050201" pitchFamily="34" charset="0"/>
              <a:ea typeface="Roboto Light" panose="02000000000000000000" pitchFamily="2" charset="0"/>
              <a:cs typeface="Lato Light" charset="0"/>
            </a:endParaRPr>
          </a:p>
        </p:txBody>
      </p:sp>
      <p:sp>
        <p:nvSpPr>
          <p:cNvPr id="19"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sz="2800" noProof="1">
                <a:solidFill>
                  <a:prstClr val="black">
                    <a:lumMod val="85000"/>
                    <a:lumOff val="15000"/>
                  </a:prstClr>
                </a:solidFill>
                <a:latin typeface="Bebas Neue" panose="020B0606020202050201" pitchFamily="34" charset="0"/>
                <a:ea typeface="宋体" panose="02010600030101010101" pitchFamily="2" charset="-122"/>
                <a:cs typeface="Lato Light" charset="0"/>
              </a:rPr>
              <a:t>部分页面图片</a:t>
            </a:r>
            <a:endParaRPr lang="zh-CN" sz="2800" noProof="1">
              <a:solidFill>
                <a:prstClr val="black">
                  <a:lumMod val="85000"/>
                  <a:lumOff val="15000"/>
                </a:prstClr>
              </a:solidFill>
              <a:latin typeface="Bebas Neue" panose="020B0606020202050201" pitchFamily="34" charset="0"/>
              <a:ea typeface="宋体" panose="02010600030101010101" pitchFamily="2" charset="-122"/>
              <a:cs typeface="Lato Light" charset="0"/>
            </a:endParaRPr>
          </a:p>
        </p:txBody>
      </p:sp>
      <p:sp>
        <p:nvSpPr>
          <p:cNvPr id="20"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21" name="矩形 20"/>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8" name="图片 27" descr="工程"/>
          <p:cNvPicPr>
            <a:picLocks noChangeAspect="1"/>
          </p:cNvPicPr>
          <p:nvPr/>
        </p:nvPicPr>
        <p:blipFill>
          <a:blip r:embed="rId1"/>
          <a:stretch>
            <a:fillRect/>
          </a:stretch>
        </p:blipFill>
        <p:spPr>
          <a:xfrm>
            <a:off x="1755775" y="799465"/>
            <a:ext cx="8679180" cy="6225540"/>
          </a:xfrm>
          <a:prstGeom prst="rect">
            <a:avLst/>
          </a:prstGeom>
        </p:spPr>
      </p:pic>
      <p:pic>
        <p:nvPicPr>
          <p:cNvPr id="29" name="图片 28" descr="海域"/>
          <p:cNvPicPr>
            <a:picLocks noChangeAspect="1"/>
          </p:cNvPicPr>
          <p:nvPr/>
        </p:nvPicPr>
        <p:blipFill>
          <a:blip r:embed="rId2"/>
          <a:stretch>
            <a:fillRect/>
          </a:stretch>
        </p:blipFill>
        <p:spPr>
          <a:xfrm>
            <a:off x="1915795" y="855345"/>
            <a:ext cx="8611870" cy="6169660"/>
          </a:xfrm>
          <a:prstGeom prst="rect">
            <a:avLst/>
          </a:prstGeom>
        </p:spPr>
      </p:pic>
      <p:pic>
        <p:nvPicPr>
          <p:cNvPr id="30" name="图片 29" descr="详情1"/>
          <p:cNvPicPr>
            <a:picLocks noChangeAspect="1"/>
          </p:cNvPicPr>
          <p:nvPr/>
        </p:nvPicPr>
        <p:blipFill>
          <a:blip r:embed="rId3"/>
          <a:stretch>
            <a:fillRect/>
          </a:stretch>
        </p:blipFill>
        <p:spPr>
          <a:xfrm>
            <a:off x="899795" y="772795"/>
            <a:ext cx="10058400" cy="627888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500" fill="hold"/>
                                        <p:tgtEl>
                                          <p:spTgt spid="30"/>
                                        </p:tgtEl>
                                        <p:attrNameLst>
                                          <p:attrName>ppt_x</p:attrName>
                                        </p:attrNameLst>
                                      </p:cBhvr>
                                      <p:tavLst>
                                        <p:tav tm="0">
                                          <p:val>
                                            <p:strVal val="#ppt_x"/>
                                          </p:val>
                                        </p:tav>
                                        <p:tav tm="100000">
                                          <p:val>
                                            <p:strVal val="#ppt_x"/>
                                          </p:val>
                                        </p:tav>
                                      </p:tavLst>
                                    </p:anim>
                                    <p:anim calcmode="lin" valueType="num">
                                      <p:cBhvr additive="base">
                                        <p:cTn id="12"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 name="Picture 3" descr="F:\Trabajos\Envato\Graphic River\Duckson\Elements\laptop.pn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3392687" y="1893875"/>
            <a:ext cx="5406625" cy="3023041"/>
          </a:xfrm>
          <a:prstGeom prst="rect">
            <a:avLst/>
          </a:prstGeom>
          <a:noFill/>
        </p:spPr>
      </p:pic>
      <p:pic>
        <p:nvPicPr>
          <p:cNvPr id="5" name="图片占位符 4"/>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5779" r="5779"/>
          <a:stretch>
            <a:fillRect/>
          </a:stretch>
        </p:blipFill>
        <p:spPr>
          <a:solidFill>
            <a:schemeClr val="bg1">
              <a:lumMod val="95000"/>
            </a:schemeClr>
          </a:solidFill>
        </p:spPr>
      </p:pic>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84" name="Oval 83"/>
          <p:cNvSpPr/>
          <p:nvPr/>
        </p:nvSpPr>
        <p:spPr>
          <a:xfrm>
            <a:off x="1642215" y="2158247"/>
            <a:ext cx="831273" cy="831273"/>
          </a:xfrm>
          <a:prstGeom prst="ellipse">
            <a:avLst/>
          </a:prstGeom>
          <a:solidFill>
            <a:schemeClr val="tx1">
              <a:lumMod val="85000"/>
              <a:lumOff val="1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p:cNvSpPr/>
          <p:nvPr/>
        </p:nvSpPr>
        <p:spPr>
          <a:xfrm flipH="1">
            <a:off x="9718512" y="2296316"/>
            <a:ext cx="831273" cy="831273"/>
          </a:xfrm>
          <a:prstGeom prst="ellipse">
            <a:avLst/>
          </a:prstGeom>
          <a:solidFill>
            <a:schemeClr val="tx1">
              <a:lumMod val="85000"/>
              <a:lumOff val="1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p:cNvSpPr/>
          <p:nvPr/>
        </p:nvSpPr>
        <p:spPr>
          <a:xfrm>
            <a:off x="1373696" y="3559769"/>
            <a:ext cx="1244673" cy="305262"/>
          </a:xfrm>
          <a:prstGeom prst="rect">
            <a:avLst/>
          </a:prstGeom>
        </p:spPr>
        <p:txBody>
          <a:bodyPr vert="horz" lIns="91440" tIns="45720" rIns="91440" bIns="45720" rtlCol="0" anchor="ctr">
            <a:noAutofit/>
          </a:bodyPr>
          <a:lstStyle/>
          <a:p>
            <a:pPr algn="ctr" defTabSz="913765">
              <a:spcBef>
                <a:spcPct val="0"/>
              </a:spcBef>
            </a:pPr>
            <a:r>
              <a:rPr lang="en-US" noProof="1">
                <a:solidFill>
                  <a:schemeClr val="tx1">
                    <a:lumMod val="85000"/>
                    <a:lumOff val="15000"/>
                  </a:schemeClr>
                </a:solidFill>
                <a:latin typeface="Bebas Neue" panose="020B0606020202050201" pitchFamily="34" charset="0"/>
                <a:ea typeface="Roboto Light" panose="02000000000000000000" pitchFamily="2" charset="0"/>
                <a:cs typeface="Lato Light" charset="0"/>
              </a:rPr>
              <a:t>Lorem ipsum</a:t>
            </a:r>
            <a:endParaRPr lang="en-US" noProof="1">
              <a:solidFill>
                <a:schemeClr val="tx1">
                  <a:lumMod val="85000"/>
                  <a:lumOff val="15000"/>
                </a:schemeClr>
              </a:solidFill>
              <a:latin typeface="Bebas Neue" panose="020B0606020202050201" pitchFamily="34" charset="0"/>
              <a:ea typeface="Roboto Light" panose="02000000000000000000" pitchFamily="2" charset="0"/>
              <a:cs typeface="Lato Light" charset="0"/>
            </a:endParaRPr>
          </a:p>
        </p:txBody>
      </p:sp>
      <p:sp>
        <p:nvSpPr>
          <p:cNvPr id="106" name="Rectangle 105"/>
          <p:cNvSpPr/>
          <p:nvPr/>
        </p:nvSpPr>
        <p:spPr>
          <a:xfrm>
            <a:off x="9623874" y="3559769"/>
            <a:ext cx="1244673" cy="305262"/>
          </a:xfrm>
          <a:prstGeom prst="rect">
            <a:avLst/>
          </a:prstGeom>
        </p:spPr>
        <p:txBody>
          <a:bodyPr vert="horz" lIns="91440" tIns="45720" rIns="91440" bIns="45720" rtlCol="0" anchor="ctr">
            <a:noAutofit/>
          </a:bodyPr>
          <a:lstStyle/>
          <a:p>
            <a:pPr algn="ctr" defTabSz="913765">
              <a:spcBef>
                <a:spcPct val="0"/>
              </a:spcBef>
            </a:pPr>
            <a:r>
              <a:rPr lang="en-US" noProof="1">
                <a:solidFill>
                  <a:schemeClr val="tx1">
                    <a:lumMod val="85000"/>
                    <a:lumOff val="15000"/>
                  </a:schemeClr>
                </a:solidFill>
                <a:latin typeface="Bebas Neue" panose="020B0606020202050201" pitchFamily="34" charset="0"/>
                <a:ea typeface="Roboto Light" panose="02000000000000000000" pitchFamily="2" charset="0"/>
                <a:cs typeface="Lato Light" charset="0"/>
              </a:rPr>
              <a:t>Lorem ipsum</a:t>
            </a:r>
            <a:endParaRPr lang="en-US" noProof="1">
              <a:solidFill>
                <a:schemeClr val="tx1">
                  <a:lumMod val="85000"/>
                  <a:lumOff val="15000"/>
                </a:schemeClr>
              </a:solidFill>
              <a:latin typeface="Bebas Neue" panose="020B0606020202050201" pitchFamily="34" charset="0"/>
              <a:ea typeface="Roboto Light" panose="02000000000000000000" pitchFamily="2" charset="0"/>
              <a:cs typeface="Lato Light" charset="0"/>
            </a:endParaRPr>
          </a:p>
        </p:txBody>
      </p:sp>
      <p:sp>
        <p:nvSpPr>
          <p:cNvPr id="110" name="Rectangle 109"/>
          <p:cNvSpPr/>
          <p:nvPr/>
        </p:nvSpPr>
        <p:spPr>
          <a:xfrm>
            <a:off x="3248028" y="5285469"/>
            <a:ext cx="5695944" cy="523220"/>
          </a:xfrm>
          <a:prstGeom prst="rect">
            <a:avLst/>
          </a:prstGeom>
        </p:spPr>
        <p:txBody>
          <a:bodyPr wrap="square" anchor="ctr">
            <a:spAutoFit/>
          </a:bodyPr>
          <a:lstStyle/>
          <a:p>
            <a:pPr algn="ctr">
              <a:spcBef>
                <a:spcPts val="600"/>
              </a:spcBef>
              <a:buClr>
                <a:srgbClr val="E24848"/>
              </a:buClr>
              <a:defRPr/>
            </a:pPr>
            <a:r>
              <a:rPr lang="en-US" sz="14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nc enim sem, commodo a rhoncus sit amet, elementum ut mi. </a:t>
            </a:r>
            <a:endParaRPr lang="en-US" sz="14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111" name="Rectangle 110"/>
          <p:cNvSpPr/>
          <p:nvPr/>
        </p:nvSpPr>
        <p:spPr>
          <a:xfrm>
            <a:off x="5198512" y="4993393"/>
            <a:ext cx="1822325" cy="305262"/>
          </a:xfrm>
          <a:prstGeom prst="rect">
            <a:avLst/>
          </a:prstGeom>
        </p:spPr>
        <p:txBody>
          <a:bodyPr vert="horz" lIns="91440" tIns="45720" rIns="91440" bIns="45720" rtlCol="0" anchor="ctr">
            <a:noAutofit/>
          </a:bodyPr>
          <a:lstStyle/>
          <a:p>
            <a:pPr algn="ctr" defTabSz="913765">
              <a:spcBef>
                <a:spcPct val="0"/>
              </a:spcBef>
            </a:pPr>
            <a:r>
              <a:rPr lang="en-US" sz="2400" noProof="1">
                <a:solidFill>
                  <a:schemeClr val="tx1">
                    <a:lumMod val="85000"/>
                    <a:lumOff val="15000"/>
                  </a:schemeClr>
                </a:solidFill>
                <a:latin typeface="Bebas Neue" panose="020B0606020202050201" pitchFamily="34" charset="0"/>
                <a:ea typeface="Roboto Light" panose="02000000000000000000" pitchFamily="2" charset="0"/>
                <a:cs typeface="Lato Light" charset="0"/>
              </a:rPr>
              <a:t>Lorem ipsum</a:t>
            </a:r>
            <a:endParaRPr lang="en-US" sz="2400" noProof="1">
              <a:solidFill>
                <a:schemeClr val="tx1">
                  <a:lumMod val="85000"/>
                  <a:lumOff val="15000"/>
                </a:schemeClr>
              </a:solidFill>
              <a:latin typeface="Bebas Neue" panose="020B0606020202050201" pitchFamily="34" charset="0"/>
              <a:ea typeface="Roboto Light" panose="02000000000000000000" pitchFamily="2" charset="0"/>
              <a:cs typeface="Lato Light" charset="0"/>
            </a:endParaRPr>
          </a:p>
        </p:txBody>
      </p:sp>
      <p:sp>
        <p:nvSpPr>
          <p:cNvPr id="18" name="Freeform 5"/>
          <p:cNvSpPr>
            <a:spLocks noEditPoints="1"/>
          </p:cNvSpPr>
          <p:nvPr/>
        </p:nvSpPr>
        <p:spPr bwMode="auto">
          <a:xfrm>
            <a:off x="9927205" y="2490495"/>
            <a:ext cx="442913" cy="442913"/>
          </a:xfrm>
          <a:custGeom>
            <a:avLst/>
            <a:gdLst>
              <a:gd name="T0" fmla="*/ 795 w 1116"/>
              <a:gd name="T1" fmla="*/ 774 h 1117"/>
              <a:gd name="T2" fmla="*/ 1039 w 1116"/>
              <a:gd name="T3" fmla="*/ 623 h 1117"/>
              <a:gd name="T4" fmla="*/ 970 w 1116"/>
              <a:gd name="T5" fmla="*/ 816 h 1117"/>
              <a:gd name="T6" fmla="*/ 291 w 1116"/>
              <a:gd name="T7" fmla="*/ 610 h 1117"/>
              <a:gd name="T8" fmla="*/ 309 w 1116"/>
              <a:gd name="T9" fmla="*/ 848 h 1117"/>
              <a:gd name="T10" fmla="*/ 146 w 1116"/>
              <a:gd name="T11" fmla="*/ 816 h 1117"/>
              <a:gd name="T12" fmla="*/ 77 w 1116"/>
              <a:gd name="T13" fmla="*/ 623 h 1117"/>
              <a:gd name="T14" fmla="*/ 277 w 1116"/>
              <a:gd name="T15" fmla="*/ 290 h 1117"/>
              <a:gd name="T16" fmla="*/ 293 w 1116"/>
              <a:gd name="T17" fmla="*/ 482 h 1117"/>
              <a:gd name="T18" fmla="*/ 94 w 1116"/>
              <a:gd name="T19" fmla="*/ 415 h 1117"/>
              <a:gd name="T20" fmla="*/ 182 w 1116"/>
              <a:gd name="T21" fmla="*/ 252 h 1117"/>
              <a:gd name="T22" fmla="*/ 710 w 1116"/>
              <a:gd name="T23" fmla="*/ 340 h 1117"/>
              <a:gd name="T24" fmla="*/ 790 w 1116"/>
              <a:gd name="T25" fmla="*/ 512 h 1117"/>
              <a:gd name="T26" fmla="*/ 618 w 1116"/>
              <a:gd name="T27" fmla="*/ 796 h 1117"/>
              <a:gd name="T28" fmla="*/ 769 w 1116"/>
              <a:gd name="T29" fmla="*/ 735 h 1117"/>
              <a:gd name="T30" fmla="*/ 861 w 1116"/>
              <a:gd name="T31" fmla="*/ 938 h 1117"/>
              <a:gd name="T32" fmla="*/ 734 w 1116"/>
              <a:gd name="T33" fmla="*/ 1011 h 1117"/>
              <a:gd name="T34" fmla="*/ 689 w 1116"/>
              <a:gd name="T35" fmla="*/ 980 h 1117"/>
              <a:gd name="T36" fmla="*/ 615 w 1116"/>
              <a:gd name="T37" fmla="*/ 832 h 1117"/>
              <a:gd name="T38" fmla="*/ 678 w 1116"/>
              <a:gd name="T39" fmla="*/ 933 h 1117"/>
              <a:gd name="T40" fmla="*/ 445 w 1116"/>
              <a:gd name="T41" fmla="*/ 1031 h 1117"/>
              <a:gd name="T42" fmla="*/ 308 w 1116"/>
              <a:gd name="T43" fmla="*/ 976 h 1117"/>
              <a:gd name="T44" fmla="*/ 358 w 1116"/>
              <a:gd name="T45" fmla="*/ 866 h 1117"/>
              <a:gd name="T46" fmla="*/ 540 w 1116"/>
              <a:gd name="T47" fmla="*/ 577 h 1117"/>
              <a:gd name="T48" fmla="*/ 376 w 1116"/>
              <a:gd name="T49" fmla="*/ 821 h 1117"/>
              <a:gd name="T50" fmla="*/ 540 w 1116"/>
              <a:gd name="T51" fmla="*/ 577 h 1117"/>
              <a:gd name="T52" fmla="*/ 540 w 1116"/>
              <a:gd name="T53" fmla="*/ 360 h 1117"/>
              <a:gd name="T54" fmla="*/ 356 w 1116"/>
              <a:gd name="T55" fmla="*/ 352 h 1117"/>
              <a:gd name="T56" fmla="*/ 249 w 1116"/>
              <a:gd name="T57" fmla="*/ 230 h 1117"/>
              <a:gd name="T58" fmla="*/ 322 w 1116"/>
              <a:gd name="T59" fmla="*/ 134 h 1117"/>
              <a:gd name="T60" fmla="*/ 478 w 1116"/>
              <a:gd name="T61" fmla="*/ 80 h 1117"/>
              <a:gd name="T62" fmla="*/ 540 w 1116"/>
              <a:gd name="T63" fmla="*/ 74 h 1117"/>
              <a:gd name="T64" fmla="*/ 377 w 1116"/>
              <a:gd name="T65" fmla="*/ 294 h 1117"/>
              <a:gd name="T66" fmla="*/ 539 w 1116"/>
              <a:gd name="T67" fmla="*/ 74 h 1117"/>
              <a:gd name="T68" fmla="*/ 744 w 1116"/>
              <a:gd name="T69" fmla="*/ 110 h 1117"/>
              <a:gd name="T70" fmla="*/ 883 w 1116"/>
              <a:gd name="T71" fmla="*/ 198 h 1117"/>
              <a:gd name="T72" fmla="*/ 773 w 1116"/>
              <a:gd name="T73" fmla="*/ 282 h 1117"/>
              <a:gd name="T74" fmla="*/ 578 w 1116"/>
              <a:gd name="T75" fmla="*/ 74 h 1117"/>
              <a:gd name="T76" fmla="*/ 720 w 1116"/>
              <a:gd name="T77" fmla="*/ 301 h 1117"/>
              <a:gd name="T78" fmla="*/ 577 w 1116"/>
              <a:gd name="T79" fmla="*/ 74 h 1117"/>
              <a:gd name="T80" fmla="*/ 422 w 1116"/>
              <a:gd name="T81" fmla="*/ 909 h 1117"/>
              <a:gd name="T82" fmla="*/ 521 w 1116"/>
              <a:gd name="T83" fmla="*/ 831 h 1117"/>
              <a:gd name="T84" fmla="*/ 816 w 1116"/>
              <a:gd name="T85" fmla="*/ 424 h 1117"/>
              <a:gd name="T86" fmla="*/ 873 w 1116"/>
              <a:gd name="T87" fmla="*/ 269 h 1117"/>
              <a:gd name="T88" fmla="*/ 990 w 1116"/>
              <a:gd name="T89" fmla="*/ 337 h 1117"/>
              <a:gd name="T90" fmla="*/ 1041 w 1116"/>
              <a:gd name="T91" fmla="*/ 519 h 1117"/>
              <a:gd name="T92" fmla="*/ 392 w 1116"/>
              <a:gd name="T93" fmla="*/ 26 h 1117"/>
              <a:gd name="T94" fmla="*/ 183 w 1116"/>
              <a:gd name="T95" fmla="*/ 146 h 1117"/>
              <a:gd name="T96" fmla="*/ 44 w 1116"/>
              <a:gd name="T97" fmla="*/ 342 h 1117"/>
              <a:gd name="T98" fmla="*/ 0 w 1116"/>
              <a:gd name="T99" fmla="*/ 588 h 1117"/>
              <a:gd name="T100" fmla="*/ 67 w 1116"/>
              <a:gd name="T101" fmla="*/ 824 h 1117"/>
              <a:gd name="T102" fmla="*/ 224 w 1116"/>
              <a:gd name="T103" fmla="*/ 1006 h 1117"/>
              <a:gd name="T104" fmla="*/ 445 w 1116"/>
              <a:gd name="T105" fmla="*/ 1105 h 1117"/>
              <a:gd name="T106" fmla="*/ 697 w 1116"/>
              <a:gd name="T107" fmla="*/ 1099 h 1117"/>
              <a:gd name="T108" fmla="*/ 913 w 1116"/>
              <a:gd name="T109" fmla="*/ 990 h 1117"/>
              <a:gd name="T110" fmla="*/ 1061 w 1116"/>
              <a:gd name="T111" fmla="*/ 801 h 1117"/>
              <a:gd name="T112" fmla="*/ 1116 w 1116"/>
              <a:gd name="T113" fmla="*/ 559 h 1117"/>
              <a:gd name="T114" fmla="*/ 1061 w 1116"/>
              <a:gd name="T115" fmla="*/ 317 h 1117"/>
              <a:gd name="T116" fmla="*/ 913 w 1116"/>
              <a:gd name="T117" fmla="*/ 128 h 1117"/>
              <a:gd name="T118" fmla="*/ 697 w 1116"/>
              <a:gd name="T119" fmla="*/ 19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6" h="1117">
                <a:moveTo>
                  <a:pt x="900" y="903"/>
                </a:moveTo>
                <a:lnTo>
                  <a:pt x="871" y="883"/>
                </a:lnTo>
                <a:lnTo>
                  <a:pt x="840" y="864"/>
                </a:lnTo>
                <a:lnTo>
                  <a:pt x="823" y="856"/>
                </a:lnTo>
                <a:lnTo>
                  <a:pt x="807" y="848"/>
                </a:lnTo>
                <a:lnTo>
                  <a:pt x="790" y="841"/>
                </a:lnTo>
                <a:lnTo>
                  <a:pt x="774" y="834"/>
                </a:lnTo>
                <a:lnTo>
                  <a:pt x="784" y="804"/>
                </a:lnTo>
                <a:lnTo>
                  <a:pt x="795" y="774"/>
                </a:lnTo>
                <a:lnTo>
                  <a:pt x="804" y="742"/>
                </a:lnTo>
                <a:lnTo>
                  <a:pt x="811" y="710"/>
                </a:lnTo>
                <a:lnTo>
                  <a:pt x="818" y="677"/>
                </a:lnTo>
                <a:lnTo>
                  <a:pt x="822" y="645"/>
                </a:lnTo>
                <a:lnTo>
                  <a:pt x="825" y="610"/>
                </a:lnTo>
                <a:lnTo>
                  <a:pt x="828" y="577"/>
                </a:lnTo>
                <a:lnTo>
                  <a:pt x="1043" y="577"/>
                </a:lnTo>
                <a:lnTo>
                  <a:pt x="1041" y="601"/>
                </a:lnTo>
                <a:lnTo>
                  <a:pt x="1039" y="623"/>
                </a:lnTo>
                <a:lnTo>
                  <a:pt x="1035" y="647"/>
                </a:lnTo>
                <a:lnTo>
                  <a:pt x="1031" y="670"/>
                </a:lnTo>
                <a:lnTo>
                  <a:pt x="1025" y="691"/>
                </a:lnTo>
                <a:lnTo>
                  <a:pt x="1018" y="714"/>
                </a:lnTo>
                <a:lnTo>
                  <a:pt x="1010" y="735"/>
                </a:lnTo>
                <a:lnTo>
                  <a:pt x="1002" y="756"/>
                </a:lnTo>
                <a:lnTo>
                  <a:pt x="992" y="777"/>
                </a:lnTo>
                <a:lnTo>
                  <a:pt x="981" y="796"/>
                </a:lnTo>
                <a:lnTo>
                  <a:pt x="970" y="816"/>
                </a:lnTo>
                <a:lnTo>
                  <a:pt x="957" y="834"/>
                </a:lnTo>
                <a:lnTo>
                  <a:pt x="944" y="852"/>
                </a:lnTo>
                <a:lnTo>
                  <a:pt x="930" y="870"/>
                </a:lnTo>
                <a:lnTo>
                  <a:pt x="916" y="887"/>
                </a:lnTo>
                <a:lnTo>
                  <a:pt x="900" y="903"/>
                </a:lnTo>
                <a:lnTo>
                  <a:pt x="900" y="903"/>
                </a:lnTo>
                <a:close/>
                <a:moveTo>
                  <a:pt x="73" y="577"/>
                </a:moveTo>
                <a:lnTo>
                  <a:pt x="289" y="577"/>
                </a:lnTo>
                <a:lnTo>
                  <a:pt x="291" y="610"/>
                </a:lnTo>
                <a:lnTo>
                  <a:pt x="294" y="645"/>
                </a:lnTo>
                <a:lnTo>
                  <a:pt x="298" y="677"/>
                </a:lnTo>
                <a:lnTo>
                  <a:pt x="305" y="710"/>
                </a:lnTo>
                <a:lnTo>
                  <a:pt x="312" y="742"/>
                </a:lnTo>
                <a:lnTo>
                  <a:pt x="321" y="774"/>
                </a:lnTo>
                <a:lnTo>
                  <a:pt x="331" y="804"/>
                </a:lnTo>
                <a:lnTo>
                  <a:pt x="343" y="834"/>
                </a:lnTo>
                <a:lnTo>
                  <a:pt x="325" y="841"/>
                </a:lnTo>
                <a:lnTo>
                  <a:pt x="309" y="848"/>
                </a:lnTo>
                <a:lnTo>
                  <a:pt x="293" y="856"/>
                </a:lnTo>
                <a:lnTo>
                  <a:pt x="277" y="864"/>
                </a:lnTo>
                <a:lnTo>
                  <a:pt x="245" y="883"/>
                </a:lnTo>
                <a:lnTo>
                  <a:pt x="215" y="903"/>
                </a:lnTo>
                <a:lnTo>
                  <a:pt x="200" y="887"/>
                </a:lnTo>
                <a:lnTo>
                  <a:pt x="185" y="870"/>
                </a:lnTo>
                <a:lnTo>
                  <a:pt x="171" y="852"/>
                </a:lnTo>
                <a:lnTo>
                  <a:pt x="158" y="834"/>
                </a:lnTo>
                <a:lnTo>
                  <a:pt x="146" y="816"/>
                </a:lnTo>
                <a:lnTo>
                  <a:pt x="134" y="796"/>
                </a:lnTo>
                <a:lnTo>
                  <a:pt x="123" y="777"/>
                </a:lnTo>
                <a:lnTo>
                  <a:pt x="114" y="756"/>
                </a:lnTo>
                <a:lnTo>
                  <a:pt x="105" y="735"/>
                </a:lnTo>
                <a:lnTo>
                  <a:pt x="98" y="714"/>
                </a:lnTo>
                <a:lnTo>
                  <a:pt x="91" y="691"/>
                </a:lnTo>
                <a:lnTo>
                  <a:pt x="86" y="670"/>
                </a:lnTo>
                <a:lnTo>
                  <a:pt x="80" y="647"/>
                </a:lnTo>
                <a:lnTo>
                  <a:pt x="77" y="623"/>
                </a:lnTo>
                <a:lnTo>
                  <a:pt x="75" y="601"/>
                </a:lnTo>
                <a:lnTo>
                  <a:pt x="73" y="577"/>
                </a:lnTo>
                <a:lnTo>
                  <a:pt x="73" y="577"/>
                </a:lnTo>
                <a:close/>
                <a:moveTo>
                  <a:pt x="196" y="236"/>
                </a:moveTo>
                <a:lnTo>
                  <a:pt x="211" y="248"/>
                </a:lnTo>
                <a:lnTo>
                  <a:pt x="227" y="258"/>
                </a:lnTo>
                <a:lnTo>
                  <a:pt x="243" y="269"/>
                </a:lnTo>
                <a:lnTo>
                  <a:pt x="260" y="280"/>
                </a:lnTo>
                <a:lnTo>
                  <a:pt x="277" y="290"/>
                </a:lnTo>
                <a:lnTo>
                  <a:pt x="294" y="298"/>
                </a:lnTo>
                <a:lnTo>
                  <a:pt x="312" y="307"/>
                </a:lnTo>
                <a:lnTo>
                  <a:pt x="330" y="315"/>
                </a:lnTo>
                <a:lnTo>
                  <a:pt x="321" y="342"/>
                </a:lnTo>
                <a:lnTo>
                  <a:pt x="314" y="369"/>
                </a:lnTo>
                <a:lnTo>
                  <a:pt x="306" y="396"/>
                </a:lnTo>
                <a:lnTo>
                  <a:pt x="301" y="424"/>
                </a:lnTo>
                <a:lnTo>
                  <a:pt x="296" y="453"/>
                </a:lnTo>
                <a:lnTo>
                  <a:pt x="293" y="482"/>
                </a:lnTo>
                <a:lnTo>
                  <a:pt x="290" y="511"/>
                </a:lnTo>
                <a:lnTo>
                  <a:pt x="289" y="540"/>
                </a:lnTo>
                <a:lnTo>
                  <a:pt x="73" y="540"/>
                </a:lnTo>
                <a:lnTo>
                  <a:pt x="74" y="519"/>
                </a:lnTo>
                <a:lnTo>
                  <a:pt x="76" y="497"/>
                </a:lnTo>
                <a:lnTo>
                  <a:pt x="79" y="477"/>
                </a:lnTo>
                <a:lnTo>
                  <a:pt x="83" y="455"/>
                </a:lnTo>
                <a:lnTo>
                  <a:pt x="89" y="434"/>
                </a:lnTo>
                <a:lnTo>
                  <a:pt x="94" y="415"/>
                </a:lnTo>
                <a:lnTo>
                  <a:pt x="101" y="394"/>
                </a:lnTo>
                <a:lnTo>
                  <a:pt x="108" y="375"/>
                </a:lnTo>
                <a:lnTo>
                  <a:pt x="117" y="356"/>
                </a:lnTo>
                <a:lnTo>
                  <a:pt x="126" y="337"/>
                </a:lnTo>
                <a:lnTo>
                  <a:pt x="135" y="319"/>
                </a:lnTo>
                <a:lnTo>
                  <a:pt x="146" y="302"/>
                </a:lnTo>
                <a:lnTo>
                  <a:pt x="158" y="284"/>
                </a:lnTo>
                <a:lnTo>
                  <a:pt x="170" y="268"/>
                </a:lnTo>
                <a:lnTo>
                  <a:pt x="182" y="252"/>
                </a:lnTo>
                <a:lnTo>
                  <a:pt x="196" y="236"/>
                </a:lnTo>
                <a:close/>
                <a:moveTo>
                  <a:pt x="576" y="540"/>
                </a:moveTo>
                <a:lnTo>
                  <a:pt x="576" y="360"/>
                </a:lnTo>
                <a:lnTo>
                  <a:pt x="599" y="359"/>
                </a:lnTo>
                <a:lnTo>
                  <a:pt x="621" y="357"/>
                </a:lnTo>
                <a:lnTo>
                  <a:pt x="644" y="353"/>
                </a:lnTo>
                <a:lnTo>
                  <a:pt x="667" y="350"/>
                </a:lnTo>
                <a:lnTo>
                  <a:pt x="688" y="346"/>
                </a:lnTo>
                <a:lnTo>
                  <a:pt x="710" y="340"/>
                </a:lnTo>
                <a:lnTo>
                  <a:pt x="732" y="334"/>
                </a:lnTo>
                <a:lnTo>
                  <a:pt x="752" y="328"/>
                </a:lnTo>
                <a:lnTo>
                  <a:pt x="761" y="352"/>
                </a:lnTo>
                <a:lnTo>
                  <a:pt x="768" y="378"/>
                </a:lnTo>
                <a:lnTo>
                  <a:pt x="775" y="404"/>
                </a:lnTo>
                <a:lnTo>
                  <a:pt x="780" y="430"/>
                </a:lnTo>
                <a:lnTo>
                  <a:pt x="784" y="457"/>
                </a:lnTo>
                <a:lnTo>
                  <a:pt x="788" y="485"/>
                </a:lnTo>
                <a:lnTo>
                  <a:pt x="790" y="512"/>
                </a:lnTo>
                <a:lnTo>
                  <a:pt x="791" y="540"/>
                </a:lnTo>
                <a:lnTo>
                  <a:pt x="576" y="540"/>
                </a:lnTo>
                <a:close/>
                <a:moveTo>
                  <a:pt x="739" y="821"/>
                </a:moveTo>
                <a:lnTo>
                  <a:pt x="720" y="816"/>
                </a:lnTo>
                <a:lnTo>
                  <a:pt x="700" y="810"/>
                </a:lnTo>
                <a:lnTo>
                  <a:pt x="680" y="806"/>
                </a:lnTo>
                <a:lnTo>
                  <a:pt x="659" y="802"/>
                </a:lnTo>
                <a:lnTo>
                  <a:pt x="639" y="798"/>
                </a:lnTo>
                <a:lnTo>
                  <a:pt x="618" y="796"/>
                </a:lnTo>
                <a:lnTo>
                  <a:pt x="598" y="794"/>
                </a:lnTo>
                <a:lnTo>
                  <a:pt x="576" y="794"/>
                </a:lnTo>
                <a:lnTo>
                  <a:pt x="576" y="577"/>
                </a:lnTo>
                <a:lnTo>
                  <a:pt x="791" y="577"/>
                </a:lnTo>
                <a:lnTo>
                  <a:pt x="790" y="609"/>
                </a:lnTo>
                <a:lnTo>
                  <a:pt x="787" y="642"/>
                </a:lnTo>
                <a:lnTo>
                  <a:pt x="782" y="673"/>
                </a:lnTo>
                <a:lnTo>
                  <a:pt x="776" y="704"/>
                </a:lnTo>
                <a:lnTo>
                  <a:pt x="769" y="735"/>
                </a:lnTo>
                <a:lnTo>
                  <a:pt x="761" y="764"/>
                </a:lnTo>
                <a:lnTo>
                  <a:pt x="751" y="793"/>
                </a:lnTo>
                <a:lnTo>
                  <a:pt x="739" y="821"/>
                </a:lnTo>
                <a:close/>
                <a:moveTo>
                  <a:pt x="759" y="866"/>
                </a:moveTo>
                <a:lnTo>
                  <a:pt x="789" y="879"/>
                </a:lnTo>
                <a:lnTo>
                  <a:pt x="818" y="893"/>
                </a:lnTo>
                <a:lnTo>
                  <a:pt x="846" y="910"/>
                </a:lnTo>
                <a:lnTo>
                  <a:pt x="873" y="928"/>
                </a:lnTo>
                <a:lnTo>
                  <a:pt x="861" y="938"/>
                </a:lnTo>
                <a:lnTo>
                  <a:pt x="848" y="947"/>
                </a:lnTo>
                <a:lnTo>
                  <a:pt x="835" y="957"/>
                </a:lnTo>
                <a:lnTo>
                  <a:pt x="821" y="967"/>
                </a:lnTo>
                <a:lnTo>
                  <a:pt x="807" y="976"/>
                </a:lnTo>
                <a:lnTo>
                  <a:pt x="793" y="983"/>
                </a:lnTo>
                <a:lnTo>
                  <a:pt x="779" y="991"/>
                </a:lnTo>
                <a:lnTo>
                  <a:pt x="764" y="998"/>
                </a:lnTo>
                <a:lnTo>
                  <a:pt x="750" y="1005"/>
                </a:lnTo>
                <a:lnTo>
                  <a:pt x="734" y="1011"/>
                </a:lnTo>
                <a:lnTo>
                  <a:pt x="719" y="1017"/>
                </a:lnTo>
                <a:lnTo>
                  <a:pt x="703" y="1022"/>
                </a:lnTo>
                <a:lnTo>
                  <a:pt x="687" y="1026"/>
                </a:lnTo>
                <a:lnTo>
                  <a:pt x="671" y="1031"/>
                </a:lnTo>
                <a:lnTo>
                  <a:pt x="655" y="1035"/>
                </a:lnTo>
                <a:lnTo>
                  <a:pt x="638" y="1037"/>
                </a:lnTo>
                <a:lnTo>
                  <a:pt x="656" y="1019"/>
                </a:lnTo>
                <a:lnTo>
                  <a:pt x="673" y="999"/>
                </a:lnTo>
                <a:lnTo>
                  <a:pt x="689" y="980"/>
                </a:lnTo>
                <a:lnTo>
                  <a:pt x="705" y="958"/>
                </a:lnTo>
                <a:lnTo>
                  <a:pt x="720" y="937"/>
                </a:lnTo>
                <a:lnTo>
                  <a:pt x="734" y="914"/>
                </a:lnTo>
                <a:lnTo>
                  <a:pt x="747" y="890"/>
                </a:lnTo>
                <a:lnTo>
                  <a:pt x="759" y="866"/>
                </a:lnTo>
                <a:close/>
                <a:moveTo>
                  <a:pt x="576" y="1044"/>
                </a:moveTo>
                <a:lnTo>
                  <a:pt x="576" y="830"/>
                </a:lnTo>
                <a:lnTo>
                  <a:pt x="595" y="831"/>
                </a:lnTo>
                <a:lnTo>
                  <a:pt x="615" y="832"/>
                </a:lnTo>
                <a:lnTo>
                  <a:pt x="633" y="834"/>
                </a:lnTo>
                <a:lnTo>
                  <a:pt x="652" y="837"/>
                </a:lnTo>
                <a:lnTo>
                  <a:pt x="671" y="841"/>
                </a:lnTo>
                <a:lnTo>
                  <a:pt x="688" y="844"/>
                </a:lnTo>
                <a:lnTo>
                  <a:pt x="707" y="849"/>
                </a:lnTo>
                <a:lnTo>
                  <a:pt x="725" y="855"/>
                </a:lnTo>
                <a:lnTo>
                  <a:pt x="710" y="882"/>
                </a:lnTo>
                <a:lnTo>
                  <a:pt x="695" y="909"/>
                </a:lnTo>
                <a:lnTo>
                  <a:pt x="678" y="933"/>
                </a:lnTo>
                <a:lnTo>
                  <a:pt x="660" y="958"/>
                </a:lnTo>
                <a:lnTo>
                  <a:pt x="641" y="982"/>
                </a:lnTo>
                <a:lnTo>
                  <a:pt x="621" y="1004"/>
                </a:lnTo>
                <a:lnTo>
                  <a:pt x="600" y="1024"/>
                </a:lnTo>
                <a:lnTo>
                  <a:pt x="578" y="1044"/>
                </a:lnTo>
                <a:lnTo>
                  <a:pt x="576" y="1044"/>
                </a:lnTo>
                <a:close/>
                <a:moveTo>
                  <a:pt x="478" y="1037"/>
                </a:moveTo>
                <a:lnTo>
                  <a:pt x="462" y="1035"/>
                </a:lnTo>
                <a:lnTo>
                  <a:pt x="445" y="1031"/>
                </a:lnTo>
                <a:lnTo>
                  <a:pt x="429" y="1026"/>
                </a:lnTo>
                <a:lnTo>
                  <a:pt x="413" y="1022"/>
                </a:lnTo>
                <a:lnTo>
                  <a:pt x="398" y="1017"/>
                </a:lnTo>
                <a:lnTo>
                  <a:pt x="382" y="1011"/>
                </a:lnTo>
                <a:lnTo>
                  <a:pt x="366" y="1005"/>
                </a:lnTo>
                <a:lnTo>
                  <a:pt x="351" y="998"/>
                </a:lnTo>
                <a:lnTo>
                  <a:pt x="337" y="991"/>
                </a:lnTo>
                <a:lnTo>
                  <a:pt x="322" y="983"/>
                </a:lnTo>
                <a:lnTo>
                  <a:pt x="308" y="976"/>
                </a:lnTo>
                <a:lnTo>
                  <a:pt x="294" y="967"/>
                </a:lnTo>
                <a:lnTo>
                  <a:pt x="281" y="957"/>
                </a:lnTo>
                <a:lnTo>
                  <a:pt x="268" y="947"/>
                </a:lnTo>
                <a:lnTo>
                  <a:pt x="255" y="938"/>
                </a:lnTo>
                <a:lnTo>
                  <a:pt x="242" y="928"/>
                </a:lnTo>
                <a:lnTo>
                  <a:pt x="269" y="910"/>
                </a:lnTo>
                <a:lnTo>
                  <a:pt x="298" y="893"/>
                </a:lnTo>
                <a:lnTo>
                  <a:pt x="328" y="879"/>
                </a:lnTo>
                <a:lnTo>
                  <a:pt x="358" y="866"/>
                </a:lnTo>
                <a:lnTo>
                  <a:pt x="370" y="890"/>
                </a:lnTo>
                <a:lnTo>
                  <a:pt x="383" y="914"/>
                </a:lnTo>
                <a:lnTo>
                  <a:pt x="397" y="937"/>
                </a:lnTo>
                <a:lnTo>
                  <a:pt x="412" y="958"/>
                </a:lnTo>
                <a:lnTo>
                  <a:pt x="427" y="980"/>
                </a:lnTo>
                <a:lnTo>
                  <a:pt x="443" y="999"/>
                </a:lnTo>
                <a:lnTo>
                  <a:pt x="460" y="1019"/>
                </a:lnTo>
                <a:lnTo>
                  <a:pt x="478" y="1037"/>
                </a:lnTo>
                <a:close/>
                <a:moveTo>
                  <a:pt x="540" y="577"/>
                </a:moveTo>
                <a:lnTo>
                  <a:pt x="540" y="794"/>
                </a:lnTo>
                <a:lnTo>
                  <a:pt x="519" y="794"/>
                </a:lnTo>
                <a:lnTo>
                  <a:pt x="498" y="796"/>
                </a:lnTo>
                <a:lnTo>
                  <a:pt x="477" y="798"/>
                </a:lnTo>
                <a:lnTo>
                  <a:pt x="456" y="802"/>
                </a:lnTo>
                <a:lnTo>
                  <a:pt x="436" y="806"/>
                </a:lnTo>
                <a:lnTo>
                  <a:pt x="416" y="810"/>
                </a:lnTo>
                <a:lnTo>
                  <a:pt x="396" y="816"/>
                </a:lnTo>
                <a:lnTo>
                  <a:pt x="376" y="821"/>
                </a:lnTo>
                <a:lnTo>
                  <a:pt x="365" y="793"/>
                </a:lnTo>
                <a:lnTo>
                  <a:pt x="356" y="764"/>
                </a:lnTo>
                <a:lnTo>
                  <a:pt x="347" y="735"/>
                </a:lnTo>
                <a:lnTo>
                  <a:pt x="339" y="704"/>
                </a:lnTo>
                <a:lnTo>
                  <a:pt x="334" y="673"/>
                </a:lnTo>
                <a:lnTo>
                  <a:pt x="330" y="642"/>
                </a:lnTo>
                <a:lnTo>
                  <a:pt x="326" y="609"/>
                </a:lnTo>
                <a:lnTo>
                  <a:pt x="324" y="577"/>
                </a:lnTo>
                <a:lnTo>
                  <a:pt x="540" y="577"/>
                </a:lnTo>
                <a:close/>
                <a:moveTo>
                  <a:pt x="364" y="328"/>
                </a:moveTo>
                <a:lnTo>
                  <a:pt x="385" y="334"/>
                </a:lnTo>
                <a:lnTo>
                  <a:pt x="406" y="340"/>
                </a:lnTo>
                <a:lnTo>
                  <a:pt x="428" y="346"/>
                </a:lnTo>
                <a:lnTo>
                  <a:pt x="450" y="350"/>
                </a:lnTo>
                <a:lnTo>
                  <a:pt x="472" y="353"/>
                </a:lnTo>
                <a:lnTo>
                  <a:pt x="494" y="357"/>
                </a:lnTo>
                <a:lnTo>
                  <a:pt x="517" y="359"/>
                </a:lnTo>
                <a:lnTo>
                  <a:pt x="540" y="360"/>
                </a:lnTo>
                <a:lnTo>
                  <a:pt x="540" y="540"/>
                </a:lnTo>
                <a:lnTo>
                  <a:pt x="324" y="540"/>
                </a:lnTo>
                <a:lnTo>
                  <a:pt x="326" y="512"/>
                </a:lnTo>
                <a:lnTo>
                  <a:pt x="329" y="485"/>
                </a:lnTo>
                <a:lnTo>
                  <a:pt x="332" y="457"/>
                </a:lnTo>
                <a:lnTo>
                  <a:pt x="336" y="430"/>
                </a:lnTo>
                <a:lnTo>
                  <a:pt x="342" y="404"/>
                </a:lnTo>
                <a:lnTo>
                  <a:pt x="348" y="378"/>
                </a:lnTo>
                <a:lnTo>
                  <a:pt x="356" y="352"/>
                </a:lnTo>
                <a:lnTo>
                  <a:pt x="364" y="328"/>
                </a:lnTo>
                <a:lnTo>
                  <a:pt x="364" y="328"/>
                </a:lnTo>
                <a:close/>
                <a:moveTo>
                  <a:pt x="344" y="282"/>
                </a:moveTo>
                <a:lnTo>
                  <a:pt x="328" y="275"/>
                </a:lnTo>
                <a:lnTo>
                  <a:pt x="311" y="267"/>
                </a:lnTo>
                <a:lnTo>
                  <a:pt x="295" y="258"/>
                </a:lnTo>
                <a:lnTo>
                  <a:pt x="279" y="250"/>
                </a:lnTo>
                <a:lnTo>
                  <a:pt x="264" y="240"/>
                </a:lnTo>
                <a:lnTo>
                  <a:pt x="249" y="230"/>
                </a:lnTo>
                <a:lnTo>
                  <a:pt x="235" y="221"/>
                </a:lnTo>
                <a:lnTo>
                  <a:pt x="221" y="210"/>
                </a:lnTo>
                <a:lnTo>
                  <a:pt x="234" y="198"/>
                </a:lnTo>
                <a:lnTo>
                  <a:pt x="248" y="186"/>
                </a:lnTo>
                <a:lnTo>
                  <a:pt x="262" y="174"/>
                </a:lnTo>
                <a:lnTo>
                  <a:pt x="276" y="163"/>
                </a:lnTo>
                <a:lnTo>
                  <a:pt x="291" y="154"/>
                </a:lnTo>
                <a:lnTo>
                  <a:pt x="306" y="144"/>
                </a:lnTo>
                <a:lnTo>
                  <a:pt x="322" y="134"/>
                </a:lnTo>
                <a:lnTo>
                  <a:pt x="338" y="126"/>
                </a:lnTo>
                <a:lnTo>
                  <a:pt x="355" y="118"/>
                </a:lnTo>
                <a:lnTo>
                  <a:pt x="371" y="110"/>
                </a:lnTo>
                <a:lnTo>
                  <a:pt x="388" y="104"/>
                </a:lnTo>
                <a:lnTo>
                  <a:pt x="405" y="97"/>
                </a:lnTo>
                <a:lnTo>
                  <a:pt x="424" y="92"/>
                </a:lnTo>
                <a:lnTo>
                  <a:pt x="441" y="88"/>
                </a:lnTo>
                <a:lnTo>
                  <a:pt x="459" y="83"/>
                </a:lnTo>
                <a:lnTo>
                  <a:pt x="478" y="80"/>
                </a:lnTo>
                <a:lnTo>
                  <a:pt x="458" y="102"/>
                </a:lnTo>
                <a:lnTo>
                  <a:pt x="438" y="124"/>
                </a:lnTo>
                <a:lnTo>
                  <a:pt x="419" y="148"/>
                </a:lnTo>
                <a:lnTo>
                  <a:pt x="402" y="173"/>
                </a:lnTo>
                <a:lnTo>
                  <a:pt x="386" y="199"/>
                </a:lnTo>
                <a:lnTo>
                  <a:pt x="371" y="225"/>
                </a:lnTo>
                <a:lnTo>
                  <a:pt x="357" y="253"/>
                </a:lnTo>
                <a:lnTo>
                  <a:pt x="344" y="282"/>
                </a:lnTo>
                <a:close/>
                <a:moveTo>
                  <a:pt x="540" y="74"/>
                </a:moveTo>
                <a:lnTo>
                  <a:pt x="540" y="324"/>
                </a:lnTo>
                <a:lnTo>
                  <a:pt x="519" y="323"/>
                </a:lnTo>
                <a:lnTo>
                  <a:pt x="498" y="321"/>
                </a:lnTo>
                <a:lnTo>
                  <a:pt x="477" y="318"/>
                </a:lnTo>
                <a:lnTo>
                  <a:pt x="456" y="315"/>
                </a:lnTo>
                <a:lnTo>
                  <a:pt x="437" y="311"/>
                </a:lnTo>
                <a:lnTo>
                  <a:pt x="416" y="306"/>
                </a:lnTo>
                <a:lnTo>
                  <a:pt x="397" y="301"/>
                </a:lnTo>
                <a:lnTo>
                  <a:pt x="377" y="294"/>
                </a:lnTo>
                <a:lnTo>
                  <a:pt x="392" y="262"/>
                </a:lnTo>
                <a:lnTo>
                  <a:pt x="409" y="230"/>
                </a:lnTo>
                <a:lnTo>
                  <a:pt x="427" y="200"/>
                </a:lnTo>
                <a:lnTo>
                  <a:pt x="446" y="172"/>
                </a:lnTo>
                <a:lnTo>
                  <a:pt x="467" y="145"/>
                </a:lnTo>
                <a:lnTo>
                  <a:pt x="490" y="119"/>
                </a:lnTo>
                <a:lnTo>
                  <a:pt x="513" y="95"/>
                </a:lnTo>
                <a:lnTo>
                  <a:pt x="538" y="74"/>
                </a:lnTo>
                <a:lnTo>
                  <a:pt x="539" y="74"/>
                </a:lnTo>
                <a:lnTo>
                  <a:pt x="540" y="74"/>
                </a:lnTo>
                <a:lnTo>
                  <a:pt x="540" y="74"/>
                </a:lnTo>
                <a:close/>
                <a:moveTo>
                  <a:pt x="638" y="80"/>
                </a:moveTo>
                <a:lnTo>
                  <a:pt x="656" y="83"/>
                </a:lnTo>
                <a:lnTo>
                  <a:pt x="674" y="88"/>
                </a:lnTo>
                <a:lnTo>
                  <a:pt x="693" y="92"/>
                </a:lnTo>
                <a:lnTo>
                  <a:pt x="710" y="97"/>
                </a:lnTo>
                <a:lnTo>
                  <a:pt x="727" y="104"/>
                </a:lnTo>
                <a:lnTo>
                  <a:pt x="744" y="110"/>
                </a:lnTo>
                <a:lnTo>
                  <a:pt x="762" y="118"/>
                </a:lnTo>
                <a:lnTo>
                  <a:pt x="778" y="126"/>
                </a:lnTo>
                <a:lnTo>
                  <a:pt x="794" y="134"/>
                </a:lnTo>
                <a:lnTo>
                  <a:pt x="809" y="144"/>
                </a:lnTo>
                <a:lnTo>
                  <a:pt x="825" y="154"/>
                </a:lnTo>
                <a:lnTo>
                  <a:pt x="841" y="163"/>
                </a:lnTo>
                <a:lnTo>
                  <a:pt x="855" y="174"/>
                </a:lnTo>
                <a:lnTo>
                  <a:pt x="869" y="186"/>
                </a:lnTo>
                <a:lnTo>
                  <a:pt x="883" y="198"/>
                </a:lnTo>
                <a:lnTo>
                  <a:pt x="896" y="210"/>
                </a:lnTo>
                <a:lnTo>
                  <a:pt x="882" y="221"/>
                </a:lnTo>
                <a:lnTo>
                  <a:pt x="867" y="230"/>
                </a:lnTo>
                <a:lnTo>
                  <a:pt x="851" y="240"/>
                </a:lnTo>
                <a:lnTo>
                  <a:pt x="836" y="250"/>
                </a:lnTo>
                <a:lnTo>
                  <a:pt x="821" y="258"/>
                </a:lnTo>
                <a:lnTo>
                  <a:pt x="805" y="267"/>
                </a:lnTo>
                <a:lnTo>
                  <a:pt x="789" y="275"/>
                </a:lnTo>
                <a:lnTo>
                  <a:pt x="773" y="282"/>
                </a:lnTo>
                <a:lnTo>
                  <a:pt x="760" y="253"/>
                </a:lnTo>
                <a:lnTo>
                  <a:pt x="746" y="225"/>
                </a:lnTo>
                <a:lnTo>
                  <a:pt x="730" y="199"/>
                </a:lnTo>
                <a:lnTo>
                  <a:pt x="714" y="173"/>
                </a:lnTo>
                <a:lnTo>
                  <a:pt x="696" y="148"/>
                </a:lnTo>
                <a:lnTo>
                  <a:pt x="678" y="124"/>
                </a:lnTo>
                <a:lnTo>
                  <a:pt x="658" y="102"/>
                </a:lnTo>
                <a:lnTo>
                  <a:pt x="638" y="80"/>
                </a:lnTo>
                <a:close/>
                <a:moveTo>
                  <a:pt x="578" y="74"/>
                </a:moveTo>
                <a:lnTo>
                  <a:pt x="603" y="95"/>
                </a:lnTo>
                <a:lnTo>
                  <a:pt x="627" y="119"/>
                </a:lnTo>
                <a:lnTo>
                  <a:pt x="648" y="145"/>
                </a:lnTo>
                <a:lnTo>
                  <a:pt x="670" y="172"/>
                </a:lnTo>
                <a:lnTo>
                  <a:pt x="689" y="200"/>
                </a:lnTo>
                <a:lnTo>
                  <a:pt x="708" y="230"/>
                </a:lnTo>
                <a:lnTo>
                  <a:pt x="724" y="262"/>
                </a:lnTo>
                <a:lnTo>
                  <a:pt x="739" y="294"/>
                </a:lnTo>
                <a:lnTo>
                  <a:pt x="720" y="301"/>
                </a:lnTo>
                <a:lnTo>
                  <a:pt x="699" y="306"/>
                </a:lnTo>
                <a:lnTo>
                  <a:pt x="680" y="311"/>
                </a:lnTo>
                <a:lnTo>
                  <a:pt x="659" y="315"/>
                </a:lnTo>
                <a:lnTo>
                  <a:pt x="639" y="318"/>
                </a:lnTo>
                <a:lnTo>
                  <a:pt x="618" y="321"/>
                </a:lnTo>
                <a:lnTo>
                  <a:pt x="598" y="323"/>
                </a:lnTo>
                <a:lnTo>
                  <a:pt x="576" y="324"/>
                </a:lnTo>
                <a:lnTo>
                  <a:pt x="576" y="74"/>
                </a:lnTo>
                <a:lnTo>
                  <a:pt x="577" y="74"/>
                </a:lnTo>
                <a:lnTo>
                  <a:pt x="578" y="74"/>
                </a:lnTo>
                <a:lnTo>
                  <a:pt x="578" y="74"/>
                </a:lnTo>
                <a:close/>
                <a:moveTo>
                  <a:pt x="538" y="1044"/>
                </a:moveTo>
                <a:lnTo>
                  <a:pt x="517" y="1024"/>
                </a:lnTo>
                <a:lnTo>
                  <a:pt x="495" y="1004"/>
                </a:lnTo>
                <a:lnTo>
                  <a:pt x="476" y="982"/>
                </a:lnTo>
                <a:lnTo>
                  <a:pt x="456" y="958"/>
                </a:lnTo>
                <a:lnTo>
                  <a:pt x="438" y="933"/>
                </a:lnTo>
                <a:lnTo>
                  <a:pt x="422" y="909"/>
                </a:lnTo>
                <a:lnTo>
                  <a:pt x="405" y="882"/>
                </a:lnTo>
                <a:lnTo>
                  <a:pt x="391" y="855"/>
                </a:lnTo>
                <a:lnTo>
                  <a:pt x="410" y="849"/>
                </a:lnTo>
                <a:lnTo>
                  <a:pt x="427" y="844"/>
                </a:lnTo>
                <a:lnTo>
                  <a:pt x="445" y="841"/>
                </a:lnTo>
                <a:lnTo>
                  <a:pt x="464" y="837"/>
                </a:lnTo>
                <a:lnTo>
                  <a:pt x="483" y="834"/>
                </a:lnTo>
                <a:lnTo>
                  <a:pt x="501" y="832"/>
                </a:lnTo>
                <a:lnTo>
                  <a:pt x="521" y="831"/>
                </a:lnTo>
                <a:lnTo>
                  <a:pt x="540" y="830"/>
                </a:lnTo>
                <a:lnTo>
                  <a:pt x="540" y="1044"/>
                </a:lnTo>
                <a:lnTo>
                  <a:pt x="538" y="1044"/>
                </a:lnTo>
                <a:close/>
                <a:moveTo>
                  <a:pt x="1043" y="540"/>
                </a:moveTo>
                <a:lnTo>
                  <a:pt x="828" y="540"/>
                </a:lnTo>
                <a:lnTo>
                  <a:pt x="825" y="511"/>
                </a:lnTo>
                <a:lnTo>
                  <a:pt x="823" y="482"/>
                </a:lnTo>
                <a:lnTo>
                  <a:pt x="820" y="453"/>
                </a:lnTo>
                <a:lnTo>
                  <a:pt x="816" y="424"/>
                </a:lnTo>
                <a:lnTo>
                  <a:pt x="809" y="396"/>
                </a:lnTo>
                <a:lnTo>
                  <a:pt x="803" y="369"/>
                </a:lnTo>
                <a:lnTo>
                  <a:pt x="795" y="342"/>
                </a:lnTo>
                <a:lnTo>
                  <a:pt x="786" y="315"/>
                </a:lnTo>
                <a:lnTo>
                  <a:pt x="804" y="307"/>
                </a:lnTo>
                <a:lnTo>
                  <a:pt x="821" y="298"/>
                </a:lnTo>
                <a:lnTo>
                  <a:pt x="840" y="290"/>
                </a:lnTo>
                <a:lnTo>
                  <a:pt x="856" y="280"/>
                </a:lnTo>
                <a:lnTo>
                  <a:pt x="873" y="269"/>
                </a:lnTo>
                <a:lnTo>
                  <a:pt x="889" y="258"/>
                </a:lnTo>
                <a:lnTo>
                  <a:pt x="904" y="248"/>
                </a:lnTo>
                <a:lnTo>
                  <a:pt x="921" y="236"/>
                </a:lnTo>
                <a:lnTo>
                  <a:pt x="933" y="252"/>
                </a:lnTo>
                <a:lnTo>
                  <a:pt x="946" y="268"/>
                </a:lnTo>
                <a:lnTo>
                  <a:pt x="958" y="284"/>
                </a:lnTo>
                <a:lnTo>
                  <a:pt x="970" y="302"/>
                </a:lnTo>
                <a:lnTo>
                  <a:pt x="980" y="319"/>
                </a:lnTo>
                <a:lnTo>
                  <a:pt x="990" y="337"/>
                </a:lnTo>
                <a:lnTo>
                  <a:pt x="999" y="356"/>
                </a:lnTo>
                <a:lnTo>
                  <a:pt x="1007" y="375"/>
                </a:lnTo>
                <a:lnTo>
                  <a:pt x="1014" y="394"/>
                </a:lnTo>
                <a:lnTo>
                  <a:pt x="1022" y="415"/>
                </a:lnTo>
                <a:lnTo>
                  <a:pt x="1027" y="434"/>
                </a:lnTo>
                <a:lnTo>
                  <a:pt x="1033" y="455"/>
                </a:lnTo>
                <a:lnTo>
                  <a:pt x="1036" y="477"/>
                </a:lnTo>
                <a:lnTo>
                  <a:pt x="1039" y="497"/>
                </a:lnTo>
                <a:lnTo>
                  <a:pt x="1041" y="519"/>
                </a:lnTo>
                <a:lnTo>
                  <a:pt x="1043" y="540"/>
                </a:lnTo>
                <a:lnTo>
                  <a:pt x="1043" y="540"/>
                </a:lnTo>
                <a:close/>
                <a:moveTo>
                  <a:pt x="558" y="0"/>
                </a:moveTo>
                <a:lnTo>
                  <a:pt x="530" y="1"/>
                </a:lnTo>
                <a:lnTo>
                  <a:pt x="501" y="4"/>
                </a:lnTo>
                <a:lnTo>
                  <a:pt x="473" y="7"/>
                </a:lnTo>
                <a:lnTo>
                  <a:pt x="445" y="12"/>
                </a:lnTo>
                <a:lnTo>
                  <a:pt x="418" y="19"/>
                </a:lnTo>
                <a:lnTo>
                  <a:pt x="392" y="26"/>
                </a:lnTo>
                <a:lnTo>
                  <a:pt x="366" y="35"/>
                </a:lnTo>
                <a:lnTo>
                  <a:pt x="341" y="45"/>
                </a:lnTo>
                <a:lnTo>
                  <a:pt x="316" y="55"/>
                </a:lnTo>
                <a:lnTo>
                  <a:pt x="292" y="68"/>
                </a:lnTo>
                <a:lnTo>
                  <a:pt x="268" y="81"/>
                </a:lnTo>
                <a:lnTo>
                  <a:pt x="245" y="96"/>
                </a:lnTo>
                <a:lnTo>
                  <a:pt x="224" y="112"/>
                </a:lnTo>
                <a:lnTo>
                  <a:pt x="203" y="128"/>
                </a:lnTo>
                <a:lnTo>
                  <a:pt x="183" y="146"/>
                </a:lnTo>
                <a:lnTo>
                  <a:pt x="163" y="164"/>
                </a:lnTo>
                <a:lnTo>
                  <a:pt x="145" y="184"/>
                </a:lnTo>
                <a:lnTo>
                  <a:pt x="128" y="203"/>
                </a:lnTo>
                <a:lnTo>
                  <a:pt x="110" y="225"/>
                </a:lnTo>
                <a:lnTo>
                  <a:pt x="95" y="247"/>
                </a:lnTo>
                <a:lnTo>
                  <a:pt x="80" y="269"/>
                </a:lnTo>
                <a:lnTo>
                  <a:pt x="67" y="293"/>
                </a:lnTo>
                <a:lnTo>
                  <a:pt x="55" y="317"/>
                </a:lnTo>
                <a:lnTo>
                  <a:pt x="44" y="342"/>
                </a:lnTo>
                <a:lnTo>
                  <a:pt x="34" y="366"/>
                </a:lnTo>
                <a:lnTo>
                  <a:pt x="25" y="392"/>
                </a:lnTo>
                <a:lnTo>
                  <a:pt x="18" y="419"/>
                </a:lnTo>
                <a:lnTo>
                  <a:pt x="11" y="446"/>
                </a:lnTo>
                <a:lnTo>
                  <a:pt x="7" y="473"/>
                </a:lnTo>
                <a:lnTo>
                  <a:pt x="2" y="501"/>
                </a:lnTo>
                <a:lnTo>
                  <a:pt x="0" y="529"/>
                </a:lnTo>
                <a:lnTo>
                  <a:pt x="0" y="559"/>
                </a:lnTo>
                <a:lnTo>
                  <a:pt x="0" y="588"/>
                </a:lnTo>
                <a:lnTo>
                  <a:pt x="2" y="616"/>
                </a:lnTo>
                <a:lnTo>
                  <a:pt x="7" y="644"/>
                </a:lnTo>
                <a:lnTo>
                  <a:pt x="11" y="671"/>
                </a:lnTo>
                <a:lnTo>
                  <a:pt x="18" y="698"/>
                </a:lnTo>
                <a:lnTo>
                  <a:pt x="25" y="725"/>
                </a:lnTo>
                <a:lnTo>
                  <a:pt x="34" y="751"/>
                </a:lnTo>
                <a:lnTo>
                  <a:pt x="44" y="776"/>
                </a:lnTo>
                <a:lnTo>
                  <a:pt x="55" y="801"/>
                </a:lnTo>
                <a:lnTo>
                  <a:pt x="67" y="824"/>
                </a:lnTo>
                <a:lnTo>
                  <a:pt x="80" y="848"/>
                </a:lnTo>
                <a:lnTo>
                  <a:pt x="95" y="871"/>
                </a:lnTo>
                <a:lnTo>
                  <a:pt x="110" y="892"/>
                </a:lnTo>
                <a:lnTo>
                  <a:pt x="128" y="914"/>
                </a:lnTo>
                <a:lnTo>
                  <a:pt x="145" y="933"/>
                </a:lnTo>
                <a:lnTo>
                  <a:pt x="163" y="953"/>
                </a:lnTo>
                <a:lnTo>
                  <a:pt x="183" y="972"/>
                </a:lnTo>
                <a:lnTo>
                  <a:pt x="203" y="990"/>
                </a:lnTo>
                <a:lnTo>
                  <a:pt x="224" y="1006"/>
                </a:lnTo>
                <a:lnTo>
                  <a:pt x="245" y="1021"/>
                </a:lnTo>
                <a:lnTo>
                  <a:pt x="268" y="1036"/>
                </a:lnTo>
                <a:lnTo>
                  <a:pt x="292" y="1049"/>
                </a:lnTo>
                <a:lnTo>
                  <a:pt x="316" y="1062"/>
                </a:lnTo>
                <a:lnTo>
                  <a:pt x="341" y="1073"/>
                </a:lnTo>
                <a:lnTo>
                  <a:pt x="366" y="1082"/>
                </a:lnTo>
                <a:lnTo>
                  <a:pt x="392" y="1091"/>
                </a:lnTo>
                <a:lnTo>
                  <a:pt x="418" y="1099"/>
                </a:lnTo>
                <a:lnTo>
                  <a:pt x="445" y="1105"/>
                </a:lnTo>
                <a:lnTo>
                  <a:pt x="473" y="1111"/>
                </a:lnTo>
                <a:lnTo>
                  <a:pt x="501" y="1114"/>
                </a:lnTo>
                <a:lnTo>
                  <a:pt x="530" y="1116"/>
                </a:lnTo>
                <a:lnTo>
                  <a:pt x="558" y="1117"/>
                </a:lnTo>
                <a:lnTo>
                  <a:pt x="587" y="1116"/>
                </a:lnTo>
                <a:lnTo>
                  <a:pt x="615" y="1114"/>
                </a:lnTo>
                <a:lnTo>
                  <a:pt x="643" y="1111"/>
                </a:lnTo>
                <a:lnTo>
                  <a:pt x="670" y="1105"/>
                </a:lnTo>
                <a:lnTo>
                  <a:pt x="697" y="1099"/>
                </a:lnTo>
                <a:lnTo>
                  <a:pt x="724" y="1091"/>
                </a:lnTo>
                <a:lnTo>
                  <a:pt x="750" y="1082"/>
                </a:lnTo>
                <a:lnTo>
                  <a:pt x="775" y="1073"/>
                </a:lnTo>
                <a:lnTo>
                  <a:pt x="800" y="1062"/>
                </a:lnTo>
                <a:lnTo>
                  <a:pt x="824" y="1049"/>
                </a:lnTo>
                <a:lnTo>
                  <a:pt x="847" y="1036"/>
                </a:lnTo>
                <a:lnTo>
                  <a:pt x="870" y="1021"/>
                </a:lnTo>
                <a:lnTo>
                  <a:pt x="891" y="1006"/>
                </a:lnTo>
                <a:lnTo>
                  <a:pt x="913" y="990"/>
                </a:lnTo>
                <a:lnTo>
                  <a:pt x="933" y="972"/>
                </a:lnTo>
                <a:lnTo>
                  <a:pt x="953" y="953"/>
                </a:lnTo>
                <a:lnTo>
                  <a:pt x="971" y="933"/>
                </a:lnTo>
                <a:lnTo>
                  <a:pt x="989" y="914"/>
                </a:lnTo>
                <a:lnTo>
                  <a:pt x="1005" y="892"/>
                </a:lnTo>
                <a:lnTo>
                  <a:pt x="1021" y="871"/>
                </a:lnTo>
                <a:lnTo>
                  <a:pt x="1035" y="848"/>
                </a:lnTo>
                <a:lnTo>
                  <a:pt x="1049" y="824"/>
                </a:lnTo>
                <a:lnTo>
                  <a:pt x="1061" y="801"/>
                </a:lnTo>
                <a:lnTo>
                  <a:pt x="1072" y="776"/>
                </a:lnTo>
                <a:lnTo>
                  <a:pt x="1083" y="751"/>
                </a:lnTo>
                <a:lnTo>
                  <a:pt x="1091" y="725"/>
                </a:lnTo>
                <a:lnTo>
                  <a:pt x="1099" y="698"/>
                </a:lnTo>
                <a:lnTo>
                  <a:pt x="1104" y="671"/>
                </a:lnTo>
                <a:lnTo>
                  <a:pt x="1110" y="644"/>
                </a:lnTo>
                <a:lnTo>
                  <a:pt x="1113" y="616"/>
                </a:lnTo>
                <a:lnTo>
                  <a:pt x="1115" y="588"/>
                </a:lnTo>
                <a:lnTo>
                  <a:pt x="1116" y="559"/>
                </a:lnTo>
                <a:lnTo>
                  <a:pt x="1115" y="529"/>
                </a:lnTo>
                <a:lnTo>
                  <a:pt x="1113" y="501"/>
                </a:lnTo>
                <a:lnTo>
                  <a:pt x="1110" y="473"/>
                </a:lnTo>
                <a:lnTo>
                  <a:pt x="1104" y="446"/>
                </a:lnTo>
                <a:lnTo>
                  <a:pt x="1099" y="419"/>
                </a:lnTo>
                <a:lnTo>
                  <a:pt x="1091" y="392"/>
                </a:lnTo>
                <a:lnTo>
                  <a:pt x="1083" y="366"/>
                </a:lnTo>
                <a:lnTo>
                  <a:pt x="1072" y="342"/>
                </a:lnTo>
                <a:lnTo>
                  <a:pt x="1061" y="317"/>
                </a:lnTo>
                <a:lnTo>
                  <a:pt x="1049" y="293"/>
                </a:lnTo>
                <a:lnTo>
                  <a:pt x="1035" y="269"/>
                </a:lnTo>
                <a:lnTo>
                  <a:pt x="1021" y="247"/>
                </a:lnTo>
                <a:lnTo>
                  <a:pt x="1005" y="225"/>
                </a:lnTo>
                <a:lnTo>
                  <a:pt x="989" y="203"/>
                </a:lnTo>
                <a:lnTo>
                  <a:pt x="971" y="184"/>
                </a:lnTo>
                <a:lnTo>
                  <a:pt x="953" y="164"/>
                </a:lnTo>
                <a:lnTo>
                  <a:pt x="933" y="146"/>
                </a:lnTo>
                <a:lnTo>
                  <a:pt x="913" y="128"/>
                </a:lnTo>
                <a:lnTo>
                  <a:pt x="891" y="112"/>
                </a:lnTo>
                <a:lnTo>
                  <a:pt x="870" y="96"/>
                </a:lnTo>
                <a:lnTo>
                  <a:pt x="847" y="81"/>
                </a:lnTo>
                <a:lnTo>
                  <a:pt x="824" y="68"/>
                </a:lnTo>
                <a:lnTo>
                  <a:pt x="800" y="55"/>
                </a:lnTo>
                <a:lnTo>
                  <a:pt x="775" y="45"/>
                </a:lnTo>
                <a:lnTo>
                  <a:pt x="750" y="35"/>
                </a:lnTo>
                <a:lnTo>
                  <a:pt x="724" y="26"/>
                </a:lnTo>
                <a:lnTo>
                  <a:pt x="697" y="19"/>
                </a:lnTo>
                <a:lnTo>
                  <a:pt x="670" y="12"/>
                </a:lnTo>
                <a:lnTo>
                  <a:pt x="643" y="7"/>
                </a:lnTo>
                <a:lnTo>
                  <a:pt x="615" y="4"/>
                </a:lnTo>
                <a:lnTo>
                  <a:pt x="587" y="1"/>
                </a:lnTo>
                <a:lnTo>
                  <a:pt x="558" y="0"/>
                </a:lnTo>
                <a:close/>
              </a:path>
            </a:pathLst>
          </a:custGeom>
          <a:solidFill>
            <a:schemeClr val="bg1"/>
          </a:solidFill>
          <a:ln>
            <a:noFill/>
          </a:ln>
        </p:spPr>
        <p:txBody>
          <a:bodyPr vert="horz" wrap="square" lIns="91440" tIns="45720" rIns="91440" bIns="45720" numCol="1" anchor="t" anchorCtr="0" compatLnSpc="1"/>
          <a:lstStyle/>
          <a:p>
            <a:endParaRPr lang="en-US"/>
          </a:p>
        </p:txBody>
      </p:sp>
      <p:sp>
        <p:nvSpPr>
          <p:cNvPr id="19" name="Freeform 60"/>
          <p:cNvSpPr>
            <a:spLocks noEditPoints="1"/>
          </p:cNvSpPr>
          <p:nvPr/>
        </p:nvSpPr>
        <p:spPr bwMode="auto">
          <a:xfrm>
            <a:off x="1806093" y="2367192"/>
            <a:ext cx="415636" cy="415636"/>
          </a:xfrm>
          <a:custGeom>
            <a:avLst/>
            <a:gdLst>
              <a:gd name="T0" fmla="*/ 600 w 1152"/>
              <a:gd name="T1" fmla="*/ 944 h 1153"/>
              <a:gd name="T2" fmla="*/ 578 w 1152"/>
              <a:gd name="T3" fmla="*/ 940 h 1153"/>
              <a:gd name="T4" fmla="*/ 908 w 1152"/>
              <a:gd name="T5" fmla="*/ 1066 h 1153"/>
              <a:gd name="T6" fmla="*/ 367 w 1152"/>
              <a:gd name="T7" fmla="*/ 868 h 1153"/>
              <a:gd name="T8" fmla="*/ 1049 w 1152"/>
              <a:gd name="T9" fmla="*/ 137 h 1153"/>
              <a:gd name="T10" fmla="*/ 367 w 1152"/>
              <a:gd name="T11" fmla="*/ 868 h 1153"/>
              <a:gd name="T12" fmla="*/ 947 w 1152"/>
              <a:gd name="T13" fmla="*/ 193 h 1153"/>
              <a:gd name="T14" fmla="*/ 336 w 1152"/>
              <a:gd name="T15" fmla="*/ 838 h 1153"/>
              <a:gd name="T16" fmla="*/ 113 w 1152"/>
              <a:gd name="T17" fmla="*/ 749 h 1153"/>
              <a:gd name="T18" fmla="*/ 1131 w 1152"/>
              <a:gd name="T19" fmla="*/ 4 h 1153"/>
              <a:gd name="T20" fmla="*/ 1121 w 1152"/>
              <a:gd name="T21" fmla="*/ 1 h 1153"/>
              <a:gd name="T22" fmla="*/ 1110 w 1152"/>
              <a:gd name="T23" fmla="*/ 1 h 1153"/>
              <a:gd name="T24" fmla="*/ 1101 w 1152"/>
              <a:gd name="T25" fmla="*/ 5 h 1153"/>
              <a:gd name="T26" fmla="*/ 16 w 1152"/>
              <a:gd name="T27" fmla="*/ 727 h 1153"/>
              <a:gd name="T28" fmla="*/ 9 w 1152"/>
              <a:gd name="T29" fmla="*/ 734 h 1153"/>
              <a:gd name="T30" fmla="*/ 3 w 1152"/>
              <a:gd name="T31" fmla="*/ 741 h 1153"/>
              <a:gd name="T32" fmla="*/ 0 w 1152"/>
              <a:gd name="T33" fmla="*/ 751 h 1153"/>
              <a:gd name="T34" fmla="*/ 0 w 1152"/>
              <a:gd name="T35" fmla="*/ 761 h 1153"/>
              <a:gd name="T36" fmla="*/ 2 w 1152"/>
              <a:gd name="T37" fmla="*/ 770 h 1153"/>
              <a:gd name="T38" fmla="*/ 8 w 1152"/>
              <a:gd name="T39" fmla="*/ 779 h 1153"/>
              <a:gd name="T40" fmla="*/ 14 w 1152"/>
              <a:gd name="T41" fmla="*/ 785 h 1153"/>
              <a:gd name="T42" fmla="*/ 23 w 1152"/>
              <a:gd name="T43" fmla="*/ 790 h 1153"/>
              <a:gd name="T44" fmla="*/ 436 w 1152"/>
              <a:gd name="T45" fmla="*/ 1134 h 1153"/>
              <a:gd name="T46" fmla="*/ 443 w 1152"/>
              <a:gd name="T47" fmla="*/ 1142 h 1153"/>
              <a:gd name="T48" fmla="*/ 449 w 1152"/>
              <a:gd name="T49" fmla="*/ 1148 h 1153"/>
              <a:gd name="T50" fmla="*/ 458 w 1152"/>
              <a:gd name="T51" fmla="*/ 1152 h 1153"/>
              <a:gd name="T52" fmla="*/ 468 w 1152"/>
              <a:gd name="T53" fmla="*/ 1153 h 1153"/>
              <a:gd name="T54" fmla="*/ 473 w 1152"/>
              <a:gd name="T55" fmla="*/ 1153 h 1153"/>
              <a:gd name="T56" fmla="*/ 482 w 1152"/>
              <a:gd name="T57" fmla="*/ 1150 h 1153"/>
              <a:gd name="T58" fmla="*/ 489 w 1152"/>
              <a:gd name="T59" fmla="*/ 1145 h 1153"/>
              <a:gd name="T60" fmla="*/ 496 w 1152"/>
              <a:gd name="T61" fmla="*/ 1139 h 1153"/>
              <a:gd name="T62" fmla="*/ 573 w 1152"/>
              <a:gd name="T63" fmla="*/ 1010 h 1153"/>
              <a:gd name="T64" fmla="*/ 929 w 1152"/>
              <a:gd name="T65" fmla="*/ 1153 h 1153"/>
              <a:gd name="T66" fmla="*/ 941 w 1152"/>
              <a:gd name="T67" fmla="*/ 1153 h 1153"/>
              <a:gd name="T68" fmla="*/ 949 w 1152"/>
              <a:gd name="T69" fmla="*/ 1150 h 1153"/>
              <a:gd name="T70" fmla="*/ 960 w 1152"/>
              <a:gd name="T71" fmla="*/ 1143 h 1153"/>
              <a:gd name="T72" fmla="*/ 969 w 1152"/>
              <a:gd name="T73" fmla="*/ 1130 h 1153"/>
              <a:gd name="T74" fmla="*/ 1151 w 1152"/>
              <a:gd name="T75" fmla="*/ 42 h 1153"/>
              <a:gd name="T76" fmla="*/ 1151 w 1152"/>
              <a:gd name="T77" fmla="*/ 33 h 1153"/>
              <a:gd name="T78" fmla="*/ 1149 w 1152"/>
              <a:gd name="T79" fmla="*/ 22 h 1153"/>
              <a:gd name="T80" fmla="*/ 1144 w 1152"/>
              <a:gd name="T81" fmla="*/ 13 h 1153"/>
              <a:gd name="T82" fmla="*/ 1135 w 1152"/>
              <a:gd name="T83" fmla="*/ 7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52" h="1153">
                <a:moveTo>
                  <a:pt x="908" y="1066"/>
                </a:moveTo>
                <a:lnTo>
                  <a:pt x="600" y="944"/>
                </a:lnTo>
                <a:lnTo>
                  <a:pt x="590" y="941"/>
                </a:lnTo>
                <a:lnTo>
                  <a:pt x="578" y="940"/>
                </a:lnTo>
                <a:lnTo>
                  <a:pt x="1051" y="205"/>
                </a:lnTo>
                <a:lnTo>
                  <a:pt x="908" y="1066"/>
                </a:lnTo>
                <a:close/>
                <a:moveTo>
                  <a:pt x="367" y="868"/>
                </a:moveTo>
                <a:lnTo>
                  <a:pt x="367" y="868"/>
                </a:lnTo>
                <a:lnTo>
                  <a:pt x="366" y="866"/>
                </a:lnTo>
                <a:lnTo>
                  <a:pt x="1049" y="137"/>
                </a:lnTo>
                <a:lnTo>
                  <a:pt x="468" y="1042"/>
                </a:lnTo>
                <a:lnTo>
                  <a:pt x="367" y="868"/>
                </a:lnTo>
                <a:close/>
                <a:moveTo>
                  <a:pt x="113" y="749"/>
                </a:moveTo>
                <a:lnTo>
                  <a:pt x="947" y="193"/>
                </a:lnTo>
                <a:lnTo>
                  <a:pt x="340" y="842"/>
                </a:lnTo>
                <a:lnTo>
                  <a:pt x="336" y="838"/>
                </a:lnTo>
                <a:lnTo>
                  <a:pt x="332" y="836"/>
                </a:lnTo>
                <a:lnTo>
                  <a:pt x="113" y="749"/>
                </a:lnTo>
                <a:close/>
                <a:moveTo>
                  <a:pt x="1135" y="7"/>
                </a:moveTo>
                <a:lnTo>
                  <a:pt x="1131" y="4"/>
                </a:lnTo>
                <a:lnTo>
                  <a:pt x="1126" y="2"/>
                </a:lnTo>
                <a:lnTo>
                  <a:pt x="1121" y="1"/>
                </a:lnTo>
                <a:lnTo>
                  <a:pt x="1116" y="0"/>
                </a:lnTo>
                <a:lnTo>
                  <a:pt x="1110" y="1"/>
                </a:lnTo>
                <a:lnTo>
                  <a:pt x="1106" y="2"/>
                </a:lnTo>
                <a:lnTo>
                  <a:pt x="1101" y="5"/>
                </a:lnTo>
                <a:lnTo>
                  <a:pt x="1096" y="7"/>
                </a:lnTo>
                <a:lnTo>
                  <a:pt x="16" y="727"/>
                </a:lnTo>
                <a:lnTo>
                  <a:pt x="12" y="730"/>
                </a:lnTo>
                <a:lnTo>
                  <a:pt x="9" y="734"/>
                </a:lnTo>
                <a:lnTo>
                  <a:pt x="5" y="737"/>
                </a:lnTo>
                <a:lnTo>
                  <a:pt x="3" y="741"/>
                </a:lnTo>
                <a:lnTo>
                  <a:pt x="2" y="745"/>
                </a:lnTo>
                <a:lnTo>
                  <a:pt x="0" y="751"/>
                </a:lnTo>
                <a:lnTo>
                  <a:pt x="0" y="755"/>
                </a:lnTo>
                <a:lnTo>
                  <a:pt x="0" y="761"/>
                </a:lnTo>
                <a:lnTo>
                  <a:pt x="1" y="765"/>
                </a:lnTo>
                <a:lnTo>
                  <a:pt x="2" y="770"/>
                </a:lnTo>
                <a:lnTo>
                  <a:pt x="4" y="775"/>
                </a:lnTo>
                <a:lnTo>
                  <a:pt x="8" y="779"/>
                </a:lnTo>
                <a:lnTo>
                  <a:pt x="11" y="782"/>
                </a:lnTo>
                <a:lnTo>
                  <a:pt x="14" y="785"/>
                </a:lnTo>
                <a:lnTo>
                  <a:pt x="18" y="788"/>
                </a:lnTo>
                <a:lnTo>
                  <a:pt x="23" y="790"/>
                </a:lnTo>
                <a:lnTo>
                  <a:pt x="305" y="903"/>
                </a:lnTo>
                <a:lnTo>
                  <a:pt x="436" y="1134"/>
                </a:lnTo>
                <a:lnTo>
                  <a:pt x="440" y="1139"/>
                </a:lnTo>
                <a:lnTo>
                  <a:pt x="443" y="1142"/>
                </a:lnTo>
                <a:lnTo>
                  <a:pt x="446" y="1145"/>
                </a:lnTo>
                <a:lnTo>
                  <a:pt x="449" y="1148"/>
                </a:lnTo>
                <a:lnTo>
                  <a:pt x="454" y="1149"/>
                </a:lnTo>
                <a:lnTo>
                  <a:pt x="458" y="1152"/>
                </a:lnTo>
                <a:lnTo>
                  <a:pt x="463" y="1153"/>
                </a:lnTo>
                <a:lnTo>
                  <a:pt x="468" y="1153"/>
                </a:lnTo>
                <a:lnTo>
                  <a:pt x="468" y="1153"/>
                </a:lnTo>
                <a:lnTo>
                  <a:pt x="473" y="1153"/>
                </a:lnTo>
                <a:lnTo>
                  <a:pt x="477" y="1152"/>
                </a:lnTo>
                <a:lnTo>
                  <a:pt x="482" y="1150"/>
                </a:lnTo>
                <a:lnTo>
                  <a:pt x="486" y="1148"/>
                </a:lnTo>
                <a:lnTo>
                  <a:pt x="489" y="1145"/>
                </a:lnTo>
                <a:lnTo>
                  <a:pt x="494" y="1143"/>
                </a:lnTo>
                <a:lnTo>
                  <a:pt x="496" y="1139"/>
                </a:lnTo>
                <a:lnTo>
                  <a:pt x="499" y="1135"/>
                </a:lnTo>
                <a:lnTo>
                  <a:pt x="573" y="1010"/>
                </a:lnTo>
                <a:lnTo>
                  <a:pt x="922" y="1150"/>
                </a:lnTo>
                <a:lnTo>
                  <a:pt x="929" y="1153"/>
                </a:lnTo>
                <a:lnTo>
                  <a:pt x="936" y="1153"/>
                </a:lnTo>
                <a:lnTo>
                  <a:pt x="941" y="1153"/>
                </a:lnTo>
                <a:lnTo>
                  <a:pt x="945" y="1152"/>
                </a:lnTo>
                <a:lnTo>
                  <a:pt x="949" y="1150"/>
                </a:lnTo>
                <a:lnTo>
                  <a:pt x="954" y="1148"/>
                </a:lnTo>
                <a:lnTo>
                  <a:pt x="960" y="1143"/>
                </a:lnTo>
                <a:lnTo>
                  <a:pt x="966" y="1138"/>
                </a:lnTo>
                <a:lnTo>
                  <a:pt x="969" y="1130"/>
                </a:lnTo>
                <a:lnTo>
                  <a:pt x="972" y="1122"/>
                </a:lnTo>
                <a:lnTo>
                  <a:pt x="1151" y="42"/>
                </a:lnTo>
                <a:lnTo>
                  <a:pt x="1152" y="37"/>
                </a:lnTo>
                <a:lnTo>
                  <a:pt x="1151" y="33"/>
                </a:lnTo>
                <a:lnTo>
                  <a:pt x="1150" y="27"/>
                </a:lnTo>
                <a:lnTo>
                  <a:pt x="1149" y="22"/>
                </a:lnTo>
                <a:lnTo>
                  <a:pt x="1147" y="18"/>
                </a:lnTo>
                <a:lnTo>
                  <a:pt x="1144" y="13"/>
                </a:lnTo>
                <a:lnTo>
                  <a:pt x="1139" y="10"/>
                </a:lnTo>
                <a:lnTo>
                  <a:pt x="1135" y="7"/>
                </a:lnTo>
                <a:close/>
              </a:path>
            </a:pathLst>
          </a:custGeom>
          <a:solidFill>
            <a:schemeClr val="bg1"/>
          </a:solidFill>
          <a:ln>
            <a:noFill/>
          </a:ln>
        </p:spPr>
        <p:txBody>
          <a:bodyPr vert="horz" wrap="square" lIns="91440" tIns="45720" rIns="91440" bIns="45720" numCol="1" anchor="t" anchorCtr="0" compatLnSpc="1"/>
          <a:lstStyle/>
          <a:p>
            <a:endParaRPr lang="en-US"/>
          </a:p>
        </p:txBody>
      </p:sp>
      <p:sp>
        <p:nvSpPr>
          <p:cNvPr id="20"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sz="2800" noProof="1">
                <a:solidFill>
                  <a:schemeClr val="bg1"/>
                </a:solidFill>
                <a:latin typeface="Bebas Neue" panose="020B0606020202050201" pitchFamily="34" charset="0"/>
                <a:ea typeface="宋体" panose="02010600030101010101" pitchFamily="2" charset="-122"/>
                <a:cs typeface="Lato Light" charset="0"/>
              </a:rPr>
              <a:t>项目演示</a:t>
            </a:r>
            <a:endParaRPr lang="zh-CN" sz="2800" noProof="1">
              <a:solidFill>
                <a:schemeClr val="bg1"/>
              </a:solidFill>
              <a:latin typeface="Bebas Neue" panose="020B0606020202050201" pitchFamily="34" charset="0"/>
              <a:ea typeface="宋体" panose="02010600030101010101" pitchFamily="2" charset="-122"/>
              <a:cs typeface="Lato Light" charset="0"/>
            </a:endParaRPr>
          </a:p>
        </p:txBody>
      </p:sp>
      <p:sp>
        <p:nvSpPr>
          <p:cNvPr id="21"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schemeClr val="bg1"/>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schemeClr val="bg1"/>
              </a:solidFill>
              <a:latin typeface="Calibri Light" panose="020F0302020204030204"/>
              <a:ea typeface="Roboto Light" panose="02000000000000000000" pitchFamily="2" charset="0"/>
              <a:cs typeface="Arial" panose="020B0604020202020204" pitchFamily="34" charset="0"/>
            </a:endParaRPr>
          </a:p>
        </p:txBody>
      </p:sp>
      <p:sp>
        <p:nvSpPr>
          <p:cNvPr id="23" name="矩形 22"/>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 name="图片 2" descr="首页"/>
          <p:cNvPicPr>
            <a:picLocks noChangeAspect="1"/>
          </p:cNvPicPr>
          <p:nvPr/>
        </p:nvPicPr>
        <p:blipFill>
          <a:blip r:embed="rId3"/>
          <a:stretch>
            <a:fillRect/>
          </a:stretch>
        </p:blipFill>
        <p:spPr>
          <a:xfrm>
            <a:off x="1503045" y="-299085"/>
            <a:ext cx="9213850" cy="745617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图片占位符 5"/>
          <p:cNvPicPr>
            <a:picLocks noGrp="1" noChangeAspect="1"/>
          </p:cNvPicPr>
          <p:nvPr>
            <p:ph type="pic" sz="quarter" idx="14"/>
          </p:nvPr>
        </p:nvPicPr>
        <p:blipFill>
          <a:blip r:embed="rId1">
            <a:extLst>
              <a:ext uri="{28A0092B-C50C-407E-A947-70E740481C1C}">
                <a14:useLocalDpi xmlns:a14="http://schemas.microsoft.com/office/drawing/2010/main" val="0"/>
              </a:ext>
            </a:extLst>
          </a:blip>
          <a:srcRect l="18887" r="18887"/>
          <a:stretch>
            <a:fillRect/>
          </a:stretch>
        </p:blipFill>
        <p:spPr/>
      </p:pic>
      <p:sp>
        <p:nvSpPr>
          <p:cNvPr id="5" name="Rectangle 4"/>
          <p:cNvSpPr/>
          <p:nvPr/>
        </p:nvSpPr>
        <p:spPr>
          <a:xfrm>
            <a:off x="1447800" y="1276278"/>
            <a:ext cx="3747372" cy="4293157"/>
          </a:xfrm>
          <a:prstGeom prst="rect">
            <a:avLst/>
          </a:prstGeom>
          <a:pattFill prst="ltUpDiag">
            <a:fgClr>
              <a:schemeClr val="tx1">
                <a:lumMod val="50000"/>
                <a:lumOff val="50000"/>
              </a:schemeClr>
            </a:fgClr>
            <a:bgClr>
              <a:schemeClr val="tx1">
                <a:lumMod val="75000"/>
                <a:lumOff val="25000"/>
              </a:schemeClr>
            </a:bgClr>
          </a:patt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16" name="Rectangle 15"/>
          <p:cNvSpPr/>
          <p:nvPr/>
        </p:nvSpPr>
        <p:spPr>
          <a:xfrm>
            <a:off x="1856911" y="3551538"/>
            <a:ext cx="3071023" cy="461665"/>
          </a:xfrm>
          <a:prstGeom prst="rect">
            <a:avLst/>
          </a:prstGeom>
        </p:spPr>
        <p:txBody>
          <a:bodyPr wrap="square">
            <a:spAutoFit/>
          </a:bodyPr>
          <a:lstStyle/>
          <a:p>
            <a:pPr algn="ctr">
              <a:buClr>
                <a:srgbClr val="E24848"/>
              </a:buClr>
              <a:defRPr/>
            </a:pPr>
            <a:r>
              <a:rPr lang="en-US" sz="1200" noProof="1">
                <a:solidFill>
                  <a:schemeClr val="bg1">
                    <a:lumMod val="8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bg1">
                  <a:lumMod val="85000"/>
                </a:schemeClr>
              </a:solidFill>
              <a:latin typeface="+mj-lt"/>
              <a:ea typeface="Roboto Light" panose="02000000000000000000" pitchFamily="2" charset="0"/>
              <a:cs typeface="Arial" panose="020B0604020202020204" pitchFamily="34" charset="0"/>
            </a:endParaRPr>
          </a:p>
        </p:txBody>
      </p:sp>
      <p:cxnSp>
        <p:nvCxnSpPr>
          <p:cNvPr id="9" name="Straight Connector 8"/>
          <p:cNvCxnSpPr/>
          <p:nvPr/>
        </p:nvCxnSpPr>
        <p:spPr>
          <a:xfrm>
            <a:off x="1739229" y="27686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739229" y="42164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028023" y="2895641"/>
            <a:ext cx="2801429" cy="830997"/>
          </a:xfrm>
          <a:prstGeom prst="rect">
            <a:avLst/>
          </a:prstGeom>
        </p:spPr>
        <p:txBody>
          <a:bodyPr vert="horz" lIns="91440" tIns="45720" rIns="91440" bIns="45720" rtlCol="0" anchor="ctr">
            <a:noAutofit/>
          </a:bodyPr>
          <a:lstStyle/>
          <a:p>
            <a:pPr algn="ctr" defTabSz="913765">
              <a:spcBef>
                <a:spcPct val="0"/>
              </a:spcBef>
            </a:pPr>
            <a:r>
              <a:rPr lang="zh-CN" altLang="en-US" sz="4800">
                <a:solidFill>
                  <a:schemeClr val="bg1">
                    <a:lumMod val="85000"/>
                  </a:schemeClr>
                </a:solidFill>
                <a:latin typeface="Bebas Neue" panose="020B0606020202050201" pitchFamily="34" charset="0"/>
                <a:ea typeface="Roboto Light" panose="02000000000000000000" pitchFamily="2" charset="0"/>
                <a:cs typeface="Lato Light" charset="0"/>
              </a:rPr>
              <a:t>项目总结</a:t>
            </a:r>
            <a:endParaRPr lang="zh-CN" altLang="en-US" sz="4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
        <p:nvSpPr>
          <p:cNvPr id="24" name="Rectangle 23"/>
          <p:cNvSpPr/>
          <p:nvPr/>
        </p:nvSpPr>
        <p:spPr>
          <a:xfrm>
            <a:off x="7442005" y="2875002"/>
            <a:ext cx="2928218" cy="1107996"/>
          </a:xfrm>
          <a:prstGeom prst="rect">
            <a:avLst/>
          </a:prstGeom>
        </p:spPr>
        <p:txBody>
          <a:bodyPr wrap="square">
            <a:spAutoFit/>
          </a:bodyPr>
          <a:lstStyle/>
          <a:p>
            <a:pPr>
              <a:buClr>
                <a:srgbClr val="E24848"/>
              </a:buClr>
              <a:defRPr/>
            </a:pPr>
            <a:r>
              <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rPr>
              <a:t>Nulla facilisi nam auctor metus vitae quam gravida, ac vehicula elit mollis. Nunc elementum fringilla nisl, a ornare arcu condimentum a. Nulla euismod congue arcu quis feugiat. Phasellus porttitor felis mauris, sed suscipit quam egestas nec. </a:t>
            </a:r>
            <a:endPar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endParaRPr>
          </a:p>
        </p:txBody>
      </p:sp>
      <p:sp>
        <p:nvSpPr>
          <p:cNvPr id="10" name="Rectangle 16"/>
          <p:cNvSpPr/>
          <p:nvPr/>
        </p:nvSpPr>
        <p:spPr>
          <a:xfrm>
            <a:off x="1939049" y="1757722"/>
            <a:ext cx="2801429" cy="830997"/>
          </a:xfrm>
          <a:prstGeom prst="rect">
            <a:avLst/>
          </a:prstGeom>
        </p:spPr>
        <p:txBody>
          <a:bodyPr vert="horz" lIns="91440" tIns="45720" rIns="91440" bIns="45720" rtlCol="0" anchor="ctr">
            <a:noAutofit/>
          </a:bodyPr>
          <a:lstStyle/>
          <a:p>
            <a:pPr algn="ctr" defTabSz="913765">
              <a:spcBef>
                <a:spcPct val="0"/>
              </a:spcBef>
            </a:pPr>
            <a:r>
              <a:rPr lang="en-US" altLang="zh-CN" sz="8800" dirty="0">
                <a:solidFill>
                  <a:schemeClr val="bg1">
                    <a:lumMod val="85000"/>
                  </a:schemeClr>
                </a:solidFill>
                <a:latin typeface="Bebas Neue" panose="020B0606020202050201" pitchFamily="34" charset="0"/>
                <a:ea typeface="Roboto Light" panose="02000000000000000000" pitchFamily="2" charset="0"/>
                <a:cs typeface="Lato Light" charset="0"/>
              </a:rPr>
              <a:t>04</a:t>
            </a:r>
            <a:endParaRPr lang="zh-CN" altLang="en-US" sz="8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nvGraphicFramePr>
        <p:xfrm>
          <a:off x="0" y="0"/>
          <a:ext cx="12192000" cy="6858000"/>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pic>
        <p:nvPicPr>
          <p:cNvPr id="8" name="图片 7"/>
          <p:cNvPicPr>
            <a:picLocks noChangeAspect="1"/>
          </p:cNvPicPr>
          <p:nvPr/>
        </p:nvPicPr>
        <p:blipFill rotWithShape="1">
          <a:blip r:embed="rId6">
            <a:extLst>
              <a:ext uri="{28A0092B-C50C-407E-A947-70E740481C1C}">
                <a14:useLocalDpi xmlns:a14="http://schemas.microsoft.com/office/drawing/2010/main" val="0"/>
              </a:ext>
            </a:extLst>
          </a:blip>
          <a:srcRect r="5607"/>
          <a:stretch>
            <a:fillRect/>
          </a:stretch>
        </p:blipFill>
        <p:spPr>
          <a:xfrm>
            <a:off x="1" y="0"/>
            <a:ext cx="12192000" cy="6858000"/>
          </a:xfrm>
          <a:prstGeom prst="rect">
            <a:avLst/>
          </a:prstGeom>
        </p:spPr>
      </p:pic>
      <p:sp>
        <p:nvSpPr>
          <p:cNvPr id="2" name="Rectangle 1"/>
          <p:cNvSpPr/>
          <p:nvPr/>
        </p:nvSpPr>
        <p:spPr>
          <a:xfrm>
            <a:off x="7042908" y="2106801"/>
            <a:ext cx="3531134" cy="35311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Isosceles Triangle 6"/>
          <p:cNvSpPr/>
          <p:nvPr/>
        </p:nvSpPr>
        <p:spPr>
          <a:xfrm>
            <a:off x="5830529" y="471948"/>
            <a:ext cx="6361471" cy="6386052"/>
          </a:xfrm>
          <a:prstGeom prst="triangle">
            <a:avLst>
              <a:gd name="adj" fmla="val 100000"/>
            </a:avLst>
          </a:prstGeom>
          <a:solidFill>
            <a:schemeClr val="tx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5" name="TextBox 30"/>
          <p:cNvSpPr txBox="1"/>
          <p:nvPr/>
        </p:nvSpPr>
        <p:spPr>
          <a:xfrm>
            <a:off x="7459384" y="2459939"/>
            <a:ext cx="2698175" cy="1692771"/>
          </a:xfrm>
          <a:prstGeom prst="rect">
            <a:avLst/>
          </a:prstGeom>
          <a:noFill/>
        </p:spPr>
        <p:txBody>
          <a:bodyPr wrap="none" rtlCol="0">
            <a:spAutoFit/>
          </a:bodyPr>
          <a:lstStyle/>
          <a:p>
            <a:pPr algn="ctr"/>
            <a:r>
              <a:rPr lang="zh-CN" altLang="en-US" sz="5200" spc="-300" dirty="0">
                <a:solidFill>
                  <a:schemeClr val="bg1"/>
                </a:solidFill>
                <a:latin typeface="微软雅黑" panose="020B0503020204020204" charset="-122"/>
                <a:ea typeface="微软雅黑" panose="020B0503020204020204" charset="-122"/>
              </a:rPr>
              <a:t>感谢观看</a:t>
            </a:r>
            <a:endParaRPr lang="en-US" altLang="zh-CN" sz="5200" spc="-300" dirty="0">
              <a:solidFill>
                <a:schemeClr val="bg1"/>
              </a:solidFill>
              <a:latin typeface="微软雅黑" panose="020B0503020204020204" charset="-122"/>
              <a:ea typeface="微软雅黑" panose="020B0503020204020204" charset="-122"/>
            </a:endParaRPr>
          </a:p>
          <a:p>
            <a:pPr algn="ctr"/>
            <a:r>
              <a:rPr lang="en-US" altLang="zh-CN" sz="5200" spc="-300" dirty="0">
                <a:solidFill>
                  <a:schemeClr val="bg1"/>
                </a:solidFill>
                <a:latin typeface="微软雅黑" panose="020B0503020204020204" charset="-122"/>
                <a:ea typeface="微软雅黑" panose="020B0503020204020204" charset="-122"/>
              </a:rPr>
              <a:t>THANKS</a:t>
            </a:r>
            <a:endParaRPr lang="zh-CN" altLang="en-US" sz="5200" spc="-300" dirty="0">
              <a:solidFill>
                <a:schemeClr val="bg1"/>
              </a:solidFill>
              <a:latin typeface="微软雅黑" panose="020B0503020204020204" charset="-122"/>
              <a:ea typeface="微软雅黑" panose="020B0503020204020204" charset="-122"/>
            </a:endParaRPr>
          </a:p>
        </p:txBody>
      </p:sp>
      <p:sp>
        <p:nvSpPr>
          <p:cNvPr id="16" name="Content Placeholder 2"/>
          <p:cNvSpPr txBox="1"/>
          <p:nvPr/>
        </p:nvSpPr>
        <p:spPr>
          <a:xfrm>
            <a:off x="6357705" y="5939805"/>
            <a:ext cx="5107913" cy="950496"/>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solidFill>
                  <a:schemeClr val="bg1"/>
                </a:solidFill>
                <a:latin typeface="微软雅黑" panose="020B0503020204020204" charset="-122"/>
                <a:ea typeface="微软雅黑" panose="020B0503020204020204" charset="-122"/>
                <a:cs typeface="+mn-ea"/>
                <a:sym typeface="微软雅黑" panose="020B0503020204020204" charset="-122"/>
              </a:rPr>
              <a:t>Lorem ipsum dolor sit amet, consectetur adipiscing elit. Curabitur elementum posuere pretium. Quisque nibh dolor, dignissim ac </a:t>
            </a:r>
            <a:r>
              <a:rPr lang="en-US" dirty="0" err="1">
                <a:solidFill>
                  <a:schemeClr val="bg1"/>
                </a:solidFill>
                <a:latin typeface="微软雅黑" panose="020B0503020204020204" charset="-122"/>
                <a:ea typeface="微软雅黑" panose="020B0503020204020204" charset="-122"/>
                <a:cs typeface="+mn-ea"/>
                <a:sym typeface="微软雅黑" panose="020B0503020204020204" charset="-122"/>
              </a:rPr>
              <a:t>dignissim</a:t>
            </a:r>
            <a:r>
              <a:rPr lang="en-US" dirty="0">
                <a:solidFill>
                  <a:schemeClr val="bg1"/>
                </a:solidFill>
                <a:latin typeface="微软雅黑" panose="020B0503020204020204" charset="-122"/>
                <a:ea typeface="微软雅黑" panose="020B0503020204020204" charset="-122"/>
                <a:cs typeface="+mn-ea"/>
                <a:sym typeface="微软雅黑" panose="020B0503020204020204" charset="-122"/>
              </a:rPr>
              <a:t> </a:t>
            </a:r>
            <a:r>
              <a:rPr lang="en-US" dirty="0" err="1">
                <a:solidFill>
                  <a:schemeClr val="bg1"/>
                </a:solidFill>
                <a:latin typeface="微软雅黑" panose="020B0503020204020204" charset="-122"/>
                <a:ea typeface="微软雅黑" panose="020B0503020204020204" charset="-122"/>
                <a:cs typeface="+mn-ea"/>
                <a:sym typeface="微软雅黑" panose="020B0503020204020204" charset="-122"/>
              </a:rPr>
              <a:t>ut</a:t>
            </a:r>
            <a:r>
              <a:rPr lang="en-US" altLang="zh-CN" dirty="0" err="1">
                <a:solidFill>
                  <a:schemeClr val="bg1"/>
                </a:solidFill>
                <a:latin typeface="微软雅黑" panose="020B0503020204020204" charset="-122"/>
                <a:ea typeface="微软雅黑" panose="020B0503020204020204" charset="-122"/>
                <a:cs typeface="+mn-ea"/>
                <a:sym typeface="微软雅黑" panose="020B0503020204020204" charset="-122"/>
              </a:rPr>
              <a:t>.</a:t>
            </a:r>
            <a:r>
              <a:rPr lang="en-US" altLang="zh-CN" dirty="0">
                <a:solidFill>
                  <a:schemeClr val="bg1"/>
                </a:solidFill>
                <a:latin typeface="微软雅黑" panose="020B0503020204020204" charset="-122"/>
                <a:ea typeface="微软雅黑" panose="020B0503020204020204" charset="-122"/>
                <a:cs typeface="+mn-ea"/>
                <a:sym typeface="微软雅黑" panose="020B0503020204020204" charset="-122"/>
              </a:rPr>
              <a:t> </a:t>
            </a:r>
            <a:endParaRPr lang="en-US" altLang="zh-CN" dirty="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11" name="文本框 10"/>
          <p:cNvSpPr txBox="1"/>
          <p:nvPr/>
        </p:nvSpPr>
        <p:spPr>
          <a:xfrm>
            <a:off x="7893685" y="4380865"/>
            <a:ext cx="2098675" cy="368300"/>
          </a:xfrm>
          <a:prstGeom prst="rect">
            <a:avLst/>
          </a:prstGeom>
          <a:noFill/>
          <a:ln>
            <a:solidFill>
              <a:schemeClr val="bg1"/>
            </a:solidFill>
          </a:ln>
        </p:spPr>
        <p:txBody>
          <a:bodyPr wrap="square" rtlCol="0">
            <a:spAutoFit/>
          </a:bodyPr>
          <a:lstStyle/>
          <a:p>
            <a:pPr algn="ctr"/>
            <a:r>
              <a:rPr lang="zh-CN" dirty="0">
                <a:solidFill>
                  <a:schemeClr val="bg1"/>
                </a:solidFill>
                <a:latin typeface="微软雅黑" panose="020B0503020204020204" charset="-122"/>
                <a:ea typeface="微软雅黑" panose="020B0503020204020204" charset="-122"/>
                <a:sym typeface="+mn-ea"/>
              </a:rPr>
              <a:t>组名</a:t>
            </a:r>
            <a:r>
              <a:rPr lang="en-US" altLang="zh-CN" dirty="0">
                <a:solidFill>
                  <a:schemeClr val="bg1"/>
                </a:solidFill>
                <a:latin typeface="微软雅黑" panose="020B0503020204020204" charset="-122"/>
                <a:ea typeface="微软雅黑" panose="020B0503020204020204" charset="-122"/>
                <a:sym typeface="+mn-ea"/>
              </a:rPr>
              <a:t>:</a:t>
            </a:r>
            <a:r>
              <a:rPr lang="zh-CN" altLang="en-US" dirty="0">
                <a:solidFill>
                  <a:schemeClr val="bg1"/>
                </a:solidFill>
                <a:latin typeface="微软雅黑" panose="020B0503020204020204" charset="-122"/>
                <a:ea typeface="微软雅黑" panose="020B0503020204020204" charset="-122"/>
                <a:sym typeface="+mn-ea"/>
              </a:rPr>
              <a:t>虫二工作室</a:t>
            </a:r>
            <a:endParaRPr lang="zh-CN" altLang="en-US" dirty="0">
              <a:solidFill>
                <a:schemeClr val="bg1"/>
              </a:solidFill>
              <a:latin typeface="微软雅黑" panose="020B0503020204020204" charset="-122"/>
              <a:ea typeface="微软雅黑" panose="020B0503020204020204" charset="-122"/>
            </a:endParaRPr>
          </a:p>
        </p:txBody>
      </p:sp>
      <p:sp>
        <p:nvSpPr>
          <p:cNvPr id="12" name="文本框 11"/>
          <p:cNvSpPr txBox="1"/>
          <p:nvPr/>
        </p:nvSpPr>
        <p:spPr>
          <a:xfrm>
            <a:off x="7374919" y="4977318"/>
            <a:ext cx="2867104" cy="368300"/>
          </a:xfrm>
          <a:prstGeom prst="rect">
            <a:avLst/>
          </a:prstGeom>
          <a:noFill/>
          <a:ln>
            <a:solidFill>
              <a:schemeClr val="bg1"/>
            </a:solidFill>
          </a:ln>
        </p:spPr>
        <p:txBody>
          <a:bodyPr wrap="square" rtlCol="0">
            <a:spAutoFit/>
          </a:bodyPr>
          <a:lstStyle/>
          <a:p>
            <a:pPr algn="ctr"/>
            <a:r>
              <a:rPr lang="zh-CN" dirty="0">
                <a:solidFill>
                  <a:schemeClr val="bg1"/>
                </a:solidFill>
                <a:latin typeface="微软雅黑" panose="020B0503020204020204" charset="-122"/>
                <a:ea typeface="微软雅黑" panose="020B0503020204020204" charset="-122"/>
                <a:sym typeface="+mn-ea"/>
              </a:rPr>
              <a:t>项目名</a:t>
            </a:r>
            <a:r>
              <a:rPr lang="en-US" altLang="zh-CN" dirty="0">
                <a:solidFill>
                  <a:schemeClr val="bg1"/>
                </a:solidFill>
                <a:latin typeface="微软雅黑" panose="020B0503020204020204" charset="-122"/>
                <a:ea typeface="微软雅黑" panose="020B0503020204020204" charset="-122"/>
                <a:sym typeface="+mn-ea"/>
              </a:rPr>
              <a:t>:</a:t>
            </a:r>
            <a:r>
              <a:rPr lang="zh-CN" altLang="en-US" dirty="0">
                <a:solidFill>
                  <a:schemeClr val="bg1"/>
                </a:solidFill>
                <a:latin typeface="微软雅黑" panose="020B0503020204020204" charset="-122"/>
                <a:ea typeface="微软雅黑" panose="020B0503020204020204" charset="-122"/>
                <a:sym typeface="+mn-ea"/>
              </a:rPr>
              <a:t>虫二旅游网</a:t>
            </a:r>
            <a:endParaRPr lang="zh-CN" altLang="en-US" dirty="0">
              <a:solidFill>
                <a:schemeClr val="bg1"/>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9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ppt_x"/>
                                          </p:val>
                                        </p:tav>
                                        <p:tav tm="100000">
                                          <p:val>
                                            <p:strVal val="#ppt_x"/>
                                          </p:val>
                                        </p:tav>
                                      </p:tavLst>
                                    </p:anim>
                                    <p:anim calcmode="lin" valueType="num">
                                      <p:cBhvr additive="base">
                                        <p:cTn id="8" dur="75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9" decel="100000" fill="hold" grpId="0" nodeType="withEffect">
                                  <p:stCondLst>
                                    <p:cond delay="230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750" fill="hold"/>
                                        <p:tgtEl>
                                          <p:spTgt spid="7"/>
                                        </p:tgtEl>
                                        <p:attrNameLst>
                                          <p:attrName>ppt_x</p:attrName>
                                        </p:attrNameLst>
                                      </p:cBhvr>
                                      <p:tavLst>
                                        <p:tav tm="0">
                                          <p:val>
                                            <p:strVal val="0-#ppt_w/2"/>
                                          </p:val>
                                        </p:tav>
                                        <p:tav tm="100000">
                                          <p:val>
                                            <p:strVal val="#ppt_x"/>
                                          </p:val>
                                        </p:tav>
                                      </p:tavLst>
                                    </p:anim>
                                    <p:anim calcmode="lin" valueType="num">
                                      <p:cBhvr additive="base">
                                        <p:cTn id="12" dur="750" fill="hold"/>
                                        <p:tgtEl>
                                          <p:spTgt spid="7"/>
                                        </p:tgtEl>
                                        <p:attrNameLst>
                                          <p:attrName>ppt_y</p:attrName>
                                        </p:attrNameLst>
                                      </p:cBhvr>
                                      <p:tavLst>
                                        <p:tav tm="0">
                                          <p:val>
                                            <p:strVal val="0-#ppt_h/2"/>
                                          </p:val>
                                        </p:tav>
                                        <p:tav tm="100000">
                                          <p:val>
                                            <p:strVal val="#ppt_y"/>
                                          </p:val>
                                        </p:tav>
                                      </p:tavLst>
                                    </p:anim>
                                  </p:childTnLst>
                                </p:cTn>
                              </p:par>
                            </p:childTnLst>
                          </p:cTn>
                        </p:par>
                        <p:par>
                          <p:cTn id="13" fill="hold">
                            <p:stCondLst>
                              <p:cond delay="1900"/>
                            </p:stCondLst>
                            <p:childTnLst>
                              <p:par>
                                <p:cTn id="14" presetID="2" presetClass="entr" presetSubtype="4" decel="100000" fill="hold" grpId="0" nodeType="afterEffect">
                                  <p:stCondLst>
                                    <p:cond delay="0"/>
                                  </p:stCondLst>
                                  <p:childTnLst>
                                    <p:set>
                                      <p:cBhvr>
                                        <p:cTn id="15" dur="1" fill="hold">
                                          <p:stCondLst>
                                            <p:cond delay="0"/>
                                          </p:stCondLst>
                                        </p:cTn>
                                        <p:tgtEl>
                                          <p:spTgt spid="15"/>
                                        </p:tgtEl>
                                        <p:attrNameLst>
                                          <p:attrName>style.visibility</p:attrName>
                                        </p:attrNameLst>
                                      </p:cBhvr>
                                      <p:to>
                                        <p:strVal val="visible"/>
                                      </p:to>
                                    </p:set>
                                    <p:anim calcmode="lin" valueType="num">
                                      <p:cBhvr additive="base">
                                        <p:cTn id="16" dur="750" fill="hold"/>
                                        <p:tgtEl>
                                          <p:spTgt spid="15"/>
                                        </p:tgtEl>
                                        <p:attrNameLst>
                                          <p:attrName>ppt_x</p:attrName>
                                        </p:attrNameLst>
                                      </p:cBhvr>
                                      <p:tavLst>
                                        <p:tav tm="0">
                                          <p:val>
                                            <p:strVal val="#ppt_x"/>
                                          </p:val>
                                        </p:tav>
                                        <p:tav tm="100000">
                                          <p:val>
                                            <p:strVal val="#ppt_x"/>
                                          </p:val>
                                        </p:tav>
                                      </p:tavLst>
                                    </p:anim>
                                    <p:anim calcmode="lin" valueType="num">
                                      <p:cBhvr additive="base">
                                        <p:cTn id="17" dur="750" fill="hold"/>
                                        <p:tgtEl>
                                          <p:spTgt spid="15"/>
                                        </p:tgtEl>
                                        <p:attrNameLst>
                                          <p:attrName>ppt_y</p:attrName>
                                        </p:attrNameLst>
                                      </p:cBhvr>
                                      <p:tavLst>
                                        <p:tav tm="0">
                                          <p:val>
                                            <p:strVal val="1+#ppt_h/2"/>
                                          </p:val>
                                        </p:tav>
                                        <p:tav tm="100000">
                                          <p:val>
                                            <p:strVal val="#ppt_y"/>
                                          </p:val>
                                        </p:tav>
                                      </p:tavLst>
                                    </p:anim>
                                  </p:childTnLst>
                                </p:cTn>
                              </p:par>
                            </p:childTnLst>
                          </p:cTn>
                        </p:par>
                        <p:par>
                          <p:cTn id="18" fill="hold">
                            <p:stCondLst>
                              <p:cond delay="2900"/>
                            </p:stCondLst>
                            <p:childTnLst>
                              <p:par>
                                <p:cTn id="19" presetID="53" presetClass="entr" presetSubtype="16" fill="hold" grpId="0" nodeType="afterEffect">
                                  <p:stCondLst>
                                    <p:cond delay="0"/>
                                  </p:stCondLst>
                                  <p:childTnLst>
                                    <p:set>
                                      <p:cBhvr>
                                        <p:cTn id="20" dur="1" fill="hold">
                                          <p:stCondLst>
                                            <p:cond delay="0"/>
                                          </p:stCondLst>
                                        </p:cTn>
                                        <p:tgtEl>
                                          <p:spTgt spid="16"/>
                                        </p:tgtEl>
                                        <p:attrNameLst>
                                          <p:attrName>style.visibility</p:attrName>
                                        </p:attrNameLst>
                                      </p:cBhvr>
                                      <p:to>
                                        <p:strVal val="visible"/>
                                      </p:to>
                                    </p:set>
                                    <p:anim calcmode="lin" valueType="num">
                                      <p:cBhvr>
                                        <p:cTn id="21" dur="500" fill="hold"/>
                                        <p:tgtEl>
                                          <p:spTgt spid="16"/>
                                        </p:tgtEl>
                                        <p:attrNameLst>
                                          <p:attrName>ppt_w</p:attrName>
                                        </p:attrNameLst>
                                      </p:cBhvr>
                                      <p:tavLst>
                                        <p:tav tm="0">
                                          <p:val>
                                            <p:fltVal val="0"/>
                                          </p:val>
                                        </p:tav>
                                        <p:tav tm="100000">
                                          <p:val>
                                            <p:strVal val="#ppt_w"/>
                                          </p:val>
                                        </p:tav>
                                      </p:tavLst>
                                    </p:anim>
                                    <p:anim calcmode="lin" valueType="num">
                                      <p:cBhvr>
                                        <p:cTn id="22" dur="500" fill="hold"/>
                                        <p:tgtEl>
                                          <p:spTgt spid="16"/>
                                        </p:tgtEl>
                                        <p:attrNameLst>
                                          <p:attrName>ppt_h</p:attrName>
                                        </p:attrNameLst>
                                      </p:cBhvr>
                                      <p:tavLst>
                                        <p:tav tm="0">
                                          <p:val>
                                            <p:fltVal val="0"/>
                                          </p:val>
                                        </p:tav>
                                        <p:tav tm="100000">
                                          <p:val>
                                            <p:strVal val="#ppt_h"/>
                                          </p:val>
                                        </p:tav>
                                      </p:tavLst>
                                    </p:anim>
                                    <p:animEffect transition="in" filter="fade">
                                      <p:cBhvr>
                                        <p:cTn id="2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15" grpId="0"/>
      <p:bldP spid="1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图片 35"/>
          <p:cNvPicPr>
            <a:picLocks noChangeAspect="1"/>
          </p:cNvPicPr>
          <p:nvPr/>
        </p:nvPicPr>
        <p:blipFill rotWithShape="1">
          <a:blip r:embed="rId1">
            <a:extLst>
              <a:ext uri="{28A0092B-C50C-407E-A947-70E740481C1C}">
                <a14:useLocalDpi xmlns:a14="http://schemas.microsoft.com/office/drawing/2010/main" val="0"/>
              </a:ext>
            </a:extLst>
          </a:blip>
          <a:srcRect t="10417"/>
          <a:stretch>
            <a:fillRect/>
          </a:stretch>
        </p:blipFill>
        <p:spPr>
          <a:xfrm flipH="1">
            <a:off x="0" y="1"/>
            <a:ext cx="12191998" cy="6858000"/>
          </a:xfrm>
          <a:prstGeom prst="rect">
            <a:avLst/>
          </a:prstGeom>
        </p:spPr>
      </p:pic>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3" name="Rectangle 2"/>
          <p:cNvSpPr/>
          <p:nvPr/>
        </p:nvSpPr>
        <p:spPr>
          <a:xfrm>
            <a:off x="1016000" y="0"/>
            <a:ext cx="5297714" cy="6858000"/>
          </a:xfrm>
          <a:prstGeom prst="rect">
            <a:avLst/>
          </a:prstGeom>
          <a:pattFill prst="pct5">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2281312" y="1193925"/>
            <a:ext cx="3357487" cy="651668"/>
          </a:xfrm>
          <a:prstGeom prst="rect">
            <a:avLst/>
          </a:prstGeom>
        </p:spPr>
        <p:txBody>
          <a:bodyPr wrap="square" anchor="ctr">
            <a:noAutofit/>
          </a:bodyPr>
          <a:lstStyle/>
          <a:p>
            <a:r>
              <a:rPr lang="en-US" sz="5400" noProof="1">
                <a:solidFill>
                  <a:schemeClr val="tx1">
                    <a:lumMod val="85000"/>
                    <a:lumOff val="15000"/>
                  </a:schemeClr>
                </a:solidFill>
                <a:latin typeface="Bebas Neue" panose="020B0606020202050201" pitchFamily="34" charset="0"/>
                <a:ea typeface="Roboto Light" panose="02000000000000000000" pitchFamily="2" charset="0"/>
                <a:cs typeface="Arial" panose="020B0604020202020204" pitchFamily="34" charset="0"/>
              </a:rPr>
              <a:t> </a:t>
            </a:r>
            <a:r>
              <a:rPr lang="zh-CN" altLang="en-US" sz="5400" noProof="1">
                <a:solidFill>
                  <a:schemeClr val="tx1">
                    <a:lumMod val="85000"/>
                    <a:lumOff val="15000"/>
                  </a:schemeClr>
                </a:solidFill>
                <a:latin typeface="汉仪乐喵体简" panose="00020600040101010101" charset="-122"/>
                <a:ea typeface="汉仪乐喵体简" panose="00020600040101010101" charset="-122"/>
                <a:cs typeface="Arial" panose="020B0604020202020204" pitchFamily="34" charset="0"/>
              </a:rPr>
              <a:t>风月无边</a:t>
            </a:r>
            <a:endParaRPr lang="zh-CN" altLang="en-US" sz="5400" noProof="1">
              <a:solidFill>
                <a:schemeClr val="tx1">
                  <a:lumMod val="85000"/>
                  <a:lumOff val="15000"/>
                </a:schemeClr>
              </a:solidFill>
              <a:latin typeface="汉仪乐喵体简" panose="00020600040101010101" charset="-122"/>
              <a:ea typeface="汉仪乐喵体简" panose="00020600040101010101" charset="-122"/>
              <a:cs typeface="Arial" panose="020B0604020202020204" pitchFamily="34" charset="0"/>
            </a:endParaRPr>
          </a:p>
        </p:txBody>
      </p:sp>
      <p:sp>
        <p:nvSpPr>
          <p:cNvPr id="58" name="Rectangle 57"/>
          <p:cNvSpPr/>
          <p:nvPr/>
        </p:nvSpPr>
        <p:spPr>
          <a:xfrm>
            <a:off x="2535313" y="2274336"/>
            <a:ext cx="1198880" cy="398780"/>
          </a:xfrm>
          <a:prstGeom prst="rect">
            <a:avLst/>
          </a:prstGeom>
        </p:spPr>
        <p:txBody>
          <a:bodyPr wrap="none">
            <a:spAutoFit/>
          </a:bodyPr>
          <a:lstStyle/>
          <a:p>
            <a:r>
              <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rPr>
              <a:t>组员介绍</a:t>
            </a:r>
            <a:endPar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endParaRPr>
          </a:p>
        </p:txBody>
      </p:sp>
      <p:sp>
        <p:nvSpPr>
          <p:cNvPr id="59" name="Rectangle 58"/>
          <p:cNvSpPr/>
          <p:nvPr/>
        </p:nvSpPr>
        <p:spPr>
          <a:xfrm>
            <a:off x="2535313" y="2572929"/>
            <a:ext cx="2849487" cy="461665"/>
          </a:xfrm>
          <a:prstGeom prst="rect">
            <a:avLst/>
          </a:prstGeom>
        </p:spPr>
        <p:txBody>
          <a:bodyPr wrap="square" anchor="ctr">
            <a:spAutoFit/>
          </a:bodyPr>
          <a:lstStyle/>
          <a:p>
            <a:pPr>
              <a:buClr>
                <a:srgbClr val="E24848"/>
              </a:buClr>
              <a:defRPr/>
            </a:pPr>
            <a:r>
              <a:rPr lang="en-US" sz="1200" noProof="1">
                <a:solidFill>
                  <a:schemeClr val="tx1">
                    <a:lumMod val="85000"/>
                    <a:lumOff val="1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tx1">
                  <a:lumMod val="85000"/>
                  <a:lumOff val="15000"/>
                </a:schemeClr>
              </a:solidFill>
              <a:latin typeface="+mj-lt"/>
              <a:ea typeface="Roboto Light" panose="02000000000000000000" pitchFamily="2" charset="0"/>
              <a:cs typeface="Arial" panose="020B0604020202020204" pitchFamily="34" charset="0"/>
            </a:endParaRPr>
          </a:p>
        </p:txBody>
      </p:sp>
      <p:sp>
        <p:nvSpPr>
          <p:cNvPr id="53" name="Rectangle 52"/>
          <p:cNvSpPr/>
          <p:nvPr/>
        </p:nvSpPr>
        <p:spPr>
          <a:xfrm>
            <a:off x="2535313" y="3119851"/>
            <a:ext cx="1198880" cy="398780"/>
          </a:xfrm>
          <a:prstGeom prst="rect">
            <a:avLst/>
          </a:prstGeom>
        </p:spPr>
        <p:txBody>
          <a:bodyPr wrap="none">
            <a:spAutoFit/>
          </a:bodyPr>
          <a:lstStyle/>
          <a:p>
            <a:r>
              <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rPr>
              <a:t>项目介绍</a:t>
            </a:r>
            <a:endPar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endParaRPr>
          </a:p>
        </p:txBody>
      </p:sp>
      <p:sp>
        <p:nvSpPr>
          <p:cNvPr id="54" name="Rectangle 53"/>
          <p:cNvSpPr/>
          <p:nvPr/>
        </p:nvSpPr>
        <p:spPr>
          <a:xfrm>
            <a:off x="2535313" y="3418444"/>
            <a:ext cx="2849487" cy="461665"/>
          </a:xfrm>
          <a:prstGeom prst="rect">
            <a:avLst/>
          </a:prstGeom>
        </p:spPr>
        <p:txBody>
          <a:bodyPr wrap="square" anchor="ctr">
            <a:spAutoFit/>
          </a:bodyPr>
          <a:lstStyle/>
          <a:p>
            <a:pPr>
              <a:buClr>
                <a:srgbClr val="E24848"/>
              </a:buClr>
              <a:defRPr/>
            </a:pPr>
            <a:r>
              <a:rPr lang="en-US" sz="1200" noProof="1">
                <a:solidFill>
                  <a:schemeClr val="tx1">
                    <a:lumMod val="85000"/>
                    <a:lumOff val="1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tx1">
                  <a:lumMod val="85000"/>
                  <a:lumOff val="15000"/>
                </a:schemeClr>
              </a:solidFill>
              <a:latin typeface="+mj-lt"/>
              <a:ea typeface="Roboto Light" panose="02000000000000000000" pitchFamily="2" charset="0"/>
              <a:cs typeface="Arial" panose="020B0604020202020204" pitchFamily="34" charset="0"/>
            </a:endParaRPr>
          </a:p>
        </p:txBody>
      </p:sp>
      <p:sp>
        <p:nvSpPr>
          <p:cNvPr id="48" name="Rectangle 47"/>
          <p:cNvSpPr/>
          <p:nvPr/>
        </p:nvSpPr>
        <p:spPr>
          <a:xfrm>
            <a:off x="2535313" y="3959985"/>
            <a:ext cx="1198880" cy="398780"/>
          </a:xfrm>
          <a:prstGeom prst="rect">
            <a:avLst/>
          </a:prstGeom>
        </p:spPr>
        <p:txBody>
          <a:bodyPr wrap="none">
            <a:spAutoFit/>
          </a:bodyPr>
          <a:lstStyle/>
          <a:p>
            <a:r>
              <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rPr>
              <a:t>项目演示</a:t>
            </a:r>
            <a:endPar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endParaRPr>
          </a:p>
        </p:txBody>
      </p:sp>
      <p:sp>
        <p:nvSpPr>
          <p:cNvPr id="49" name="Rectangle 48"/>
          <p:cNvSpPr/>
          <p:nvPr/>
        </p:nvSpPr>
        <p:spPr>
          <a:xfrm>
            <a:off x="2535313" y="4258578"/>
            <a:ext cx="2849487" cy="461665"/>
          </a:xfrm>
          <a:prstGeom prst="rect">
            <a:avLst/>
          </a:prstGeom>
        </p:spPr>
        <p:txBody>
          <a:bodyPr wrap="square" anchor="ctr">
            <a:spAutoFit/>
          </a:bodyPr>
          <a:lstStyle/>
          <a:p>
            <a:pPr>
              <a:buClr>
                <a:srgbClr val="E24848"/>
              </a:buClr>
              <a:defRPr/>
            </a:pPr>
            <a:r>
              <a:rPr lang="en-US" sz="1200" noProof="1">
                <a:solidFill>
                  <a:schemeClr val="tx1">
                    <a:lumMod val="85000"/>
                    <a:lumOff val="1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tx1">
                  <a:lumMod val="85000"/>
                  <a:lumOff val="15000"/>
                </a:schemeClr>
              </a:solidFill>
              <a:latin typeface="+mj-lt"/>
              <a:ea typeface="Roboto Light" panose="02000000000000000000" pitchFamily="2" charset="0"/>
              <a:cs typeface="Arial" panose="020B0604020202020204" pitchFamily="34" charset="0"/>
            </a:endParaRPr>
          </a:p>
        </p:txBody>
      </p:sp>
      <p:sp>
        <p:nvSpPr>
          <p:cNvPr id="43" name="Rectangle 42"/>
          <p:cNvSpPr/>
          <p:nvPr/>
        </p:nvSpPr>
        <p:spPr>
          <a:xfrm>
            <a:off x="2535313" y="4788508"/>
            <a:ext cx="1198880" cy="398780"/>
          </a:xfrm>
          <a:prstGeom prst="rect">
            <a:avLst/>
          </a:prstGeom>
        </p:spPr>
        <p:txBody>
          <a:bodyPr wrap="none">
            <a:spAutoFit/>
          </a:bodyPr>
          <a:lstStyle/>
          <a:p>
            <a:r>
              <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rPr>
              <a:t>项目总结</a:t>
            </a:r>
            <a:endPar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endParaRPr>
          </a:p>
        </p:txBody>
      </p:sp>
      <p:sp>
        <p:nvSpPr>
          <p:cNvPr id="44" name="Rectangle 43"/>
          <p:cNvSpPr/>
          <p:nvPr/>
        </p:nvSpPr>
        <p:spPr>
          <a:xfrm>
            <a:off x="2535313" y="5087101"/>
            <a:ext cx="2849487" cy="461665"/>
          </a:xfrm>
          <a:prstGeom prst="rect">
            <a:avLst/>
          </a:prstGeom>
        </p:spPr>
        <p:txBody>
          <a:bodyPr wrap="square" anchor="ctr">
            <a:spAutoFit/>
          </a:bodyPr>
          <a:lstStyle/>
          <a:p>
            <a:pPr>
              <a:buClr>
                <a:srgbClr val="E24848"/>
              </a:buClr>
              <a:defRPr/>
            </a:pPr>
            <a:r>
              <a:rPr lang="en-US" sz="1200" noProof="1">
                <a:solidFill>
                  <a:schemeClr val="tx1">
                    <a:lumMod val="85000"/>
                    <a:lumOff val="1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tx1">
                  <a:lumMod val="85000"/>
                  <a:lumOff val="15000"/>
                </a:schemeClr>
              </a:solidFill>
              <a:latin typeface="+mj-lt"/>
              <a:ea typeface="Roboto Light" panose="02000000000000000000" pitchFamily="2" charset="0"/>
              <a:cs typeface="Arial" panose="020B0604020202020204" pitchFamily="34" charset="0"/>
            </a:endParaRPr>
          </a:p>
        </p:txBody>
      </p:sp>
      <p:grpSp>
        <p:nvGrpSpPr>
          <p:cNvPr id="4" name="Group 3"/>
          <p:cNvGrpSpPr/>
          <p:nvPr/>
        </p:nvGrpSpPr>
        <p:grpSpPr>
          <a:xfrm>
            <a:off x="1749703" y="2406872"/>
            <a:ext cx="585945" cy="446111"/>
            <a:chOff x="1749703" y="2330672"/>
            <a:chExt cx="585945" cy="446111"/>
          </a:xfrm>
          <a:solidFill>
            <a:schemeClr val="tx1">
              <a:lumMod val="50000"/>
              <a:lumOff val="50000"/>
            </a:schemeClr>
          </a:solidFill>
        </p:grpSpPr>
        <p:sp>
          <p:nvSpPr>
            <p:cNvPr id="63" name="Right Triangle 62"/>
            <p:cNvSpPr/>
            <p:nvPr/>
          </p:nvSpPr>
          <p:spPr>
            <a:xfrm flipV="1">
              <a:off x="1976024" y="2330672"/>
              <a:ext cx="359624" cy="377968"/>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j-lt"/>
              </a:endParaRPr>
            </a:p>
          </p:txBody>
        </p:sp>
        <p:sp>
          <p:nvSpPr>
            <p:cNvPr id="57" name="Rectangle 56"/>
            <p:cNvSpPr/>
            <p:nvPr/>
          </p:nvSpPr>
          <p:spPr>
            <a:xfrm>
              <a:off x="1749703" y="2330672"/>
              <a:ext cx="446111" cy="446111"/>
            </a:xfrm>
            <a:prstGeom prst="rect">
              <a:avLst/>
            </a:prstGeom>
            <a:grpFill/>
            <a:ln>
              <a:noFill/>
            </a:ln>
            <a:effectLst>
              <a:outerShdw blurRad="50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j-lt"/>
                  <a:ea typeface="Roboto Light" panose="02000000000000000000" pitchFamily="2" charset="0"/>
                </a:rPr>
                <a:t>1</a:t>
              </a:r>
              <a:endParaRPr lang="en-US" sz="1400" dirty="0">
                <a:solidFill>
                  <a:schemeClr val="bg1"/>
                </a:solidFill>
                <a:latin typeface="+mj-lt"/>
                <a:ea typeface="Roboto Light" panose="02000000000000000000" pitchFamily="2" charset="0"/>
              </a:endParaRPr>
            </a:p>
          </p:txBody>
        </p:sp>
      </p:grpSp>
      <p:grpSp>
        <p:nvGrpSpPr>
          <p:cNvPr id="5" name="Group 4"/>
          <p:cNvGrpSpPr/>
          <p:nvPr/>
        </p:nvGrpSpPr>
        <p:grpSpPr>
          <a:xfrm>
            <a:off x="1749703" y="3252387"/>
            <a:ext cx="585945" cy="446111"/>
            <a:chOff x="1749703" y="3176187"/>
            <a:chExt cx="585945" cy="446111"/>
          </a:xfrm>
          <a:solidFill>
            <a:schemeClr val="tx1">
              <a:lumMod val="65000"/>
              <a:lumOff val="35000"/>
            </a:schemeClr>
          </a:solidFill>
        </p:grpSpPr>
        <p:sp>
          <p:nvSpPr>
            <p:cNvPr id="62" name="Right Triangle 61"/>
            <p:cNvSpPr/>
            <p:nvPr/>
          </p:nvSpPr>
          <p:spPr>
            <a:xfrm flipV="1">
              <a:off x="1976024" y="3176187"/>
              <a:ext cx="359624" cy="377968"/>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j-lt"/>
              </a:endParaRPr>
            </a:p>
          </p:txBody>
        </p:sp>
        <p:sp>
          <p:nvSpPr>
            <p:cNvPr id="52" name="Rectangle 51"/>
            <p:cNvSpPr/>
            <p:nvPr/>
          </p:nvSpPr>
          <p:spPr>
            <a:xfrm>
              <a:off x="1749703" y="3176187"/>
              <a:ext cx="446111" cy="446111"/>
            </a:xfrm>
            <a:prstGeom prst="rect">
              <a:avLst/>
            </a:prstGeom>
            <a:grpFill/>
            <a:ln>
              <a:noFill/>
            </a:ln>
            <a:effectLst>
              <a:outerShdw blurRad="50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j-lt"/>
                  <a:ea typeface="Roboto Light" panose="02000000000000000000" pitchFamily="2" charset="0"/>
                </a:rPr>
                <a:t>2</a:t>
              </a:r>
              <a:endParaRPr lang="en-US" sz="1400" dirty="0">
                <a:solidFill>
                  <a:schemeClr val="bg1"/>
                </a:solidFill>
                <a:latin typeface="+mj-lt"/>
                <a:ea typeface="Roboto Light" panose="02000000000000000000" pitchFamily="2" charset="0"/>
              </a:endParaRPr>
            </a:p>
          </p:txBody>
        </p:sp>
      </p:grpSp>
      <p:grpSp>
        <p:nvGrpSpPr>
          <p:cNvPr id="6" name="Group 5"/>
          <p:cNvGrpSpPr/>
          <p:nvPr/>
        </p:nvGrpSpPr>
        <p:grpSpPr>
          <a:xfrm>
            <a:off x="1749703" y="4092521"/>
            <a:ext cx="585945" cy="446111"/>
            <a:chOff x="1749703" y="4016321"/>
            <a:chExt cx="585945" cy="446111"/>
          </a:xfrm>
          <a:solidFill>
            <a:schemeClr val="tx1">
              <a:lumMod val="75000"/>
              <a:lumOff val="25000"/>
            </a:schemeClr>
          </a:solidFill>
        </p:grpSpPr>
        <p:sp>
          <p:nvSpPr>
            <p:cNvPr id="61" name="Right Triangle 60"/>
            <p:cNvSpPr/>
            <p:nvPr/>
          </p:nvSpPr>
          <p:spPr>
            <a:xfrm flipV="1">
              <a:off x="1976024" y="4016321"/>
              <a:ext cx="359624" cy="377968"/>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j-lt"/>
              </a:endParaRPr>
            </a:p>
          </p:txBody>
        </p:sp>
        <p:sp>
          <p:nvSpPr>
            <p:cNvPr id="47" name="Rectangle 46"/>
            <p:cNvSpPr/>
            <p:nvPr/>
          </p:nvSpPr>
          <p:spPr>
            <a:xfrm>
              <a:off x="1749703" y="4016321"/>
              <a:ext cx="446111" cy="446111"/>
            </a:xfrm>
            <a:prstGeom prst="rect">
              <a:avLst/>
            </a:prstGeom>
            <a:grpFill/>
            <a:ln>
              <a:noFill/>
            </a:ln>
            <a:effectLst>
              <a:outerShdw blurRad="50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j-lt"/>
                  <a:ea typeface="Roboto Light" panose="02000000000000000000" pitchFamily="2" charset="0"/>
                </a:rPr>
                <a:t>3</a:t>
              </a:r>
              <a:endParaRPr lang="en-US" sz="1400" dirty="0">
                <a:solidFill>
                  <a:schemeClr val="bg1"/>
                </a:solidFill>
                <a:latin typeface="+mj-lt"/>
                <a:ea typeface="Roboto Light" panose="02000000000000000000" pitchFamily="2" charset="0"/>
              </a:endParaRPr>
            </a:p>
          </p:txBody>
        </p:sp>
      </p:grpSp>
      <p:grpSp>
        <p:nvGrpSpPr>
          <p:cNvPr id="7" name="Group 6"/>
          <p:cNvGrpSpPr/>
          <p:nvPr/>
        </p:nvGrpSpPr>
        <p:grpSpPr>
          <a:xfrm>
            <a:off x="1749703" y="4920927"/>
            <a:ext cx="585945" cy="446228"/>
            <a:chOff x="1749703" y="4844727"/>
            <a:chExt cx="585945" cy="446228"/>
          </a:xfrm>
          <a:solidFill>
            <a:schemeClr val="tx1">
              <a:lumMod val="85000"/>
              <a:lumOff val="15000"/>
            </a:schemeClr>
          </a:solidFill>
        </p:grpSpPr>
        <p:sp>
          <p:nvSpPr>
            <p:cNvPr id="60" name="Right Triangle 59"/>
            <p:cNvSpPr/>
            <p:nvPr/>
          </p:nvSpPr>
          <p:spPr>
            <a:xfrm flipV="1">
              <a:off x="1976024" y="4844727"/>
              <a:ext cx="359624" cy="377968"/>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j-lt"/>
              </a:endParaRPr>
            </a:p>
          </p:txBody>
        </p:sp>
        <p:sp>
          <p:nvSpPr>
            <p:cNvPr id="42" name="Rectangle 41"/>
            <p:cNvSpPr/>
            <p:nvPr/>
          </p:nvSpPr>
          <p:spPr>
            <a:xfrm>
              <a:off x="1749703" y="4844844"/>
              <a:ext cx="446111" cy="446111"/>
            </a:xfrm>
            <a:prstGeom prst="rect">
              <a:avLst/>
            </a:prstGeom>
            <a:grpFill/>
            <a:ln>
              <a:noFill/>
            </a:ln>
            <a:effectLst>
              <a:outerShdw blurRad="50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j-lt"/>
                  <a:ea typeface="Roboto Light" panose="02000000000000000000" pitchFamily="2" charset="0"/>
                </a:rPr>
                <a:t>4</a:t>
              </a:r>
              <a:endParaRPr lang="en-US" sz="1400" dirty="0">
                <a:solidFill>
                  <a:schemeClr val="bg1"/>
                </a:solidFill>
                <a:latin typeface="+mj-lt"/>
                <a:ea typeface="Roboto Light" panose="02000000000000000000" pitchFamily="2" charset="0"/>
              </a:endParaRPr>
            </a:p>
          </p:txBody>
        </p:sp>
      </p:grpSp>
      <p:grpSp>
        <p:nvGrpSpPr>
          <p:cNvPr id="27" name="Group 26"/>
          <p:cNvGrpSpPr/>
          <p:nvPr/>
        </p:nvGrpSpPr>
        <p:grpSpPr>
          <a:xfrm>
            <a:off x="1820152" y="1225769"/>
            <a:ext cx="393551" cy="492358"/>
            <a:chOff x="7268245" y="5108787"/>
            <a:chExt cx="357774" cy="447598"/>
          </a:xfrm>
          <a:solidFill>
            <a:schemeClr val="tx1">
              <a:lumMod val="75000"/>
              <a:lumOff val="25000"/>
            </a:schemeClr>
          </a:solidFill>
        </p:grpSpPr>
        <p:sp>
          <p:nvSpPr>
            <p:cNvPr id="28" name="Freeform 11482"/>
            <p:cNvSpPr>
              <a:spLocks noEditPoints="1"/>
            </p:cNvSpPr>
            <p:nvPr/>
          </p:nvSpPr>
          <p:spPr bwMode="auto">
            <a:xfrm>
              <a:off x="7476820" y="5407186"/>
              <a:ext cx="149199" cy="149199"/>
            </a:xfrm>
            <a:custGeom>
              <a:avLst/>
              <a:gdLst>
                <a:gd name="T0" fmla="*/ 384 w 391"/>
                <a:gd name="T1" fmla="*/ 145 h 392"/>
                <a:gd name="T2" fmla="*/ 364 w 391"/>
                <a:gd name="T3" fmla="*/ 98 h 392"/>
                <a:gd name="T4" fmla="*/ 334 w 391"/>
                <a:gd name="T5" fmla="*/ 57 h 392"/>
                <a:gd name="T6" fmla="*/ 295 w 391"/>
                <a:gd name="T7" fmla="*/ 27 h 392"/>
                <a:gd name="T8" fmla="*/ 248 w 391"/>
                <a:gd name="T9" fmla="*/ 8 h 392"/>
                <a:gd name="T10" fmla="*/ 196 w 391"/>
                <a:gd name="T11" fmla="*/ 0 h 392"/>
                <a:gd name="T12" fmla="*/ 155 w 391"/>
                <a:gd name="T13" fmla="*/ 4 h 392"/>
                <a:gd name="T14" fmla="*/ 102 w 391"/>
                <a:gd name="T15" fmla="*/ 23 h 392"/>
                <a:gd name="T16" fmla="*/ 57 w 391"/>
                <a:gd name="T17" fmla="*/ 57 h 392"/>
                <a:gd name="T18" fmla="*/ 23 w 391"/>
                <a:gd name="T19" fmla="*/ 103 h 392"/>
                <a:gd name="T20" fmla="*/ 4 w 391"/>
                <a:gd name="T21" fmla="*/ 157 h 392"/>
                <a:gd name="T22" fmla="*/ 0 w 391"/>
                <a:gd name="T23" fmla="*/ 196 h 392"/>
                <a:gd name="T24" fmla="*/ 5 w 391"/>
                <a:gd name="T25" fmla="*/ 245 h 392"/>
                <a:gd name="T26" fmla="*/ 17 w 391"/>
                <a:gd name="T27" fmla="*/ 275 h 392"/>
                <a:gd name="T28" fmla="*/ 40 w 391"/>
                <a:gd name="T29" fmla="*/ 316 h 392"/>
                <a:gd name="T30" fmla="*/ 74 w 391"/>
                <a:gd name="T31" fmla="*/ 350 h 392"/>
                <a:gd name="T32" fmla="*/ 115 w 391"/>
                <a:gd name="T33" fmla="*/ 375 h 392"/>
                <a:gd name="T34" fmla="*/ 162 w 391"/>
                <a:gd name="T35" fmla="*/ 389 h 392"/>
                <a:gd name="T36" fmla="*/ 196 w 391"/>
                <a:gd name="T37" fmla="*/ 392 h 392"/>
                <a:gd name="T38" fmla="*/ 253 w 391"/>
                <a:gd name="T39" fmla="*/ 383 h 392"/>
                <a:gd name="T40" fmla="*/ 305 w 391"/>
                <a:gd name="T41" fmla="*/ 359 h 392"/>
                <a:gd name="T42" fmla="*/ 346 w 391"/>
                <a:gd name="T43" fmla="*/ 321 h 392"/>
                <a:gd name="T44" fmla="*/ 376 w 391"/>
                <a:gd name="T45" fmla="*/ 273 h 392"/>
                <a:gd name="T46" fmla="*/ 390 w 391"/>
                <a:gd name="T47" fmla="*/ 215 h 392"/>
                <a:gd name="T48" fmla="*/ 390 w 391"/>
                <a:gd name="T49" fmla="*/ 179 h 392"/>
                <a:gd name="T50" fmla="*/ 299 w 391"/>
                <a:gd name="T51" fmla="*/ 214 h 392"/>
                <a:gd name="T52" fmla="*/ 295 w 391"/>
                <a:gd name="T53" fmla="*/ 222 h 392"/>
                <a:gd name="T54" fmla="*/ 216 w 391"/>
                <a:gd name="T55" fmla="*/ 226 h 392"/>
                <a:gd name="T56" fmla="*/ 216 w 391"/>
                <a:gd name="T57" fmla="*/ 300 h 392"/>
                <a:gd name="T58" fmla="*/ 205 w 391"/>
                <a:gd name="T59" fmla="*/ 308 h 392"/>
                <a:gd name="T60" fmla="*/ 179 w 391"/>
                <a:gd name="T61" fmla="*/ 307 h 392"/>
                <a:gd name="T62" fmla="*/ 171 w 391"/>
                <a:gd name="T63" fmla="*/ 295 h 392"/>
                <a:gd name="T64" fmla="*/ 103 w 391"/>
                <a:gd name="T65" fmla="*/ 226 h 392"/>
                <a:gd name="T66" fmla="*/ 91 w 391"/>
                <a:gd name="T67" fmla="*/ 218 h 392"/>
                <a:gd name="T68" fmla="*/ 90 w 391"/>
                <a:gd name="T69" fmla="*/ 193 h 392"/>
                <a:gd name="T70" fmla="*/ 98 w 391"/>
                <a:gd name="T71" fmla="*/ 181 h 392"/>
                <a:gd name="T72" fmla="*/ 171 w 391"/>
                <a:gd name="T73" fmla="*/ 111 h 392"/>
                <a:gd name="T74" fmla="*/ 175 w 391"/>
                <a:gd name="T75" fmla="*/ 103 h 392"/>
                <a:gd name="T76" fmla="*/ 205 w 391"/>
                <a:gd name="T77" fmla="*/ 99 h 392"/>
                <a:gd name="T78" fmla="*/ 214 w 391"/>
                <a:gd name="T79" fmla="*/ 103 h 392"/>
                <a:gd name="T80" fmla="*/ 216 w 391"/>
                <a:gd name="T81" fmla="*/ 180 h 392"/>
                <a:gd name="T82" fmla="*/ 291 w 391"/>
                <a:gd name="T83" fmla="*/ 181 h 392"/>
                <a:gd name="T84" fmla="*/ 299 w 391"/>
                <a:gd name="T85" fmla="*/ 193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1" h="392">
                  <a:moveTo>
                    <a:pt x="388" y="162"/>
                  </a:moveTo>
                  <a:lnTo>
                    <a:pt x="388" y="162"/>
                  </a:lnTo>
                  <a:lnTo>
                    <a:pt x="384" y="145"/>
                  </a:lnTo>
                  <a:lnTo>
                    <a:pt x="378" y="128"/>
                  </a:lnTo>
                  <a:lnTo>
                    <a:pt x="372" y="112"/>
                  </a:lnTo>
                  <a:lnTo>
                    <a:pt x="364" y="98"/>
                  </a:lnTo>
                  <a:lnTo>
                    <a:pt x="355" y="83"/>
                  </a:lnTo>
                  <a:lnTo>
                    <a:pt x="346" y="70"/>
                  </a:lnTo>
                  <a:lnTo>
                    <a:pt x="334" y="57"/>
                  </a:lnTo>
                  <a:lnTo>
                    <a:pt x="321" y="47"/>
                  </a:lnTo>
                  <a:lnTo>
                    <a:pt x="308" y="36"/>
                  </a:lnTo>
                  <a:lnTo>
                    <a:pt x="295" y="27"/>
                  </a:lnTo>
                  <a:lnTo>
                    <a:pt x="279" y="20"/>
                  </a:lnTo>
                  <a:lnTo>
                    <a:pt x="264" y="13"/>
                  </a:lnTo>
                  <a:lnTo>
                    <a:pt x="248" y="8"/>
                  </a:lnTo>
                  <a:lnTo>
                    <a:pt x="231" y="4"/>
                  </a:lnTo>
                  <a:lnTo>
                    <a:pt x="213" y="1"/>
                  </a:lnTo>
                  <a:lnTo>
                    <a:pt x="196" y="0"/>
                  </a:lnTo>
                  <a:lnTo>
                    <a:pt x="196" y="0"/>
                  </a:lnTo>
                  <a:lnTo>
                    <a:pt x="175" y="1"/>
                  </a:lnTo>
                  <a:lnTo>
                    <a:pt x="155" y="4"/>
                  </a:lnTo>
                  <a:lnTo>
                    <a:pt x="137" y="9"/>
                  </a:lnTo>
                  <a:lnTo>
                    <a:pt x="119" y="16"/>
                  </a:lnTo>
                  <a:lnTo>
                    <a:pt x="102" y="23"/>
                  </a:lnTo>
                  <a:lnTo>
                    <a:pt x="86" y="34"/>
                  </a:lnTo>
                  <a:lnTo>
                    <a:pt x="70" y="44"/>
                  </a:lnTo>
                  <a:lnTo>
                    <a:pt x="57" y="57"/>
                  </a:lnTo>
                  <a:lnTo>
                    <a:pt x="44" y="72"/>
                  </a:lnTo>
                  <a:lnTo>
                    <a:pt x="32" y="86"/>
                  </a:lnTo>
                  <a:lnTo>
                    <a:pt x="23" y="103"/>
                  </a:lnTo>
                  <a:lnTo>
                    <a:pt x="15" y="120"/>
                  </a:lnTo>
                  <a:lnTo>
                    <a:pt x="8" y="138"/>
                  </a:lnTo>
                  <a:lnTo>
                    <a:pt x="4" y="157"/>
                  </a:lnTo>
                  <a:lnTo>
                    <a:pt x="0" y="176"/>
                  </a:lnTo>
                  <a:lnTo>
                    <a:pt x="0" y="196"/>
                  </a:lnTo>
                  <a:lnTo>
                    <a:pt x="0" y="196"/>
                  </a:lnTo>
                  <a:lnTo>
                    <a:pt x="0" y="209"/>
                  </a:lnTo>
                  <a:lnTo>
                    <a:pt x="1" y="221"/>
                  </a:lnTo>
                  <a:lnTo>
                    <a:pt x="5" y="245"/>
                  </a:lnTo>
                  <a:lnTo>
                    <a:pt x="5" y="245"/>
                  </a:lnTo>
                  <a:lnTo>
                    <a:pt x="10" y="261"/>
                  </a:lnTo>
                  <a:lnTo>
                    <a:pt x="17" y="275"/>
                  </a:lnTo>
                  <a:lnTo>
                    <a:pt x="23" y="290"/>
                  </a:lnTo>
                  <a:lnTo>
                    <a:pt x="31" y="304"/>
                  </a:lnTo>
                  <a:lnTo>
                    <a:pt x="40" y="316"/>
                  </a:lnTo>
                  <a:lnTo>
                    <a:pt x="51" y="329"/>
                  </a:lnTo>
                  <a:lnTo>
                    <a:pt x="62" y="339"/>
                  </a:lnTo>
                  <a:lnTo>
                    <a:pt x="74" y="350"/>
                  </a:lnTo>
                  <a:lnTo>
                    <a:pt x="87" y="359"/>
                  </a:lnTo>
                  <a:lnTo>
                    <a:pt x="100" y="368"/>
                  </a:lnTo>
                  <a:lnTo>
                    <a:pt x="115" y="375"/>
                  </a:lnTo>
                  <a:lnTo>
                    <a:pt x="130" y="381"/>
                  </a:lnTo>
                  <a:lnTo>
                    <a:pt x="146" y="385"/>
                  </a:lnTo>
                  <a:lnTo>
                    <a:pt x="162" y="389"/>
                  </a:lnTo>
                  <a:lnTo>
                    <a:pt x="179" y="392"/>
                  </a:lnTo>
                  <a:lnTo>
                    <a:pt x="196" y="392"/>
                  </a:lnTo>
                  <a:lnTo>
                    <a:pt x="196" y="392"/>
                  </a:lnTo>
                  <a:lnTo>
                    <a:pt x="215" y="390"/>
                  </a:lnTo>
                  <a:lnTo>
                    <a:pt x="235" y="388"/>
                  </a:lnTo>
                  <a:lnTo>
                    <a:pt x="253" y="383"/>
                  </a:lnTo>
                  <a:lnTo>
                    <a:pt x="271" y="376"/>
                  </a:lnTo>
                  <a:lnTo>
                    <a:pt x="288" y="368"/>
                  </a:lnTo>
                  <a:lnTo>
                    <a:pt x="305" y="359"/>
                  </a:lnTo>
                  <a:lnTo>
                    <a:pt x="320" y="347"/>
                  </a:lnTo>
                  <a:lnTo>
                    <a:pt x="334" y="334"/>
                  </a:lnTo>
                  <a:lnTo>
                    <a:pt x="346" y="321"/>
                  </a:lnTo>
                  <a:lnTo>
                    <a:pt x="358" y="306"/>
                  </a:lnTo>
                  <a:lnTo>
                    <a:pt x="368" y="290"/>
                  </a:lnTo>
                  <a:lnTo>
                    <a:pt x="376" y="273"/>
                  </a:lnTo>
                  <a:lnTo>
                    <a:pt x="382" y="255"/>
                  </a:lnTo>
                  <a:lnTo>
                    <a:pt x="388" y="235"/>
                  </a:lnTo>
                  <a:lnTo>
                    <a:pt x="390" y="215"/>
                  </a:lnTo>
                  <a:lnTo>
                    <a:pt x="391" y="196"/>
                  </a:lnTo>
                  <a:lnTo>
                    <a:pt x="391" y="196"/>
                  </a:lnTo>
                  <a:lnTo>
                    <a:pt x="390" y="179"/>
                  </a:lnTo>
                  <a:lnTo>
                    <a:pt x="388" y="162"/>
                  </a:lnTo>
                  <a:lnTo>
                    <a:pt x="388" y="162"/>
                  </a:lnTo>
                  <a:close/>
                  <a:moveTo>
                    <a:pt x="299" y="214"/>
                  </a:moveTo>
                  <a:lnTo>
                    <a:pt x="299" y="214"/>
                  </a:lnTo>
                  <a:lnTo>
                    <a:pt x="297" y="218"/>
                  </a:lnTo>
                  <a:lnTo>
                    <a:pt x="295" y="222"/>
                  </a:lnTo>
                  <a:lnTo>
                    <a:pt x="291" y="225"/>
                  </a:lnTo>
                  <a:lnTo>
                    <a:pt x="286" y="226"/>
                  </a:lnTo>
                  <a:lnTo>
                    <a:pt x="216" y="226"/>
                  </a:lnTo>
                  <a:lnTo>
                    <a:pt x="216" y="295"/>
                  </a:lnTo>
                  <a:lnTo>
                    <a:pt x="216" y="295"/>
                  </a:lnTo>
                  <a:lnTo>
                    <a:pt x="216" y="300"/>
                  </a:lnTo>
                  <a:lnTo>
                    <a:pt x="214" y="304"/>
                  </a:lnTo>
                  <a:lnTo>
                    <a:pt x="210" y="307"/>
                  </a:lnTo>
                  <a:lnTo>
                    <a:pt x="205" y="308"/>
                  </a:lnTo>
                  <a:lnTo>
                    <a:pt x="184" y="308"/>
                  </a:lnTo>
                  <a:lnTo>
                    <a:pt x="184" y="308"/>
                  </a:lnTo>
                  <a:lnTo>
                    <a:pt x="179" y="307"/>
                  </a:lnTo>
                  <a:lnTo>
                    <a:pt x="175" y="304"/>
                  </a:lnTo>
                  <a:lnTo>
                    <a:pt x="172" y="300"/>
                  </a:lnTo>
                  <a:lnTo>
                    <a:pt x="171" y="295"/>
                  </a:lnTo>
                  <a:lnTo>
                    <a:pt x="171" y="226"/>
                  </a:lnTo>
                  <a:lnTo>
                    <a:pt x="103" y="226"/>
                  </a:lnTo>
                  <a:lnTo>
                    <a:pt x="103" y="226"/>
                  </a:lnTo>
                  <a:lnTo>
                    <a:pt x="98" y="225"/>
                  </a:lnTo>
                  <a:lnTo>
                    <a:pt x="94" y="222"/>
                  </a:lnTo>
                  <a:lnTo>
                    <a:pt x="91" y="218"/>
                  </a:lnTo>
                  <a:lnTo>
                    <a:pt x="90" y="214"/>
                  </a:lnTo>
                  <a:lnTo>
                    <a:pt x="90" y="193"/>
                  </a:lnTo>
                  <a:lnTo>
                    <a:pt x="90" y="193"/>
                  </a:lnTo>
                  <a:lnTo>
                    <a:pt x="91" y="188"/>
                  </a:lnTo>
                  <a:lnTo>
                    <a:pt x="94" y="184"/>
                  </a:lnTo>
                  <a:lnTo>
                    <a:pt x="98" y="181"/>
                  </a:lnTo>
                  <a:lnTo>
                    <a:pt x="103" y="180"/>
                  </a:lnTo>
                  <a:lnTo>
                    <a:pt x="171" y="180"/>
                  </a:lnTo>
                  <a:lnTo>
                    <a:pt x="171" y="111"/>
                  </a:lnTo>
                  <a:lnTo>
                    <a:pt x="171" y="111"/>
                  </a:lnTo>
                  <a:lnTo>
                    <a:pt x="172" y="107"/>
                  </a:lnTo>
                  <a:lnTo>
                    <a:pt x="175" y="103"/>
                  </a:lnTo>
                  <a:lnTo>
                    <a:pt x="179" y="100"/>
                  </a:lnTo>
                  <a:lnTo>
                    <a:pt x="184" y="99"/>
                  </a:lnTo>
                  <a:lnTo>
                    <a:pt x="205" y="99"/>
                  </a:lnTo>
                  <a:lnTo>
                    <a:pt x="205" y="99"/>
                  </a:lnTo>
                  <a:lnTo>
                    <a:pt x="210" y="100"/>
                  </a:lnTo>
                  <a:lnTo>
                    <a:pt x="214" y="103"/>
                  </a:lnTo>
                  <a:lnTo>
                    <a:pt x="216" y="107"/>
                  </a:lnTo>
                  <a:lnTo>
                    <a:pt x="216" y="111"/>
                  </a:lnTo>
                  <a:lnTo>
                    <a:pt x="216" y="180"/>
                  </a:lnTo>
                  <a:lnTo>
                    <a:pt x="286" y="180"/>
                  </a:lnTo>
                  <a:lnTo>
                    <a:pt x="286" y="180"/>
                  </a:lnTo>
                  <a:lnTo>
                    <a:pt x="291" y="181"/>
                  </a:lnTo>
                  <a:lnTo>
                    <a:pt x="295" y="184"/>
                  </a:lnTo>
                  <a:lnTo>
                    <a:pt x="297" y="188"/>
                  </a:lnTo>
                  <a:lnTo>
                    <a:pt x="299" y="193"/>
                  </a:lnTo>
                  <a:lnTo>
                    <a:pt x="299" y="2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 name="Freeform 11483"/>
            <p:cNvSpPr/>
            <p:nvPr/>
          </p:nvSpPr>
          <p:spPr bwMode="auto">
            <a:xfrm>
              <a:off x="7268245" y="5108787"/>
              <a:ext cx="315145" cy="408014"/>
            </a:xfrm>
            <a:custGeom>
              <a:avLst/>
              <a:gdLst>
                <a:gd name="T0" fmla="*/ 505 w 825"/>
                <a:gd name="T1" fmla="*/ 981 h 1070"/>
                <a:gd name="T2" fmla="*/ 369 w 825"/>
                <a:gd name="T3" fmla="*/ 980 h 1070"/>
                <a:gd name="T4" fmla="*/ 106 w 825"/>
                <a:gd name="T5" fmla="*/ 232 h 1070"/>
                <a:gd name="T6" fmla="*/ 202 w 825"/>
                <a:gd name="T7" fmla="*/ 231 h 1070"/>
                <a:gd name="T8" fmla="*/ 202 w 825"/>
                <a:gd name="T9" fmla="*/ 151 h 1070"/>
                <a:gd name="T10" fmla="*/ 189 w 825"/>
                <a:gd name="T11" fmla="*/ 101 h 1070"/>
                <a:gd name="T12" fmla="*/ 231 w 825"/>
                <a:gd name="T13" fmla="*/ 151 h 1070"/>
                <a:gd name="T14" fmla="*/ 219 w 825"/>
                <a:gd name="T15" fmla="*/ 231 h 1070"/>
                <a:gd name="T16" fmla="*/ 618 w 825"/>
                <a:gd name="T17" fmla="*/ 151 h 1070"/>
                <a:gd name="T18" fmla="*/ 606 w 825"/>
                <a:gd name="T19" fmla="*/ 101 h 1070"/>
                <a:gd name="T20" fmla="*/ 648 w 825"/>
                <a:gd name="T21" fmla="*/ 151 h 1070"/>
                <a:gd name="T22" fmla="*/ 635 w 825"/>
                <a:gd name="T23" fmla="*/ 231 h 1070"/>
                <a:gd name="T24" fmla="*/ 730 w 825"/>
                <a:gd name="T25" fmla="*/ 232 h 1070"/>
                <a:gd name="T26" fmla="*/ 730 w 825"/>
                <a:gd name="T27" fmla="*/ 576 h 1070"/>
                <a:gd name="T28" fmla="*/ 730 w 825"/>
                <a:gd name="T29" fmla="*/ 741 h 1070"/>
                <a:gd name="T30" fmla="*/ 747 w 825"/>
                <a:gd name="T31" fmla="*/ 741 h 1070"/>
                <a:gd name="T32" fmla="*/ 766 w 825"/>
                <a:gd name="T33" fmla="*/ 741 h 1070"/>
                <a:gd name="T34" fmla="*/ 807 w 825"/>
                <a:gd name="T35" fmla="*/ 748 h 1070"/>
                <a:gd name="T36" fmla="*/ 825 w 825"/>
                <a:gd name="T37" fmla="*/ 145 h 1070"/>
                <a:gd name="T38" fmla="*/ 684 w 825"/>
                <a:gd name="T39" fmla="*/ 145 h 1070"/>
                <a:gd name="T40" fmla="*/ 543 w 825"/>
                <a:gd name="T41" fmla="*/ 80 h 1070"/>
                <a:gd name="T42" fmla="*/ 543 w 825"/>
                <a:gd name="T43" fmla="*/ 77 h 1070"/>
                <a:gd name="T44" fmla="*/ 540 w 825"/>
                <a:gd name="T45" fmla="*/ 61 h 1070"/>
                <a:gd name="T46" fmla="*/ 533 w 825"/>
                <a:gd name="T47" fmla="*/ 47 h 1070"/>
                <a:gd name="T48" fmla="*/ 521 w 825"/>
                <a:gd name="T49" fmla="*/ 34 h 1070"/>
                <a:gd name="T50" fmla="*/ 505 w 825"/>
                <a:gd name="T51" fmla="*/ 22 h 1070"/>
                <a:gd name="T52" fmla="*/ 486 w 825"/>
                <a:gd name="T53" fmla="*/ 13 h 1070"/>
                <a:gd name="T54" fmla="*/ 463 w 825"/>
                <a:gd name="T55" fmla="*/ 7 h 1070"/>
                <a:gd name="T56" fmla="*/ 439 w 825"/>
                <a:gd name="T57" fmla="*/ 1 h 1070"/>
                <a:gd name="T58" fmla="*/ 413 w 825"/>
                <a:gd name="T59" fmla="*/ 0 h 1070"/>
                <a:gd name="T60" fmla="*/ 399 w 825"/>
                <a:gd name="T61" fmla="*/ 0 h 1070"/>
                <a:gd name="T62" fmla="*/ 375 w 825"/>
                <a:gd name="T63" fmla="*/ 4 h 1070"/>
                <a:gd name="T64" fmla="*/ 351 w 825"/>
                <a:gd name="T65" fmla="*/ 9 h 1070"/>
                <a:gd name="T66" fmla="*/ 330 w 825"/>
                <a:gd name="T67" fmla="*/ 18 h 1070"/>
                <a:gd name="T68" fmla="*/ 312 w 825"/>
                <a:gd name="T69" fmla="*/ 29 h 1070"/>
                <a:gd name="T70" fmla="*/ 299 w 825"/>
                <a:gd name="T71" fmla="*/ 40 h 1070"/>
                <a:gd name="T72" fmla="*/ 288 w 825"/>
                <a:gd name="T73" fmla="*/ 55 h 1070"/>
                <a:gd name="T74" fmla="*/ 283 w 825"/>
                <a:gd name="T75" fmla="*/ 69 h 1070"/>
                <a:gd name="T76" fmla="*/ 282 w 825"/>
                <a:gd name="T77" fmla="*/ 80 h 1070"/>
                <a:gd name="T78" fmla="*/ 142 w 825"/>
                <a:gd name="T79" fmla="*/ 145 h 1070"/>
                <a:gd name="T80" fmla="*/ 0 w 825"/>
                <a:gd name="T81" fmla="*/ 1070 h 1070"/>
                <a:gd name="T82" fmla="*/ 522 w 825"/>
                <a:gd name="T83" fmla="*/ 1070 h 1070"/>
                <a:gd name="T84" fmla="*/ 513 w 825"/>
                <a:gd name="T85" fmla="*/ 1041 h 1070"/>
                <a:gd name="T86" fmla="*/ 509 w 825"/>
                <a:gd name="T87" fmla="*/ 1027 h 1070"/>
                <a:gd name="T88" fmla="*/ 505 w 825"/>
                <a:gd name="T89" fmla="*/ 996 h 1070"/>
                <a:gd name="T90" fmla="*/ 505 w 825"/>
                <a:gd name="T91" fmla="*/ 981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5" h="1070">
                  <a:moveTo>
                    <a:pt x="505" y="981"/>
                  </a:moveTo>
                  <a:lnTo>
                    <a:pt x="505" y="981"/>
                  </a:lnTo>
                  <a:lnTo>
                    <a:pt x="505" y="980"/>
                  </a:lnTo>
                  <a:lnTo>
                    <a:pt x="369" y="980"/>
                  </a:lnTo>
                  <a:lnTo>
                    <a:pt x="106" y="696"/>
                  </a:lnTo>
                  <a:lnTo>
                    <a:pt x="106" y="232"/>
                  </a:lnTo>
                  <a:lnTo>
                    <a:pt x="202" y="232"/>
                  </a:lnTo>
                  <a:lnTo>
                    <a:pt x="202" y="231"/>
                  </a:lnTo>
                  <a:lnTo>
                    <a:pt x="202" y="231"/>
                  </a:lnTo>
                  <a:lnTo>
                    <a:pt x="202" y="151"/>
                  </a:lnTo>
                  <a:lnTo>
                    <a:pt x="189" y="151"/>
                  </a:lnTo>
                  <a:lnTo>
                    <a:pt x="189" y="101"/>
                  </a:lnTo>
                  <a:lnTo>
                    <a:pt x="231" y="101"/>
                  </a:lnTo>
                  <a:lnTo>
                    <a:pt x="231" y="151"/>
                  </a:lnTo>
                  <a:lnTo>
                    <a:pt x="219" y="151"/>
                  </a:lnTo>
                  <a:lnTo>
                    <a:pt x="219" y="231"/>
                  </a:lnTo>
                  <a:lnTo>
                    <a:pt x="618" y="231"/>
                  </a:lnTo>
                  <a:lnTo>
                    <a:pt x="618" y="151"/>
                  </a:lnTo>
                  <a:lnTo>
                    <a:pt x="606" y="151"/>
                  </a:lnTo>
                  <a:lnTo>
                    <a:pt x="606" y="101"/>
                  </a:lnTo>
                  <a:lnTo>
                    <a:pt x="648" y="101"/>
                  </a:lnTo>
                  <a:lnTo>
                    <a:pt x="648" y="151"/>
                  </a:lnTo>
                  <a:lnTo>
                    <a:pt x="635" y="151"/>
                  </a:lnTo>
                  <a:lnTo>
                    <a:pt x="635" y="231"/>
                  </a:lnTo>
                  <a:lnTo>
                    <a:pt x="635" y="232"/>
                  </a:lnTo>
                  <a:lnTo>
                    <a:pt x="730" y="232"/>
                  </a:lnTo>
                  <a:lnTo>
                    <a:pt x="730" y="521"/>
                  </a:lnTo>
                  <a:lnTo>
                    <a:pt x="730" y="576"/>
                  </a:lnTo>
                  <a:lnTo>
                    <a:pt x="730" y="631"/>
                  </a:lnTo>
                  <a:lnTo>
                    <a:pt x="730" y="741"/>
                  </a:lnTo>
                  <a:lnTo>
                    <a:pt x="730" y="741"/>
                  </a:lnTo>
                  <a:lnTo>
                    <a:pt x="747" y="741"/>
                  </a:lnTo>
                  <a:lnTo>
                    <a:pt x="747" y="741"/>
                  </a:lnTo>
                  <a:lnTo>
                    <a:pt x="766" y="741"/>
                  </a:lnTo>
                  <a:lnTo>
                    <a:pt x="787" y="743"/>
                  </a:lnTo>
                  <a:lnTo>
                    <a:pt x="807" y="748"/>
                  </a:lnTo>
                  <a:lnTo>
                    <a:pt x="825" y="754"/>
                  </a:lnTo>
                  <a:lnTo>
                    <a:pt x="825" y="145"/>
                  </a:lnTo>
                  <a:lnTo>
                    <a:pt x="685" y="145"/>
                  </a:lnTo>
                  <a:lnTo>
                    <a:pt x="684" y="145"/>
                  </a:lnTo>
                  <a:lnTo>
                    <a:pt x="684" y="80"/>
                  </a:lnTo>
                  <a:lnTo>
                    <a:pt x="543" y="80"/>
                  </a:lnTo>
                  <a:lnTo>
                    <a:pt x="543" y="77"/>
                  </a:lnTo>
                  <a:lnTo>
                    <a:pt x="543" y="77"/>
                  </a:lnTo>
                  <a:lnTo>
                    <a:pt x="543" y="69"/>
                  </a:lnTo>
                  <a:lnTo>
                    <a:pt x="540" y="61"/>
                  </a:lnTo>
                  <a:lnTo>
                    <a:pt x="538" y="55"/>
                  </a:lnTo>
                  <a:lnTo>
                    <a:pt x="533" y="47"/>
                  </a:lnTo>
                  <a:lnTo>
                    <a:pt x="527" y="40"/>
                  </a:lnTo>
                  <a:lnTo>
                    <a:pt x="521" y="34"/>
                  </a:lnTo>
                  <a:lnTo>
                    <a:pt x="513" y="29"/>
                  </a:lnTo>
                  <a:lnTo>
                    <a:pt x="505" y="22"/>
                  </a:lnTo>
                  <a:lnTo>
                    <a:pt x="496" y="18"/>
                  </a:lnTo>
                  <a:lnTo>
                    <a:pt x="486" y="13"/>
                  </a:lnTo>
                  <a:lnTo>
                    <a:pt x="475" y="9"/>
                  </a:lnTo>
                  <a:lnTo>
                    <a:pt x="463" y="7"/>
                  </a:lnTo>
                  <a:lnTo>
                    <a:pt x="452" y="4"/>
                  </a:lnTo>
                  <a:lnTo>
                    <a:pt x="439" y="1"/>
                  </a:lnTo>
                  <a:lnTo>
                    <a:pt x="426" y="0"/>
                  </a:lnTo>
                  <a:lnTo>
                    <a:pt x="413" y="0"/>
                  </a:lnTo>
                  <a:lnTo>
                    <a:pt x="413" y="0"/>
                  </a:lnTo>
                  <a:lnTo>
                    <a:pt x="399" y="0"/>
                  </a:lnTo>
                  <a:lnTo>
                    <a:pt x="386" y="1"/>
                  </a:lnTo>
                  <a:lnTo>
                    <a:pt x="375" y="4"/>
                  </a:lnTo>
                  <a:lnTo>
                    <a:pt x="362" y="7"/>
                  </a:lnTo>
                  <a:lnTo>
                    <a:pt x="351" y="9"/>
                  </a:lnTo>
                  <a:lnTo>
                    <a:pt x="339" y="13"/>
                  </a:lnTo>
                  <a:lnTo>
                    <a:pt x="330" y="18"/>
                  </a:lnTo>
                  <a:lnTo>
                    <a:pt x="321" y="22"/>
                  </a:lnTo>
                  <a:lnTo>
                    <a:pt x="312" y="29"/>
                  </a:lnTo>
                  <a:lnTo>
                    <a:pt x="305" y="34"/>
                  </a:lnTo>
                  <a:lnTo>
                    <a:pt x="299" y="40"/>
                  </a:lnTo>
                  <a:lnTo>
                    <a:pt x="292" y="47"/>
                  </a:lnTo>
                  <a:lnTo>
                    <a:pt x="288" y="55"/>
                  </a:lnTo>
                  <a:lnTo>
                    <a:pt x="286" y="61"/>
                  </a:lnTo>
                  <a:lnTo>
                    <a:pt x="283" y="69"/>
                  </a:lnTo>
                  <a:lnTo>
                    <a:pt x="282" y="77"/>
                  </a:lnTo>
                  <a:lnTo>
                    <a:pt x="282" y="80"/>
                  </a:lnTo>
                  <a:lnTo>
                    <a:pt x="142" y="80"/>
                  </a:lnTo>
                  <a:lnTo>
                    <a:pt x="142" y="145"/>
                  </a:lnTo>
                  <a:lnTo>
                    <a:pt x="0" y="145"/>
                  </a:lnTo>
                  <a:lnTo>
                    <a:pt x="0" y="1070"/>
                  </a:lnTo>
                  <a:lnTo>
                    <a:pt x="522" y="1070"/>
                  </a:lnTo>
                  <a:lnTo>
                    <a:pt x="522" y="1070"/>
                  </a:lnTo>
                  <a:lnTo>
                    <a:pt x="517" y="1055"/>
                  </a:lnTo>
                  <a:lnTo>
                    <a:pt x="513" y="1041"/>
                  </a:lnTo>
                  <a:lnTo>
                    <a:pt x="513" y="1041"/>
                  </a:lnTo>
                  <a:lnTo>
                    <a:pt x="509" y="1027"/>
                  </a:lnTo>
                  <a:lnTo>
                    <a:pt x="508" y="1012"/>
                  </a:lnTo>
                  <a:lnTo>
                    <a:pt x="505" y="996"/>
                  </a:lnTo>
                  <a:lnTo>
                    <a:pt x="505" y="981"/>
                  </a:lnTo>
                  <a:lnTo>
                    <a:pt x="505" y="98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1" name="Freeform 11484"/>
            <p:cNvSpPr/>
            <p:nvPr/>
          </p:nvSpPr>
          <p:spPr bwMode="auto">
            <a:xfrm>
              <a:off x="7327621" y="5219925"/>
              <a:ext cx="200962" cy="240546"/>
            </a:xfrm>
            <a:custGeom>
              <a:avLst/>
              <a:gdLst>
                <a:gd name="T0" fmla="*/ 530 w 530"/>
                <a:gd name="T1" fmla="*/ 458 h 633"/>
                <a:gd name="T2" fmla="*/ 530 w 530"/>
                <a:gd name="T3" fmla="*/ 286 h 633"/>
                <a:gd name="T4" fmla="*/ 530 w 530"/>
                <a:gd name="T5" fmla="*/ 231 h 633"/>
                <a:gd name="T6" fmla="*/ 530 w 530"/>
                <a:gd name="T7" fmla="*/ 0 h 633"/>
                <a:gd name="T8" fmla="*/ 0 w 530"/>
                <a:gd name="T9" fmla="*/ 0 h 633"/>
                <a:gd name="T10" fmla="*/ 0 w 530"/>
                <a:gd name="T11" fmla="*/ 396 h 633"/>
                <a:gd name="T12" fmla="*/ 231 w 530"/>
                <a:gd name="T13" fmla="*/ 396 h 633"/>
                <a:gd name="T14" fmla="*/ 231 w 530"/>
                <a:gd name="T15" fmla="*/ 633 h 633"/>
                <a:gd name="T16" fmla="*/ 359 w 530"/>
                <a:gd name="T17" fmla="*/ 633 h 633"/>
                <a:gd name="T18" fmla="*/ 359 w 530"/>
                <a:gd name="T19" fmla="*/ 633 h 633"/>
                <a:gd name="T20" fmla="*/ 364 w 530"/>
                <a:gd name="T21" fmla="*/ 618 h 633"/>
                <a:gd name="T22" fmla="*/ 369 w 530"/>
                <a:gd name="T23" fmla="*/ 602 h 633"/>
                <a:gd name="T24" fmla="*/ 376 w 530"/>
                <a:gd name="T25" fmla="*/ 588 h 633"/>
                <a:gd name="T26" fmla="*/ 382 w 530"/>
                <a:gd name="T27" fmla="*/ 573 h 633"/>
                <a:gd name="T28" fmla="*/ 391 w 530"/>
                <a:gd name="T29" fmla="*/ 560 h 633"/>
                <a:gd name="T30" fmla="*/ 401 w 530"/>
                <a:gd name="T31" fmla="*/ 547 h 633"/>
                <a:gd name="T32" fmla="*/ 410 w 530"/>
                <a:gd name="T33" fmla="*/ 534 h 633"/>
                <a:gd name="T34" fmla="*/ 421 w 530"/>
                <a:gd name="T35" fmla="*/ 522 h 633"/>
                <a:gd name="T36" fmla="*/ 432 w 530"/>
                <a:gd name="T37" fmla="*/ 512 h 633"/>
                <a:gd name="T38" fmla="*/ 445 w 530"/>
                <a:gd name="T39" fmla="*/ 501 h 633"/>
                <a:gd name="T40" fmla="*/ 458 w 530"/>
                <a:gd name="T41" fmla="*/ 492 h 633"/>
                <a:gd name="T42" fmla="*/ 471 w 530"/>
                <a:gd name="T43" fmla="*/ 483 h 633"/>
                <a:gd name="T44" fmla="*/ 485 w 530"/>
                <a:gd name="T45" fmla="*/ 475 h 633"/>
                <a:gd name="T46" fmla="*/ 500 w 530"/>
                <a:gd name="T47" fmla="*/ 469 h 633"/>
                <a:gd name="T48" fmla="*/ 514 w 530"/>
                <a:gd name="T49" fmla="*/ 464 h 633"/>
                <a:gd name="T50" fmla="*/ 530 w 530"/>
                <a:gd name="T51" fmla="*/ 458 h 633"/>
                <a:gd name="T52" fmla="*/ 530 w 530"/>
                <a:gd name="T53" fmla="*/ 458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0" h="633">
                  <a:moveTo>
                    <a:pt x="530" y="458"/>
                  </a:moveTo>
                  <a:lnTo>
                    <a:pt x="530" y="286"/>
                  </a:lnTo>
                  <a:lnTo>
                    <a:pt x="530" y="231"/>
                  </a:lnTo>
                  <a:lnTo>
                    <a:pt x="530" y="0"/>
                  </a:lnTo>
                  <a:lnTo>
                    <a:pt x="0" y="0"/>
                  </a:lnTo>
                  <a:lnTo>
                    <a:pt x="0" y="396"/>
                  </a:lnTo>
                  <a:lnTo>
                    <a:pt x="231" y="396"/>
                  </a:lnTo>
                  <a:lnTo>
                    <a:pt x="231" y="633"/>
                  </a:lnTo>
                  <a:lnTo>
                    <a:pt x="359" y="633"/>
                  </a:lnTo>
                  <a:lnTo>
                    <a:pt x="359" y="633"/>
                  </a:lnTo>
                  <a:lnTo>
                    <a:pt x="364" y="618"/>
                  </a:lnTo>
                  <a:lnTo>
                    <a:pt x="369" y="602"/>
                  </a:lnTo>
                  <a:lnTo>
                    <a:pt x="376" y="588"/>
                  </a:lnTo>
                  <a:lnTo>
                    <a:pt x="382" y="573"/>
                  </a:lnTo>
                  <a:lnTo>
                    <a:pt x="391" y="560"/>
                  </a:lnTo>
                  <a:lnTo>
                    <a:pt x="401" y="547"/>
                  </a:lnTo>
                  <a:lnTo>
                    <a:pt x="410" y="534"/>
                  </a:lnTo>
                  <a:lnTo>
                    <a:pt x="421" y="522"/>
                  </a:lnTo>
                  <a:lnTo>
                    <a:pt x="432" y="512"/>
                  </a:lnTo>
                  <a:lnTo>
                    <a:pt x="445" y="501"/>
                  </a:lnTo>
                  <a:lnTo>
                    <a:pt x="458" y="492"/>
                  </a:lnTo>
                  <a:lnTo>
                    <a:pt x="471" y="483"/>
                  </a:lnTo>
                  <a:lnTo>
                    <a:pt x="485" y="475"/>
                  </a:lnTo>
                  <a:lnTo>
                    <a:pt x="500" y="469"/>
                  </a:lnTo>
                  <a:lnTo>
                    <a:pt x="514" y="464"/>
                  </a:lnTo>
                  <a:lnTo>
                    <a:pt x="530" y="458"/>
                  </a:lnTo>
                  <a:lnTo>
                    <a:pt x="530" y="45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cxnSp>
        <p:nvCxnSpPr>
          <p:cNvPr id="9" name="Straight Connector 8"/>
          <p:cNvCxnSpPr/>
          <p:nvPr/>
        </p:nvCxnSpPr>
        <p:spPr>
          <a:xfrm>
            <a:off x="1553029" y="2020144"/>
            <a:ext cx="4339771"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图片占位符 5"/>
          <p:cNvPicPr>
            <a:picLocks noGrp="1" noChangeAspect="1"/>
          </p:cNvPicPr>
          <p:nvPr>
            <p:ph type="pic" sz="quarter" idx="14"/>
          </p:nvPr>
        </p:nvPicPr>
        <p:blipFill>
          <a:blip r:embed="rId1">
            <a:extLst>
              <a:ext uri="{28A0092B-C50C-407E-A947-70E740481C1C}">
                <a14:useLocalDpi xmlns:a14="http://schemas.microsoft.com/office/drawing/2010/main" val="0"/>
              </a:ext>
            </a:extLst>
          </a:blip>
          <a:srcRect l="18887" r="18887"/>
          <a:stretch>
            <a:fillRect/>
          </a:stretch>
        </p:blipFill>
        <p:spPr/>
      </p:pic>
      <p:sp>
        <p:nvSpPr>
          <p:cNvPr id="5" name="Rectangle 4"/>
          <p:cNvSpPr/>
          <p:nvPr/>
        </p:nvSpPr>
        <p:spPr>
          <a:xfrm>
            <a:off x="1447800" y="1276278"/>
            <a:ext cx="3747372" cy="4293157"/>
          </a:xfrm>
          <a:prstGeom prst="rect">
            <a:avLst/>
          </a:prstGeom>
          <a:pattFill prst="ltUpDiag">
            <a:fgClr>
              <a:schemeClr val="tx1">
                <a:lumMod val="50000"/>
                <a:lumOff val="50000"/>
              </a:schemeClr>
            </a:fgClr>
            <a:bgClr>
              <a:schemeClr val="tx1">
                <a:lumMod val="75000"/>
                <a:lumOff val="25000"/>
              </a:schemeClr>
            </a:bgClr>
          </a:patt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16" name="Rectangle 15"/>
          <p:cNvSpPr/>
          <p:nvPr/>
        </p:nvSpPr>
        <p:spPr>
          <a:xfrm>
            <a:off x="1856911" y="3551538"/>
            <a:ext cx="3071023" cy="461665"/>
          </a:xfrm>
          <a:prstGeom prst="rect">
            <a:avLst/>
          </a:prstGeom>
        </p:spPr>
        <p:txBody>
          <a:bodyPr wrap="square">
            <a:spAutoFit/>
          </a:bodyPr>
          <a:lstStyle/>
          <a:p>
            <a:pPr algn="ctr">
              <a:buClr>
                <a:srgbClr val="E24848"/>
              </a:buClr>
              <a:defRPr/>
            </a:pPr>
            <a:r>
              <a:rPr lang="en-US" sz="1200" noProof="1">
                <a:solidFill>
                  <a:schemeClr val="bg1">
                    <a:lumMod val="8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bg1">
                  <a:lumMod val="85000"/>
                </a:schemeClr>
              </a:solidFill>
              <a:latin typeface="+mj-lt"/>
              <a:ea typeface="Roboto Light" panose="02000000000000000000" pitchFamily="2" charset="0"/>
              <a:cs typeface="Arial" panose="020B0604020202020204" pitchFamily="34" charset="0"/>
            </a:endParaRPr>
          </a:p>
        </p:txBody>
      </p:sp>
      <p:cxnSp>
        <p:nvCxnSpPr>
          <p:cNvPr id="9" name="Straight Connector 8"/>
          <p:cNvCxnSpPr/>
          <p:nvPr/>
        </p:nvCxnSpPr>
        <p:spPr>
          <a:xfrm>
            <a:off x="1739229" y="27686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739229" y="42164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028023" y="2895641"/>
            <a:ext cx="2801429" cy="830997"/>
          </a:xfrm>
          <a:prstGeom prst="rect">
            <a:avLst/>
          </a:prstGeom>
        </p:spPr>
        <p:txBody>
          <a:bodyPr vert="horz" lIns="91440" tIns="45720" rIns="91440" bIns="45720" rtlCol="0" anchor="ctr">
            <a:noAutofit/>
          </a:bodyPr>
          <a:lstStyle/>
          <a:p>
            <a:pPr algn="ctr" defTabSz="913765">
              <a:spcBef>
                <a:spcPct val="0"/>
              </a:spcBef>
            </a:pPr>
            <a:r>
              <a:rPr lang="zh-CN" altLang="en-US" sz="4800" dirty="0">
                <a:solidFill>
                  <a:schemeClr val="bg1">
                    <a:lumMod val="85000"/>
                  </a:schemeClr>
                </a:solidFill>
                <a:latin typeface="Bebas Neue" panose="020B0606020202050201" pitchFamily="34" charset="0"/>
                <a:ea typeface="Roboto Light" panose="02000000000000000000" pitchFamily="2" charset="0"/>
                <a:cs typeface="Lato Light" charset="0"/>
              </a:rPr>
              <a:t>组员介绍</a:t>
            </a:r>
            <a:endParaRPr lang="zh-CN" altLang="en-US" sz="4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
        <p:nvSpPr>
          <p:cNvPr id="24" name="Rectangle 23"/>
          <p:cNvSpPr/>
          <p:nvPr/>
        </p:nvSpPr>
        <p:spPr>
          <a:xfrm>
            <a:off x="7442005" y="2875002"/>
            <a:ext cx="2928218" cy="1107996"/>
          </a:xfrm>
          <a:prstGeom prst="rect">
            <a:avLst/>
          </a:prstGeom>
        </p:spPr>
        <p:txBody>
          <a:bodyPr wrap="square">
            <a:spAutoFit/>
          </a:bodyPr>
          <a:lstStyle/>
          <a:p>
            <a:pPr>
              <a:buClr>
                <a:srgbClr val="E24848"/>
              </a:buClr>
              <a:defRPr/>
            </a:pPr>
            <a:r>
              <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rPr>
              <a:t>Nulla facilisi nam auctor metus vitae quam gravida, ac vehicula elit mollis. Nunc elementum fringilla nisl, a ornare arcu condimentum a. Nulla euismod congue arcu quis feugiat. Phasellus porttitor felis mauris, sed suscipit quam egestas nec. </a:t>
            </a:r>
            <a:endPar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endParaRPr>
          </a:p>
        </p:txBody>
      </p:sp>
      <p:sp>
        <p:nvSpPr>
          <p:cNvPr id="10" name="Rectangle 16"/>
          <p:cNvSpPr/>
          <p:nvPr/>
        </p:nvSpPr>
        <p:spPr>
          <a:xfrm>
            <a:off x="1939049" y="1757722"/>
            <a:ext cx="2801429" cy="830997"/>
          </a:xfrm>
          <a:prstGeom prst="rect">
            <a:avLst/>
          </a:prstGeom>
        </p:spPr>
        <p:txBody>
          <a:bodyPr vert="horz" lIns="91440" tIns="45720" rIns="91440" bIns="45720" rtlCol="0" anchor="ctr">
            <a:noAutofit/>
          </a:bodyPr>
          <a:lstStyle/>
          <a:p>
            <a:pPr algn="ctr" defTabSz="913765">
              <a:spcBef>
                <a:spcPct val="0"/>
              </a:spcBef>
            </a:pPr>
            <a:r>
              <a:rPr lang="en-US" altLang="zh-CN" sz="8800" dirty="0">
                <a:solidFill>
                  <a:schemeClr val="bg1">
                    <a:lumMod val="85000"/>
                  </a:schemeClr>
                </a:solidFill>
                <a:latin typeface="Bebas Neue" panose="020B0606020202050201" pitchFamily="34" charset="0"/>
                <a:ea typeface="Roboto Light" panose="02000000000000000000" pitchFamily="2" charset="0"/>
                <a:cs typeface="Lato Light" charset="0"/>
              </a:rPr>
              <a:t>01</a:t>
            </a:r>
            <a:endParaRPr lang="zh-CN" altLang="en-US" sz="8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ounded Rectangle 69"/>
          <p:cNvSpPr/>
          <p:nvPr/>
        </p:nvSpPr>
        <p:spPr>
          <a:xfrm>
            <a:off x="8992235" y="1094740"/>
            <a:ext cx="2257425" cy="4999355"/>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defTabSz="913765">
              <a:defRPr/>
            </a:pPr>
            <a:endParaRPr lang="en-US" sz="900" kern="0">
              <a:solidFill>
                <a:sysClr val="windowText" lastClr="000000"/>
              </a:solidFill>
            </a:endParaRPr>
          </a:p>
        </p:txBody>
      </p:sp>
      <p:sp>
        <p:nvSpPr>
          <p:cNvPr id="31" name="Rounded Rectangle 69"/>
          <p:cNvSpPr/>
          <p:nvPr/>
        </p:nvSpPr>
        <p:spPr>
          <a:xfrm>
            <a:off x="5952490" y="1137920"/>
            <a:ext cx="2257425" cy="4999355"/>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defTabSz="913765">
              <a:defRPr/>
            </a:pPr>
            <a:endParaRPr lang="en-US" sz="900" kern="0">
              <a:solidFill>
                <a:sysClr val="windowText" lastClr="000000"/>
              </a:solidFill>
            </a:endParaRPr>
          </a:p>
        </p:txBody>
      </p:sp>
      <p:sp>
        <p:nvSpPr>
          <p:cNvPr id="30" name="Rounded Rectangle 69"/>
          <p:cNvSpPr/>
          <p:nvPr/>
        </p:nvSpPr>
        <p:spPr>
          <a:xfrm>
            <a:off x="3270885" y="1137920"/>
            <a:ext cx="2257425" cy="4999355"/>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defTabSz="913765">
              <a:defRPr/>
            </a:pPr>
            <a:endParaRPr lang="en-US" sz="900" kern="0">
              <a:solidFill>
                <a:sysClr val="windowText" lastClr="000000"/>
              </a:solidFill>
            </a:endParaRPr>
          </a:p>
        </p:txBody>
      </p:sp>
      <p:sp>
        <p:nvSpPr>
          <p:cNvPr id="70" name="Rounded Rectangle 69"/>
          <p:cNvSpPr/>
          <p:nvPr/>
        </p:nvSpPr>
        <p:spPr>
          <a:xfrm>
            <a:off x="570865" y="1137920"/>
            <a:ext cx="2257425" cy="4999355"/>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defTabSz="913765">
              <a:defRPr/>
            </a:pPr>
            <a:endParaRPr lang="en-US" sz="900" kern="0">
              <a:solidFill>
                <a:sysClr val="windowText" lastClr="000000"/>
              </a:solidFill>
            </a:endParaRPr>
          </a:p>
        </p:txBody>
      </p:sp>
      <p:sp>
        <p:nvSpPr>
          <p:cNvPr id="10"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sz="4000" noProof="1">
                <a:solidFill>
                  <a:prstClr val="black">
                    <a:lumMod val="85000"/>
                    <a:lumOff val="15000"/>
                  </a:prstClr>
                </a:solidFill>
                <a:latin typeface="华文行楷" panose="02010800040101010101" charset="-122"/>
                <a:ea typeface="华文行楷" panose="02010800040101010101" charset="-122"/>
                <a:cs typeface="Lato Light" charset="0"/>
              </a:rPr>
              <a:t>虫二成员</a:t>
            </a:r>
            <a:endParaRPr lang="zh-CN" sz="4000" noProof="1">
              <a:solidFill>
                <a:prstClr val="black">
                  <a:lumMod val="85000"/>
                  <a:lumOff val="15000"/>
                </a:prstClr>
              </a:solidFill>
              <a:latin typeface="华文行楷" panose="02010800040101010101" charset="-122"/>
              <a:ea typeface="华文行楷" panose="02010800040101010101" charset="-122"/>
              <a:cs typeface="Lato Light" charset="0"/>
            </a:endParaRPr>
          </a:p>
        </p:txBody>
      </p:sp>
      <p:sp>
        <p:nvSpPr>
          <p:cNvPr id="11"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4" name="矩形 3"/>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图片 8"/>
          <p:cNvPicPr>
            <a:picLocks noChangeAspect="1"/>
          </p:cNvPicPr>
          <p:nvPr/>
        </p:nvPicPr>
        <p:blipFill>
          <a:blip r:embed="rId1"/>
          <a:stretch>
            <a:fillRect/>
          </a:stretch>
        </p:blipFill>
        <p:spPr>
          <a:xfrm>
            <a:off x="3685540" y="1460500"/>
            <a:ext cx="1428115" cy="1383665"/>
          </a:xfrm>
          <a:prstGeom prst="rect">
            <a:avLst/>
          </a:prstGeom>
        </p:spPr>
      </p:pic>
      <p:pic>
        <p:nvPicPr>
          <p:cNvPr id="12" name="图片 11"/>
          <p:cNvPicPr>
            <a:picLocks noChangeAspect="1"/>
          </p:cNvPicPr>
          <p:nvPr/>
        </p:nvPicPr>
        <p:blipFill>
          <a:blip r:embed="rId2"/>
          <a:stretch>
            <a:fillRect/>
          </a:stretch>
        </p:blipFill>
        <p:spPr>
          <a:xfrm>
            <a:off x="1047115" y="1478915"/>
            <a:ext cx="1304925" cy="1346835"/>
          </a:xfrm>
          <a:prstGeom prst="rect">
            <a:avLst/>
          </a:prstGeom>
        </p:spPr>
      </p:pic>
      <p:pic>
        <p:nvPicPr>
          <p:cNvPr id="13" name="图片 12"/>
          <p:cNvPicPr>
            <a:picLocks noChangeAspect="1"/>
          </p:cNvPicPr>
          <p:nvPr/>
        </p:nvPicPr>
        <p:blipFill>
          <a:blip r:embed="rId3"/>
          <a:stretch>
            <a:fillRect/>
          </a:stretch>
        </p:blipFill>
        <p:spPr>
          <a:xfrm>
            <a:off x="6362065" y="1460500"/>
            <a:ext cx="1414145" cy="1383030"/>
          </a:xfrm>
          <a:prstGeom prst="rect">
            <a:avLst/>
          </a:prstGeom>
        </p:spPr>
      </p:pic>
      <p:pic>
        <p:nvPicPr>
          <p:cNvPr id="14" name="图片 13"/>
          <p:cNvPicPr>
            <a:picLocks noChangeAspect="1"/>
          </p:cNvPicPr>
          <p:nvPr/>
        </p:nvPicPr>
        <p:blipFill>
          <a:blip r:embed="rId4"/>
          <a:stretch>
            <a:fillRect/>
          </a:stretch>
        </p:blipFill>
        <p:spPr>
          <a:xfrm>
            <a:off x="9404985" y="1426210"/>
            <a:ext cx="1432560" cy="1417320"/>
          </a:xfrm>
          <a:prstGeom prst="rect">
            <a:avLst/>
          </a:prstGeom>
        </p:spPr>
      </p:pic>
      <p:sp>
        <p:nvSpPr>
          <p:cNvPr id="23" name="文本框 22"/>
          <p:cNvSpPr txBox="1"/>
          <p:nvPr/>
        </p:nvSpPr>
        <p:spPr>
          <a:xfrm>
            <a:off x="9420225" y="2939415"/>
            <a:ext cx="1402080" cy="583565"/>
          </a:xfrm>
          <a:prstGeom prst="rect">
            <a:avLst/>
          </a:prstGeom>
          <a:noFill/>
        </p:spPr>
        <p:txBody>
          <a:bodyPr wrap="none" rtlCol="0">
            <a:spAutoFit/>
          </a:bodyPr>
          <a:p>
            <a:r>
              <a:rPr lang="zh-CN" altLang="en-US" sz="3200">
                <a:solidFill>
                  <a:schemeClr val="tx2"/>
                </a:solidFill>
                <a:latin typeface="华文行楷" panose="02010800040101010101" charset="-122"/>
                <a:ea typeface="华文行楷" panose="02010800040101010101" charset="-122"/>
              </a:rPr>
              <a:t>韩正勇</a:t>
            </a:r>
            <a:endParaRPr lang="zh-CN" altLang="en-US" sz="3200">
              <a:solidFill>
                <a:schemeClr val="tx2"/>
              </a:solidFill>
              <a:latin typeface="华文行楷" panose="02010800040101010101" charset="-122"/>
              <a:ea typeface="华文行楷" panose="02010800040101010101" charset="-122"/>
            </a:endParaRPr>
          </a:p>
        </p:txBody>
      </p:sp>
      <p:sp>
        <p:nvSpPr>
          <p:cNvPr id="25" name="文本框 24"/>
          <p:cNvSpPr txBox="1"/>
          <p:nvPr/>
        </p:nvSpPr>
        <p:spPr>
          <a:xfrm>
            <a:off x="949960" y="2939415"/>
            <a:ext cx="1402080" cy="583565"/>
          </a:xfrm>
          <a:prstGeom prst="rect">
            <a:avLst/>
          </a:prstGeom>
          <a:noFill/>
        </p:spPr>
        <p:txBody>
          <a:bodyPr wrap="none" rtlCol="0">
            <a:spAutoFit/>
          </a:bodyPr>
          <a:p>
            <a:r>
              <a:rPr lang="zh-CN" altLang="en-US" sz="3200">
                <a:solidFill>
                  <a:schemeClr val="tx2"/>
                </a:solidFill>
                <a:latin typeface="华文行楷" panose="02010800040101010101" charset="-122"/>
                <a:ea typeface="华文行楷" panose="02010800040101010101" charset="-122"/>
              </a:rPr>
              <a:t>占文泽</a:t>
            </a:r>
            <a:endParaRPr lang="en-US" altLang="zh-CN" sz="3200">
              <a:solidFill>
                <a:schemeClr val="tx2"/>
              </a:solidFill>
              <a:latin typeface="华文行楷" panose="02010800040101010101" charset="-122"/>
              <a:ea typeface="华文行楷" panose="02010800040101010101" charset="-122"/>
            </a:endParaRPr>
          </a:p>
        </p:txBody>
      </p:sp>
      <p:sp>
        <p:nvSpPr>
          <p:cNvPr id="26" name="文本框 25"/>
          <p:cNvSpPr txBox="1"/>
          <p:nvPr/>
        </p:nvSpPr>
        <p:spPr>
          <a:xfrm>
            <a:off x="3901440" y="2939415"/>
            <a:ext cx="995680" cy="583565"/>
          </a:xfrm>
          <a:prstGeom prst="rect">
            <a:avLst/>
          </a:prstGeom>
          <a:noFill/>
        </p:spPr>
        <p:txBody>
          <a:bodyPr wrap="none" rtlCol="0">
            <a:spAutoFit/>
          </a:bodyPr>
          <a:p>
            <a:r>
              <a:rPr lang="zh-CN" altLang="en-US" sz="3200">
                <a:solidFill>
                  <a:schemeClr val="tx2"/>
                </a:solidFill>
                <a:latin typeface="华文行楷" panose="02010800040101010101" charset="-122"/>
                <a:ea typeface="华文行楷" panose="02010800040101010101" charset="-122"/>
              </a:rPr>
              <a:t>钟垚</a:t>
            </a:r>
            <a:endParaRPr lang="zh-CN" altLang="en-US" sz="3200">
              <a:solidFill>
                <a:schemeClr val="tx2"/>
              </a:solidFill>
              <a:latin typeface="华文行楷" panose="02010800040101010101" charset="-122"/>
              <a:ea typeface="华文行楷" panose="02010800040101010101" charset="-122"/>
            </a:endParaRPr>
          </a:p>
        </p:txBody>
      </p:sp>
      <p:sp>
        <p:nvSpPr>
          <p:cNvPr id="27" name="文本框 26"/>
          <p:cNvSpPr txBox="1"/>
          <p:nvPr/>
        </p:nvSpPr>
        <p:spPr>
          <a:xfrm>
            <a:off x="6362065" y="2939415"/>
            <a:ext cx="1402080" cy="583565"/>
          </a:xfrm>
          <a:prstGeom prst="rect">
            <a:avLst/>
          </a:prstGeom>
          <a:noFill/>
        </p:spPr>
        <p:txBody>
          <a:bodyPr wrap="none" rtlCol="0">
            <a:spAutoFit/>
          </a:bodyPr>
          <a:p>
            <a:r>
              <a:rPr lang="zh-CN" altLang="en-US" sz="3200">
                <a:solidFill>
                  <a:schemeClr val="tx2"/>
                </a:solidFill>
                <a:latin typeface="华文行楷" panose="02010800040101010101" charset="-122"/>
                <a:ea typeface="华文行楷" panose="02010800040101010101" charset="-122"/>
              </a:rPr>
              <a:t>靳义达</a:t>
            </a:r>
            <a:endParaRPr lang="en-US" altLang="zh-CN" sz="3200">
              <a:solidFill>
                <a:schemeClr val="tx2"/>
              </a:solidFill>
              <a:latin typeface="华文行楷" panose="02010800040101010101" charset="-122"/>
              <a:ea typeface="华文行楷" panose="02010800040101010101" charset="-122"/>
            </a:endParaRPr>
          </a:p>
        </p:txBody>
      </p:sp>
      <p:sp>
        <p:nvSpPr>
          <p:cNvPr id="34" name="文本框 33"/>
          <p:cNvSpPr txBox="1"/>
          <p:nvPr/>
        </p:nvSpPr>
        <p:spPr>
          <a:xfrm>
            <a:off x="1047115" y="3890010"/>
            <a:ext cx="1438275" cy="2030095"/>
          </a:xfrm>
          <a:prstGeom prst="rect">
            <a:avLst/>
          </a:prstGeom>
          <a:noFill/>
        </p:spPr>
        <p:txBody>
          <a:bodyPr wrap="none" rtlCol="0">
            <a:spAutoFit/>
          </a:bodyPr>
          <a:p>
            <a:r>
              <a:rPr lang="en-US" altLang="zh-CN" b="1">
                <a:solidFill>
                  <a:schemeClr val="tx2"/>
                </a:solidFill>
                <a:latin typeface="华文楷体" panose="02010600040101010101" charset="-122"/>
                <a:ea typeface="华文楷体" panose="02010600040101010101" charset="-122"/>
                <a:cs typeface="华文楷体" panose="02010600040101010101" charset="-122"/>
              </a:rPr>
              <a:t>job:</a:t>
            </a:r>
            <a:r>
              <a:rPr lang="zh-CN" altLang="en-US" b="1">
                <a:solidFill>
                  <a:schemeClr val="tx2"/>
                </a:solidFill>
                <a:latin typeface="华文楷体" panose="02010600040101010101" charset="-122"/>
                <a:ea typeface="华文楷体" panose="02010600040101010101" charset="-122"/>
                <a:cs typeface="华文楷体" panose="02010600040101010101" charset="-122"/>
              </a:rPr>
              <a:t>技术大牛</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职责</a:t>
            </a:r>
            <a:r>
              <a:rPr lang="en-US" altLang="zh-CN" b="1">
                <a:solidFill>
                  <a:schemeClr val="tx2"/>
                </a:solidFill>
                <a:latin typeface="华文楷体" panose="02010600040101010101" charset="-122"/>
                <a:ea typeface="华文楷体" panose="02010600040101010101" charset="-122"/>
                <a:cs typeface="华文楷体" panose="02010600040101010101" charset="-122"/>
              </a:rPr>
              <a:t>:</a:t>
            </a:r>
            <a:endParaRPr lang="en-US" altLang="zh-CN" b="1">
              <a:solidFill>
                <a:schemeClr val="tx2"/>
              </a:solidFill>
              <a:latin typeface="华文楷体" panose="02010600040101010101" charset="-122"/>
              <a:ea typeface="华文楷体" panose="02010600040101010101" charset="-122"/>
              <a:cs typeface="华文楷体" panose="02010600040101010101" charset="-122"/>
            </a:endParaRPr>
          </a:p>
          <a:p>
            <a:r>
              <a:rPr lang="en-US" altLang="zh-CN" b="1">
                <a:solidFill>
                  <a:schemeClr val="tx2"/>
                </a:solidFill>
                <a:latin typeface="华文楷体" panose="02010600040101010101" charset="-122"/>
                <a:ea typeface="华文楷体" panose="02010600040101010101" charset="-122"/>
                <a:cs typeface="华文楷体" panose="02010600040101010101" charset="-122"/>
              </a:rPr>
              <a:t> </a:t>
            </a:r>
            <a:r>
              <a:rPr lang="zh-CN" altLang="en-US" b="1">
                <a:solidFill>
                  <a:schemeClr val="tx2"/>
                </a:solidFill>
                <a:latin typeface="华文楷体" panose="02010600040101010101" charset="-122"/>
                <a:ea typeface="华文楷体" panose="02010600040101010101" charset="-122"/>
                <a:cs typeface="华文楷体" panose="02010600040101010101" charset="-122"/>
              </a:rPr>
              <a:t>负责整体</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 项目的构建</a:t>
            </a:r>
            <a:endParaRPr lang="zh-CN" altLang="en-US">
              <a:latin typeface="华文楷体" panose="02010600040101010101" charset="-122"/>
              <a:ea typeface="华文楷体" panose="02010600040101010101" charset="-122"/>
              <a:cs typeface="华文楷体" panose="02010600040101010101" charset="-122"/>
            </a:endParaRPr>
          </a:p>
          <a:p>
            <a:endParaRPr lang="zh-CN" altLang="en-US">
              <a:latin typeface="华文楷体" panose="02010600040101010101" charset="-122"/>
              <a:ea typeface="华文楷体" panose="02010600040101010101" charset="-122"/>
              <a:cs typeface="华文楷体" panose="02010600040101010101" charset="-122"/>
            </a:endParaRPr>
          </a:p>
        </p:txBody>
      </p:sp>
      <p:sp>
        <p:nvSpPr>
          <p:cNvPr id="35" name="文本框 34"/>
          <p:cNvSpPr txBox="1"/>
          <p:nvPr/>
        </p:nvSpPr>
        <p:spPr>
          <a:xfrm>
            <a:off x="3685540" y="3890010"/>
            <a:ext cx="1558290" cy="2030095"/>
          </a:xfrm>
          <a:prstGeom prst="rect">
            <a:avLst/>
          </a:prstGeom>
          <a:noFill/>
        </p:spPr>
        <p:txBody>
          <a:bodyPr wrap="none" rtlCol="0">
            <a:spAutoFit/>
          </a:bodyPr>
          <a:p>
            <a:r>
              <a:rPr lang="en-US" altLang="zh-CN" b="1">
                <a:solidFill>
                  <a:schemeClr val="tx2"/>
                </a:solidFill>
                <a:latin typeface="华文楷体" panose="02010600040101010101" charset="-122"/>
                <a:ea typeface="华文楷体" panose="02010600040101010101" charset="-122"/>
                <a:cs typeface="华文楷体" panose="02010600040101010101" charset="-122"/>
              </a:rPr>
              <a:t>job:</a:t>
            </a:r>
            <a:r>
              <a:rPr lang="zh-CN" altLang="en-US" b="1">
                <a:solidFill>
                  <a:schemeClr val="tx2"/>
                </a:solidFill>
                <a:latin typeface="华文楷体" panose="02010600040101010101" charset="-122"/>
                <a:ea typeface="华文楷体" panose="02010600040101010101" charset="-122"/>
                <a:cs typeface="华文楷体" panose="02010600040101010101" charset="-122"/>
              </a:rPr>
              <a:t>技术小白</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职责</a:t>
            </a:r>
            <a:r>
              <a:rPr lang="en-US" altLang="zh-CN" b="1">
                <a:solidFill>
                  <a:schemeClr val="tx2"/>
                </a:solidFill>
                <a:latin typeface="华文楷体" panose="02010600040101010101" charset="-122"/>
                <a:ea typeface="华文楷体" panose="02010600040101010101" charset="-122"/>
                <a:cs typeface="华文楷体" panose="02010600040101010101" charset="-122"/>
              </a:rPr>
              <a:t>:</a:t>
            </a:r>
            <a:endParaRPr lang="en-US" altLang="zh-CN"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负责项目整合</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en-US" altLang="zh-CN" b="1">
                <a:solidFill>
                  <a:schemeClr val="tx2"/>
                </a:solidFill>
                <a:latin typeface="华文楷体" panose="02010600040101010101" charset="-122"/>
                <a:ea typeface="华文楷体" panose="02010600040101010101" charset="-122"/>
                <a:cs typeface="华文楷体" panose="02010600040101010101" charset="-122"/>
              </a:rPr>
              <a:t> ppt</a:t>
            </a:r>
            <a:r>
              <a:rPr lang="zh-CN" altLang="en-US" b="1">
                <a:solidFill>
                  <a:schemeClr val="tx2"/>
                </a:solidFill>
                <a:latin typeface="华文楷体" panose="02010600040101010101" charset="-122"/>
                <a:ea typeface="华文楷体" panose="02010600040101010101" charset="-122"/>
                <a:cs typeface="华文楷体" panose="02010600040101010101" charset="-122"/>
              </a:rPr>
              <a:t>及演讲</a:t>
            </a:r>
            <a:endParaRPr lang="zh-CN" altLang="en-US">
              <a:latin typeface="华文楷体" panose="02010600040101010101" charset="-122"/>
              <a:ea typeface="华文楷体" panose="02010600040101010101" charset="-122"/>
              <a:cs typeface="华文楷体" panose="02010600040101010101" charset="-122"/>
            </a:endParaRPr>
          </a:p>
          <a:p>
            <a:endParaRPr lang="zh-CN" altLang="en-US">
              <a:latin typeface="华文楷体" panose="02010600040101010101" charset="-122"/>
              <a:ea typeface="华文楷体" panose="02010600040101010101" charset="-122"/>
              <a:cs typeface="华文楷体" panose="02010600040101010101" charset="-122"/>
            </a:endParaRPr>
          </a:p>
        </p:txBody>
      </p:sp>
      <p:sp>
        <p:nvSpPr>
          <p:cNvPr id="36" name="文本框 35"/>
          <p:cNvSpPr txBox="1"/>
          <p:nvPr/>
        </p:nvSpPr>
        <p:spPr>
          <a:xfrm>
            <a:off x="6325870" y="3890010"/>
            <a:ext cx="1438275" cy="2306955"/>
          </a:xfrm>
          <a:prstGeom prst="rect">
            <a:avLst/>
          </a:prstGeom>
          <a:noFill/>
        </p:spPr>
        <p:txBody>
          <a:bodyPr wrap="none" rtlCol="0">
            <a:spAutoFit/>
          </a:bodyPr>
          <a:p>
            <a:r>
              <a:rPr lang="en-US" altLang="zh-CN" b="1">
                <a:solidFill>
                  <a:schemeClr val="tx2"/>
                </a:solidFill>
                <a:latin typeface="华文楷体" panose="02010600040101010101" charset="-122"/>
                <a:ea typeface="华文楷体" panose="02010600040101010101" charset="-122"/>
                <a:cs typeface="华文楷体" panose="02010600040101010101" charset="-122"/>
              </a:rPr>
              <a:t>job:</a:t>
            </a:r>
            <a:r>
              <a:rPr lang="zh-CN" altLang="en-US" b="1">
                <a:solidFill>
                  <a:schemeClr val="tx2"/>
                </a:solidFill>
                <a:latin typeface="华文楷体" panose="02010600040101010101" charset="-122"/>
                <a:ea typeface="华文楷体" panose="02010600040101010101" charset="-122"/>
                <a:cs typeface="华文楷体" panose="02010600040101010101" charset="-122"/>
              </a:rPr>
              <a:t>技术小白</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职责</a:t>
            </a:r>
            <a:r>
              <a:rPr lang="en-US" altLang="zh-CN" b="1">
                <a:solidFill>
                  <a:schemeClr val="tx2"/>
                </a:solidFill>
                <a:latin typeface="华文楷体" panose="02010600040101010101" charset="-122"/>
                <a:ea typeface="华文楷体" panose="02010600040101010101" charset="-122"/>
                <a:cs typeface="华文楷体" panose="02010600040101010101" charset="-122"/>
              </a:rPr>
              <a:t>:</a:t>
            </a:r>
            <a:endParaRPr lang="en-US" altLang="zh-CN" b="1">
              <a:solidFill>
                <a:schemeClr val="tx2"/>
              </a:solidFill>
              <a:latin typeface="华文楷体" panose="02010600040101010101" charset="-122"/>
              <a:ea typeface="华文楷体" panose="02010600040101010101" charset="-122"/>
              <a:cs typeface="华文楷体" panose="02010600040101010101" charset="-122"/>
            </a:endParaRPr>
          </a:p>
          <a:p>
            <a:r>
              <a:rPr lang="en-US" altLang="zh-CN" b="1">
                <a:solidFill>
                  <a:schemeClr val="tx2"/>
                </a:solidFill>
                <a:latin typeface="华文楷体" panose="02010600040101010101" charset="-122"/>
                <a:ea typeface="华文楷体" panose="02010600040101010101" charset="-122"/>
                <a:cs typeface="华文楷体" panose="02010600040101010101" charset="-122"/>
              </a:rPr>
              <a:t> </a:t>
            </a:r>
            <a:r>
              <a:rPr lang="zh-CN" altLang="en-US" b="1">
                <a:solidFill>
                  <a:schemeClr val="tx2"/>
                </a:solidFill>
                <a:latin typeface="华文楷体" panose="02010600040101010101" charset="-122"/>
                <a:ea typeface="华文楷体" panose="02010600040101010101" charset="-122"/>
                <a:cs typeface="华文楷体" panose="02010600040101010101" charset="-122"/>
              </a:rPr>
              <a:t>后台系统的</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 增删查改</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 数据添加</a:t>
            </a:r>
            <a:endParaRPr lang="zh-CN" altLang="en-US">
              <a:latin typeface="华文楷体" panose="02010600040101010101" charset="-122"/>
              <a:ea typeface="华文楷体" panose="02010600040101010101" charset="-122"/>
              <a:cs typeface="华文楷体" panose="02010600040101010101" charset="-122"/>
            </a:endParaRPr>
          </a:p>
          <a:p>
            <a:endParaRPr lang="zh-CN" altLang="en-US">
              <a:latin typeface="华文楷体" panose="02010600040101010101" charset="-122"/>
              <a:ea typeface="华文楷体" panose="02010600040101010101" charset="-122"/>
              <a:cs typeface="华文楷体" panose="02010600040101010101" charset="-122"/>
            </a:endParaRPr>
          </a:p>
        </p:txBody>
      </p:sp>
      <p:sp>
        <p:nvSpPr>
          <p:cNvPr id="37" name="文本框 36"/>
          <p:cNvSpPr txBox="1"/>
          <p:nvPr/>
        </p:nvSpPr>
        <p:spPr>
          <a:xfrm>
            <a:off x="9420225" y="3890010"/>
            <a:ext cx="1438275" cy="2306955"/>
          </a:xfrm>
          <a:prstGeom prst="rect">
            <a:avLst/>
          </a:prstGeom>
          <a:noFill/>
        </p:spPr>
        <p:txBody>
          <a:bodyPr wrap="none" rtlCol="0">
            <a:spAutoFit/>
          </a:bodyPr>
          <a:p>
            <a:r>
              <a:rPr lang="en-US" altLang="zh-CN" b="1">
                <a:solidFill>
                  <a:schemeClr val="tx2"/>
                </a:solidFill>
                <a:latin typeface="华文楷体" panose="02010600040101010101" charset="-122"/>
                <a:ea typeface="华文楷体" panose="02010600040101010101" charset="-122"/>
                <a:cs typeface="华文楷体" panose="02010600040101010101" charset="-122"/>
              </a:rPr>
              <a:t>job:</a:t>
            </a:r>
            <a:r>
              <a:rPr lang="zh-CN" altLang="en-US" b="1">
                <a:solidFill>
                  <a:schemeClr val="tx2"/>
                </a:solidFill>
                <a:latin typeface="华文楷体" panose="02010600040101010101" charset="-122"/>
                <a:ea typeface="华文楷体" panose="02010600040101010101" charset="-122"/>
                <a:cs typeface="华文楷体" panose="02010600040101010101" charset="-122"/>
              </a:rPr>
              <a:t>技术小白</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职责</a:t>
            </a:r>
            <a:r>
              <a:rPr lang="en-US" altLang="zh-CN" b="1">
                <a:solidFill>
                  <a:schemeClr val="tx2"/>
                </a:solidFill>
                <a:latin typeface="华文楷体" panose="02010600040101010101" charset="-122"/>
                <a:ea typeface="华文楷体" panose="02010600040101010101" charset="-122"/>
                <a:cs typeface="华文楷体" panose="02010600040101010101" charset="-122"/>
              </a:rPr>
              <a:t>:</a:t>
            </a:r>
            <a:endParaRPr lang="en-US" altLang="zh-CN" b="1">
              <a:solidFill>
                <a:schemeClr val="tx2"/>
              </a:solidFill>
              <a:latin typeface="华文楷体" panose="02010600040101010101" charset="-122"/>
              <a:ea typeface="华文楷体" panose="02010600040101010101" charset="-122"/>
              <a:cs typeface="华文楷体" panose="02010600040101010101" charset="-122"/>
            </a:endParaRPr>
          </a:p>
          <a:p>
            <a:r>
              <a:rPr lang="en-US" altLang="zh-CN" b="1">
                <a:solidFill>
                  <a:schemeClr val="tx2"/>
                </a:solidFill>
                <a:latin typeface="华文楷体" panose="02010600040101010101" charset="-122"/>
                <a:ea typeface="华文楷体" panose="02010600040101010101" charset="-122"/>
                <a:cs typeface="华文楷体" panose="02010600040101010101" charset="-122"/>
              </a:rPr>
              <a:t> </a:t>
            </a:r>
            <a:r>
              <a:rPr lang="zh-CN" altLang="en-US" b="1">
                <a:solidFill>
                  <a:schemeClr val="tx2"/>
                </a:solidFill>
                <a:latin typeface="华文楷体" panose="02010600040101010101" charset="-122"/>
                <a:ea typeface="华文楷体" panose="02010600040101010101" charset="-122"/>
                <a:cs typeface="华文楷体" panose="02010600040101010101" charset="-122"/>
              </a:rPr>
              <a:t>完成了前台</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 登录注册</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en-US" altLang="zh-CN" b="1">
                <a:solidFill>
                  <a:schemeClr val="tx2"/>
                </a:solidFill>
                <a:latin typeface="华文楷体" panose="02010600040101010101" charset="-122"/>
                <a:ea typeface="华文楷体" panose="02010600040101010101" charset="-122"/>
                <a:cs typeface="华文楷体" panose="02010600040101010101" charset="-122"/>
              </a:rPr>
              <a:t>sso</a:t>
            </a:r>
            <a:r>
              <a:rPr lang="zh-CN" altLang="en-US" b="1">
                <a:solidFill>
                  <a:schemeClr val="tx2"/>
                </a:solidFill>
                <a:latin typeface="华文楷体" panose="02010600040101010101" charset="-122"/>
                <a:ea typeface="华文楷体" panose="02010600040101010101" charset="-122"/>
                <a:cs typeface="华文楷体" panose="02010600040101010101" charset="-122"/>
              </a:rPr>
              <a:t>单点登录</a:t>
            </a:r>
            <a:endParaRPr lang="zh-CN" altLang="en-US">
              <a:latin typeface="华文楷体" panose="02010600040101010101" charset="-122"/>
              <a:ea typeface="华文楷体" panose="02010600040101010101" charset="-122"/>
              <a:cs typeface="华文楷体" panose="02010600040101010101" charset="-122"/>
            </a:endParaRPr>
          </a:p>
          <a:p>
            <a:endParaRPr lang="zh-CN" altLang="en-US">
              <a:latin typeface="华文楷体" panose="02010600040101010101" charset="-122"/>
              <a:ea typeface="华文楷体" panose="02010600040101010101" charset="-122"/>
              <a:cs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69"/>
          <p:cNvSpPr/>
          <p:nvPr/>
        </p:nvSpPr>
        <p:spPr>
          <a:xfrm>
            <a:off x="9761220" y="1137920"/>
            <a:ext cx="2257425" cy="4999355"/>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defTabSz="913765">
              <a:defRPr/>
            </a:pPr>
            <a:endParaRPr lang="en-US" sz="900" kern="0">
              <a:solidFill>
                <a:sysClr val="windowText" lastClr="000000"/>
              </a:solidFill>
            </a:endParaRPr>
          </a:p>
        </p:txBody>
      </p:sp>
      <p:sp>
        <p:nvSpPr>
          <p:cNvPr id="5" name="Rounded Rectangle 69"/>
          <p:cNvSpPr/>
          <p:nvPr/>
        </p:nvSpPr>
        <p:spPr>
          <a:xfrm>
            <a:off x="7117715" y="1137920"/>
            <a:ext cx="2257425" cy="4999355"/>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defTabSz="913765">
              <a:defRPr/>
            </a:pPr>
            <a:endParaRPr lang="en-US" sz="900" kern="0">
              <a:solidFill>
                <a:sysClr val="windowText" lastClr="000000"/>
              </a:solidFill>
            </a:endParaRPr>
          </a:p>
        </p:txBody>
      </p:sp>
      <p:sp>
        <p:nvSpPr>
          <p:cNvPr id="3" name="Rounded Rectangle 69"/>
          <p:cNvSpPr/>
          <p:nvPr/>
        </p:nvSpPr>
        <p:spPr>
          <a:xfrm>
            <a:off x="4838065" y="1163320"/>
            <a:ext cx="2257425" cy="4999355"/>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defTabSz="913765">
              <a:defRPr/>
            </a:pPr>
            <a:endParaRPr lang="en-US" sz="900" kern="0">
              <a:solidFill>
                <a:sysClr val="windowText" lastClr="000000"/>
              </a:solidFill>
            </a:endParaRPr>
          </a:p>
        </p:txBody>
      </p:sp>
      <p:sp>
        <p:nvSpPr>
          <p:cNvPr id="2" name="Rounded Rectangle 69"/>
          <p:cNvSpPr/>
          <p:nvPr/>
        </p:nvSpPr>
        <p:spPr>
          <a:xfrm>
            <a:off x="2322830" y="1151890"/>
            <a:ext cx="2257425" cy="4999355"/>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defTabSz="913765">
              <a:defRPr/>
            </a:pPr>
            <a:endParaRPr lang="en-US" sz="900" kern="0">
              <a:solidFill>
                <a:sysClr val="windowText" lastClr="000000"/>
              </a:solidFill>
            </a:endParaRPr>
          </a:p>
        </p:txBody>
      </p:sp>
      <p:sp>
        <p:nvSpPr>
          <p:cNvPr id="70" name="Rounded Rectangle 69"/>
          <p:cNvSpPr/>
          <p:nvPr/>
        </p:nvSpPr>
        <p:spPr>
          <a:xfrm>
            <a:off x="46355" y="1163320"/>
            <a:ext cx="2257425" cy="4999355"/>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defTabSz="913765">
              <a:defRPr/>
            </a:pPr>
            <a:endParaRPr lang="en-US" sz="900" kern="0">
              <a:solidFill>
                <a:sysClr val="windowText" lastClr="000000"/>
              </a:solidFill>
            </a:endParaRPr>
          </a:p>
        </p:txBody>
      </p:sp>
      <p:sp>
        <p:nvSpPr>
          <p:cNvPr id="10"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sz="4000" noProof="1">
                <a:solidFill>
                  <a:prstClr val="black">
                    <a:lumMod val="85000"/>
                    <a:lumOff val="15000"/>
                  </a:prstClr>
                </a:solidFill>
                <a:latin typeface="华文行楷" panose="02010800040101010101" charset="-122"/>
                <a:ea typeface="华文行楷" panose="02010800040101010101" charset="-122"/>
                <a:cs typeface="Lato Light" charset="0"/>
              </a:rPr>
              <a:t>虫二成员</a:t>
            </a:r>
            <a:endParaRPr lang="zh-CN" sz="4000" noProof="1">
              <a:solidFill>
                <a:prstClr val="black">
                  <a:lumMod val="85000"/>
                  <a:lumOff val="15000"/>
                </a:prstClr>
              </a:solidFill>
              <a:latin typeface="华文行楷" panose="02010800040101010101" charset="-122"/>
              <a:ea typeface="华文行楷" panose="02010800040101010101" charset="-122"/>
              <a:cs typeface="Lato Light" charset="0"/>
            </a:endParaRPr>
          </a:p>
        </p:txBody>
      </p:sp>
      <p:sp>
        <p:nvSpPr>
          <p:cNvPr id="11"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4" name="矩形 3"/>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 name="图片 14"/>
          <p:cNvPicPr>
            <a:picLocks noChangeAspect="1"/>
          </p:cNvPicPr>
          <p:nvPr/>
        </p:nvPicPr>
        <p:blipFill>
          <a:blip r:embed="rId1"/>
          <a:stretch>
            <a:fillRect/>
          </a:stretch>
        </p:blipFill>
        <p:spPr>
          <a:xfrm>
            <a:off x="527685" y="1669415"/>
            <a:ext cx="1294130" cy="1263650"/>
          </a:xfrm>
          <a:prstGeom prst="rect">
            <a:avLst/>
          </a:prstGeom>
        </p:spPr>
      </p:pic>
      <p:pic>
        <p:nvPicPr>
          <p:cNvPr id="16" name="图片 15"/>
          <p:cNvPicPr>
            <a:picLocks noChangeAspect="1"/>
          </p:cNvPicPr>
          <p:nvPr/>
        </p:nvPicPr>
        <p:blipFill>
          <a:blip r:embed="rId2"/>
          <a:stretch>
            <a:fillRect/>
          </a:stretch>
        </p:blipFill>
        <p:spPr>
          <a:xfrm>
            <a:off x="2554605" y="1669415"/>
            <a:ext cx="1793240" cy="1310005"/>
          </a:xfrm>
          <a:prstGeom prst="rect">
            <a:avLst/>
          </a:prstGeom>
        </p:spPr>
      </p:pic>
      <p:pic>
        <p:nvPicPr>
          <p:cNvPr id="17" name="图片 16"/>
          <p:cNvPicPr>
            <a:picLocks noChangeAspect="1"/>
          </p:cNvPicPr>
          <p:nvPr/>
        </p:nvPicPr>
        <p:blipFill>
          <a:blip r:embed="rId3"/>
          <a:stretch>
            <a:fillRect/>
          </a:stretch>
        </p:blipFill>
        <p:spPr>
          <a:xfrm>
            <a:off x="5280660" y="1629410"/>
            <a:ext cx="1372235" cy="1343660"/>
          </a:xfrm>
          <a:prstGeom prst="rect">
            <a:avLst/>
          </a:prstGeom>
        </p:spPr>
      </p:pic>
      <p:pic>
        <p:nvPicPr>
          <p:cNvPr id="19" name="图片 18"/>
          <p:cNvPicPr>
            <a:picLocks noChangeAspect="1"/>
          </p:cNvPicPr>
          <p:nvPr/>
        </p:nvPicPr>
        <p:blipFill>
          <a:blip r:embed="rId4"/>
          <a:stretch>
            <a:fillRect/>
          </a:stretch>
        </p:blipFill>
        <p:spPr>
          <a:xfrm>
            <a:off x="7573010" y="1591945"/>
            <a:ext cx="1347470" cy="1341120"/>
          </a:xfrm>
          <a:prstGeom prst="rect">
            <a:avLst/>
          </a:prstGeom>
        </p:spPr>
      </p:pic>
      <p:sp>
        <p:nvSpPr>
          <p:cNvPr id="20" name="文本框 19"/>
          <p:cNvSpPr txBox="1"/>
          <p:nvPr/>
        </p:nvSpPr>
        <p:spPr>
          <a:xfrm>
            <a:off x="5469255" y="3371215"/>
            <a:ext cx="995680" cy="583565"/>
          </a:xfrm>
          <a:prstGeom prst="rect">
            <a:avLst/>
          </a:prstGeom>
          <a:noFill/>
        </p:spPr>
        <p:txBody>
          <a:bodyPr wrap="none" rtlCol="0">
            <a:spAutoFit/>
          </a:bodyPr>
          <a:p>
            <a:r>
              <a:rPr lang="zh-CN" altLang="en-US" sz="3200">
                <a:solidFill>
                  <a:schemeClr val="tx2"/>
                </a:solidFill>
                <a:latin typeface="华文行楷" panose="02010800040101010101" charset="-122"/>
                <a:ea typeface="华文行楷" panose="02010800040101010101" charset="-122"/>
              </a:rPr>
              <a:t>易丐</a:t>
            </a:r>
            <a:endParaRPr lang="zh-CN" altLang="en-US" sz="3200">
              <a:solidFill>
                <a:schemeClr val="tx2"/>
              </a:solidFill>
              <a:latin typeface="华文行楷" panose="02010800040101010101" charset="-122"/>
              <a:ea typeface="华文行楷" panose="02010800040101010101" charset="-122"/>
            </a:endParaRPr>
          </a:p>
        </p:txBody>
      </p:sp>
      <p:sp>
        <p:nvSpPr>
          <p:cNvPr id="21" name="文本框 20"/>
          <p:cNvSpPr txBox="1"/>
          <p:nvPr/>
        </p:nvSpPr>
        <p:spPr>
          <a:xfrm>
            <a:off x="2750185" y="3463925"/>
            <a:ext cx="1402080" cy="583565"/>
          </a:xfrm>
          <a:prstGeom prst="rect">
            <a:avLst/>
          </a:prstGeom>
          <a:noFill/>
        </p:spPr>
        <p:txBody>
          <a:bodyPr wrap="none" rtlCol="0">
            <a:spAutoFit/>
          </a:bodyPr>
          <a:p>
            <a:r>
              <a:rPr lang="zh-CN" altLang="en-US" sz="3200">
                <a:solidFill>
                  <a:schemeClr val="tx2"/>
                </a:solidFill>
                <a:latin typeface="华文行楷" panose="02010800040101010101" charset="-122"/>
                <a:ea typeface="华文行楷" panose="02010800040101010101" charset="-122"/>
              </a:rPr>
              <a:t>陈运杰</a:t>
            </a:r>
            <a:endParaRPr lang="zh-CN" altLang="en-US" sz="3200">
              <a:solidFill>
                <a:schemeClr val="tx2"/>
              </a:solidFill>
              <a:latin typeface="华文行楷" panose="02010800040101010101" charset="-122"/>
              <a:ea typeface="华文行楷" panose="02010800040101010101" charset="-122"/>
            </a:endParaRPr>
          </a:p>
        </p:txBody>
      </p:sp>
      <p:sp>
        <p:nvSpPr>
          <p:cNvPr id="22" name="文本框 21"/>
          <p:cNvSpPr txBox="1"/>
          <p:nvPr/>
        </p:nvSpPr>
        <p:spPr>
          <a:xfrm>
            <a:off x="7573010" y="3371215"/>
            <a:ext cx="1402080" cy="583565"/>
          </a:xfrm>
          <a:prstGeom prst="rect">
            <a:avLst/>
          </a:prstGeom>
          <a:noFill/>
        </p:spPr>
        <p:txBody>
          <a:bodyPr wrap="none" rtlCol="0">
            <a:spAutoFit/>
          </a:bodyPr>
          <a:p>
            <a:r>
              <a:rPr lang="zh-CN" altLang="en-US" sz="3200">
                <a:solidFill>
                  <a:schemeClr val="tx2"/>
                </a:solidFill>
                <a:latin typeface="华文行楷" panose="02010800040101010101" charset="-122"/>
                <a:ea typeface="华文行楷" panose="02010800040101010101" charset="-122"/>
              </a:rPr>
              <a:t>李成岩</a:t>
            </a:r>
            <a:endParaRPr lang="zh-CN" altLang="en-US" sz="3200">
              <a:solidFill>
                <a:schemeClr val="tx2"/>
              </a:solidFill>
              <a:latin typeface="华文行楷" panose="02010800040101010101" charset="-122"/>
              <a:ea typeface="华文行楷" panose="02010800040101010101" charset="-122"/>
            </a:endParaRPr>
          </a:p>
        </p:txBody>
      </p:sp>
      <p:sp>
        <p:nvSpPr>
          <p:cNvPr id="24" name="文本框 23"/>
          <p:cNvSpPr txBox="1"/>
          <p:nvPr/>
        </p:nvSpPr>
        <p:spPr>
          <a:xfrm>
            <a:off x="527685" y="3463925"/>
            <a:ext cx="995680" cy="583565"/>
          </a:xfrm>
          <a:prstGeom prst="rect">
            <a:avLst/>
          </a:prstGeom>
          <a:noFill/>
        </p:spPr>
        <p:txBody>
          <a:bodyPr wrap="none" rtlCol="0">
            <a:spAutoFit/>
          </a:bodyPr>
          <a:p>
            <a:r>
              <a:rPr lang="zh-CN" altLang="en-US" sz="3200">
                <a:solidFill>
                  <a:schemeClr val="tx2"/>
                </a:solidFill>
                <a:latin typeface="华文行楷" panose="02010800040101010101" charset="-122"/>
                <a:ea typeface="华文行楷" panose="02010800040101010101" charset="-122"/>
              </a:rPr>
              <a:t>朱瑶</a:t>
            </a:r>
            <a:endParaRPr lang="zh-CN" altLang="en-US" sz="3200">
              <a:solidFill>
                <a:schemeClr val="tx2"/>
              </a:solidFill>
              <a:latin typeface="华文行楷" panose="02010800040101010101" charset="-122"/>
              <a:ea typeface="华文行楷" panose="02010800040101010101" charset="-122"/>
            </a:endParaRPr>
          </a:p>
        </p:txBody>
      </p:sp>
      <p:sp>
        <p:nvSpPr>
          <p:cNvPr id="28" name="文本框 27"/>
          <p:cNvSpPr txBox="1"/>
          <p:nvPr/>
        </p:nvSpPr>
        <p:spPr>
          <a:xfrm>
            <a:off x="10189210" y="3371215"/>
            <a:ext cx="1402080" cy="583565"/>
          </a:xfrm>
          <a:prstGeom prst="rect">
            <a:avLst/>
          </a:prstGeom>
          <a:noFill/>
        </p:spPr>
        <p:txBody>
          <a:bodyPr wrap="none" rtlCol="0">
            <a:spAutoFit/>
          </a:bodyPr>
          <a:p>
            <a:r>
              <a:rPr lang="zh-CN" altLang="en-US" sz="3200">
                <a:solidFill>
                  <a:schemeClr val="tx2"/>
                </a:solidFill>
                <a:latin typeface="华文行楷" panose="02010800040101010101" charset="-122"/>
                <a:ea typeface="华文行楷" panose="02010800040101010101" charset="-122"/>
              </a:rPr>
              <a:t>王鹏昊</a:t>
            </a:r>
            <a:endParaRPr lang="zh-CN" altLang="en-US" sz="3200">
              <a:solidFill>
                <a:schemeClr val="tx2"/>
              </a:solidFill>
              <a:latin typeface="华文行楷" panose="02010800040101010101" charset="-122"/>
              <a:ea typeface="华文行楷" panose="02010800040101010101" charset="-122"/>
            </a:endParaRPr>
          </a:p>
        </p:txBody>
      </p:sp>
      <p:pic>
        <p:nvPicPr>
          <p:cNvPr id="29" name="图片 28"/>
          <p:cNvPicPr>
            <a:picLocks noChangeAspect="1"/>
          </p:cNvPicPr>
          <p:nvPr/>
        </p:nvPicPr>
        <p:blipFill>
          <a:blip r:embed="rId5"/>
          <a:stretch>
            <a:fillRect/>
          </a:stretch>
        </p:blipFill>
        <p:spPr>
          <a:xfrm>
            <a:off x="10109200" y="1494155"/>
            <a:ext cx="1562100" cy="1536065"/>
          </a:xfrm>
          <a:prstGeom prst="rect">
            <a:avLst/>
          </a:prstGeom>
        </p:spPr>
      </p:pic>
      <p:sp>
        <p:nvSpPr>
          <p:cNvPr id="34" name="文本框 33"/>
          <p:cNvSpPr txBox="1"/>
          <p:nvPr/>
        </p:nvSpPr>
        <p:spPr>
          <a:xfrm>
            <a:off x="527685" y="4047490"/>
            <a:ext cx="1616075" cy="2030095"/>
          </a:xfrm>
          <a:prstGeom prst="rect">
            <a:avLst/>
          </a:prstGeom>
          <a:noFill/>
        </p:spPr>
        <p:txBody>
          <a:bodyPr wrap="none" rtlCol="0">
            <a:spAutoFit/>
          </a:bodyPr>
          <a:p>
            <a:r>
              <a:rPr lang="en-US" altLang="zh-CN" b="1">
                <a:solidFill>
                  <a:schemeClr val="tx2"/>
                </a:solidFill>
                <a:latin typeface="华文楷体" panose="02010600040101010101" charset="-122"/>
                <a:ea typeface="华文楷体" panose="02010600040101010101" charset="-122"/>
                <a:cs typeface="华文楷体" panose="02010600040101010101" charset="-122"/>
              </a:rPr>
              <a:t>job:</a:t>
            </a:r>
            <a:r>
              <a:rPr lang="zh-CN" altLang="en-US" b="1">
                <a:solidFill>
                  <a:schemeClr val="tx2"/>
                </a:solidFill>
                <a:latin typeface="华文楷体" panose="02010600040101010101" charset="-122"/>
                <a:ea typeface="华文楷体" panose="02010600040101010101" charset="-122"/>
                <a:cs typeface="华文楷体" panose="02010600040101010101" charset="-122"/>
              </a:rPr>
              <a:t>技术小白</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职责</a:t>
            </a:r>
            <a:r>
              <a:rPr lang="en-US" altLang="zh-CN" b="1">
                <a:solidFill>
                  <a:schemeClr val="tx2"/>
                </a:solidFill>
                <a:latin typeface="华文楷体" panose="02010600040101010101" charset="-122"/>
                <a:ea typeface="华文楷体" panose="02010600040101010101" charset="-122"/>
                <a:cs typeface="华文楷体" panose="02010600040101010101" charset="-122"/>
              </a:rPr>
              <a:t>:</a:t>
            </a:r>
            <a:endParaRPr lang="en-US" altLang="zh-CN" b="1">
              <a:solidFill>
                <a:schemeClr val="tx2"/>
              </a:solidFill>
              <a:latin typeface="华文楷体" panose="02010600040101010101" charset="-122"/>
              <a:ea typeface="华文楷体" panose="02010600040101010101" charset="-122"/>
              <a:cs typeface="华文楷体" panose="02010600040101010101" charset="-122"/>
            </a:endParaRPr>
          </a:p>
          <a:p>
            <a:r>
              <a:rPr lang="en-US" altLang="zh-CN" b="1">
                <a:solidFill>
                  <a:schemeClr val="tx2"/>
                </a:solidFill>
                <a:latin typeface="华文楷体" panose="02010600040101010101" charset="-122"/>
                <a:ea typeface="华文楷体" panose="02010600040101010101" charset="-122"/>
                <a:cs typeface="华文楷体" panose="02010600040101010101" charset="-122"/>
              </a:rPr>
              <a:t> </a:t>
            </a:r>
            <a:r>
              <a:rPr lang="zh-CN" altLang="en-US" b="1">
                <a:solidFill>
                  <a:schemeClr val="tx2"/>
                </a:solidFill>
                <a:latin typeface="华文楷体" panose="02010600040101010101" charset="-122"/>
                <a:ea typeface="华文楷体" panose="02010600040101010101" charset="-122"/>
                <a:cs typeface="华文楷体" panose="02010600040101010101" charset="-122"/>
              </a:rPr>
              <a:t>负责集群搭建</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  </a:t>
            </a:r>
            <a:r>
              <a:rPr lang="en-US" altLang="zh-CN" b="1">
                <a:solidFill>
                  <a:schemeClr val="tx2"/>
                </a:solidFill>
                <a:latin typeface="华文楷体" panose="02010600040101010101" charset="-122"/>
                <a:ea typeface="华文楷体" panose="02010600040101010101" charset="-122"/>
                <a:cs typeface="华文楷体" panose="02010600040101010101" charset="-122"/>
              </a:rPr>
              <a:t>Redis,mycat</a:t>
            </a:r>
            <a:endParaRPr lang="zh-CN" altLang="en-US">
              <a:latin typeface="华文楷体" panose="02010600040101010101" charset="-122"/>
              <a:ea typeface="华文楷体" panose="02010600040101010101" charset="-122"/>
              <a:cs typeface="华文楷体" panose="02010600040101010101" charset="-122"/>
            </a:endParaRPr>
          </a:p>
          <a:p>
            <a:endParaRPr lang="zh-CN" altLang="en-US">
              <a:latin typeface="华文楷体" panose="02010600040101010101" charset="-122"/>
              <a:ea typeface="华文楷体" panose="02010600040101010101" charset="-122"/>
              <a:cs typeface="华文楷体" panose="02010600040101010101" charset="-122"/>
            </a:endParaRPr>
          </a:p>
        </p:txBody>
      </p:sp>
      <p:sp>
        <p:nvSpPr>
          <p:cNvPr id="7" name="文本框 6"/>
          <p:cNvSpPr txBox="1"/>
          <p:nvPr/>
        </p:nvSpPr>
        <p:spPr>
          <a:xfrm>
            <a:off x="2713990" y="4047490"/>
            <a:ext cx="1845310" cy="1753235"/>
          </a:xfrm>
          <a:prstGeom prst="rect">
            <a:avLst/>
          </a:prstGeom>
          <a:noFill/>
        </p:spPr>
        <p:txBody>
          <a:bodyPr wrap="none" rtlCol="0">
            <a:spAutoFit/>
          </a:bodyPr>
          <a:p>
            <a:r>
              <a:rPr lang="en-US" altLang="zh-CN" b="1">
                <a:solidFill>
                  <a:schemeClr val="tx2"/>
                </a:solidFill>
                <a:latin typeface="华文楷体" panose="02010600040101010101" charset="-122"/>
                <a:ea typeface="华文楷体" panose="02010600040101010101" charset="-122"/>
                <a:cs typeface="华文楷体" panose="02010600040101010101" charset="-122"/>
              </a:rPr>
              <a:t>job:</a:t>
            </a:r>
            <a:r>
              <a:rPr lang="zh-CN" altLang="en-US" b="1">
                <a:solidFill>
                  <a:schemeClr val="tx2"/>
                </a:solidFill>
                <a:latin typeface="华文楷体" panose="02010600040101010101" charset="-122"/>
                <a:ea typeface="华文楷体" panose="02010600040101010101" charset="-122"/>
                <a:cs typeface="华文楷体" panose="02010600040101010101" charset="-122"/>
              </a:rPr>
              <a:t>技术小白</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职责</a:t>
            </a:r>
            <a:r>
              <a:rPr lang="en-US" altLang="zh-CN" b="1">
                <a:solidFill>
                  <a:schemeClr val="tx2"/>
                </a:solidFill>
                <a:latin typeface="华文楷体" panose="02010600040101010101" charset="-122"/>
                <a:ea typeface="华文楷体" panose="02010600040101010101" charset="-122"/>
                <a:cs typeface="华文楷体" panose="02010600040101010101" charset="-122"/>
              </a:rPr>
              <a:t>:</a:t>
            </a:r>
            <a:endParaRPr lang="en-US" altLang="zh-CN" b="1">
              <a:solidFill>
                <a:schemeClr val="tx2"/>
              </a:solidFill>
              <a:latin typeface="华文楷体" panose="02010600040101010101" charset="-122"/>
              <a:ea typeface="华文楷体" panose="02010600040101010101" charset="-122"/>
              <a:cs typeface="华文楷体" panose="02010600040101010101" charset="-122"/>
            </a:endParaRPr>
          </a:p>
          <a:p>
            <a:r>
              <a:rPr lang="en-US" altLang="zh-CN" b="1">
                <a:solidFill>
                  <a:schemeClr val="tx2"/>
                </a:solidFill>
                <a:latin typeface="华文楷体" panose="02010600040101010101" charset="-122"/>
                <a:ea typeface="华文楷体" panose="02010600040101010101" charset="-122"/>
                <a:cs typeface="华文楷体" panose="02010600040101010101" charset="-122"/>
              </a:rPr>
              <a:t> </a:t>
            </a:r>
            <a:r>
              <a:rPr lang="zh-CN" altLang="en-US" b="1">
                <a:solidFill>
                  <a:schemeClr val="tx2"/>
                </a:solidFill>
                <a:latin typeface="华文楷体" panose="02010600040101010101" charset="-122"/>
                <a:ea typeface="华文楷体" panose="02010600040101010101" charset="-122"/>
                <a:cs typeface="华文楷体" panose="02010600040101010101" charset="-122"/>
              </a:rPr>
              <a:t>负责数据的修改</a:t>
            </a:r>
            <a:endParaRPr lang="zh-CN" altLang="en-US">
              <a:latin typeface="华文楷体" panose="02010600040101010101" charset="-122"/>
              <a:ea typeface="华文楷体" panose="02010600040101010101" charset="-122"/>
              <a:cs typeface="华文楷体" panose="02010600040101010101" charset="-122"/>
            </a:endParaRPr>
          </a:p>
          <a:p>
            <a:endParaRPr lang="zh-CN" altLang="en-US">
              <a:latin typeface="华文楷体" panose="02010600040101010101" charset="-122"/>
              <a:ea typeface="华文楷体" panose="02010600040101010101" charset="-122"/>
              <a:cs typeface="华文楷体" panose="02010600040101010101" charset="-122"/>
            </a:endParaRPr>
          </a:p>
        </p:txBody>
      </p:sp>
      <p:sp>
        <p:nvSpPr>
          <p:cNvPr id="8" name="文本框 7"/>
          <p:cNvSpPr txBox="1"/>
          <p:nvPr/>
        </p:nvSpPr>
        <p:spPr>
          <a:xfrm>
            <a:off x="5280660" y="3954780"/>
            <a:ext cx="1896110" cy="2306955"/>
          </a:xfrm>
          <a:prstGeom prst="rect">
            <a:avLst/>
          </a:prstGeom>
          <a:noFill/>
        </p:spPr>
        <p:txBody>
          <a:bodyPr wrap="none" rtlCol="0">
            <a:spAutoFit/>
          </a:bodyPr>
          <a:p>
            <a:r>
              <a:rPr lang="en-US" altLang="zh-CN" b="1">
                <a:solidFill>
                  <a:schemeClr val="tx2"/>
                </a:solidFill>
                <a:latin typeface="华文楷体" panose="02010600040101010101" charset="-122"/>
                <a:ea typeface="华文楷体" panose="02010600040101010101" charset="-122"/>
                <a:cs typeface="华文楷体" panose="02010600040101010101" charset="-122"/>
              </a:rPr>
              <a:t>job:</a:t>
            </a:r>
            <a:r>
              <a:rPr lang="zh-CN" altLang="en-US" b="1">
                <a:solidFill>
                  <a:schemeClr val="tx2"/>
                </a:solidFill>
                <a:latin typeface="华文楷体" panose="02010600040101010101" charset="-122"/>
                <a:ea typeface="华文楷体" panose="02010600040101010101" charset="-122"/>
                <a:cs typeface="华文楷体" panose="02010600040101010101" charset="-122"/>
              </a:rPr>
              <a:t>技术小白</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职责</a:t>
            </a:r>
            <a:r>
              <a:rPr lang="en-US" altLang="zh-CN" b="1">
                <a:solidFill>
                  <a:schemeClr val="tx2"/>
                </a:solidFill>
                <a:latin typeface="华文楷体" panose="02010600040101010101" charset="-122"/>
                <a:ea typeface="华文楷体" panose="02010600040101010101" charset="-122"/>
                <a:cs typeface="华文楷体" panose="02010600040101010101" charset="-122"/>
              </a:rPr>
              <a:t>:</a:t>
            </a:r>
            <a:endParaRPr lang="en-US" altLang="zh-CN" b="1">
              <a:solidFill>
                <a:schemeClr val="tx2"/>
              </a:solidFill>
              <a:latin typeface="华文楷体" panose="02010600040101010101" charset="-122"/>
              <a:ea typeface="华文楷体" panose="02010600040101010101" charset="-122"/>
              <a:cs typeface="华文楷体" panose="02010600040101010101" charset="-122"/>
            </a:endParaRPr>
          </a:p>
          <a:p>
            <a:r>
              <a:rPr lang="en-US" altLang="zh-CN" b="1">
                <a:solidFill>
                  <a:schemeClr val="tx2"/>
                </a:solidFill>
                <a:latin typeface="华文楷体" panose="02010600040101010101" charset="-122"/>
                <a:ea typeface="华文楷体" panose="02010600040101010101" charset="-122"/>
                <a:cs typeface="华文楷体" panose="02010600040101010101" charset="-122"/>
              </a:rPr>
              <a:t> </a:t>
            </a:r>
            <a:r>
              <a:rPr lang="zh-CN" altLang="en-US" b="1">
                <a:solidFill>
                  <a:schemeClr val="tx2"/>
                </a:solidFill>
                <a:latin typeface="华文楷体" panose="02010600040101010101" charset="-122"/>
                <a:ea typeface="华文楷体" panose="02010600040101010101" charset="-122"/>
                <a:cs typeface="华文楷体" panose="02010600040101010101" charset="-122"/>
              </a:rPr>
              <a:t>负责前端三级</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 分类树</a:t>
            </a:r>
            <a:r>
              <a:rPr lang="en-US" altLang="zh-CN" b="1">
                <a:solidFill>
                  <a:schemeClr val="tx2"/>
                </a:solidFill>
                <a:latin typeface="华文楷体" panose="02010600040101010101" charset="-122"/>
                <a:ea typeface="华文楷体" panose="02010600040101010101" charset="-122"/>
                <a:cs typeface="华文楷体" panose="02010600040101010101" charset="-122"/>
              </a:rPr>
              <a:t>,</a:t>
            </a:r>
            <a:r>
              <a:rPr lang="zh-CN" altLang="en-US" b="1">
                <a:solidFill>
                  <a:schemeClr val="tx2"/>
                </a:solidFill>
                <a:latin typeface="华文楷体" panose="02010600040101010101" charset="-122"/>
                <a:ea typeface="华文楷体" panose="02010600040101010101" charset="-122"/>
                <a:cs typeface="华文楷体" panose="02010600040101010101" charset="-122"/>
              </a:rPr>
              <a:t>页面跳转</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a:latin typeface="华文楷体" panose="02010600040101010101" charset="-122"/>
              <a:ea typeface="华文楷体" panose="02010600040101010101" charset="-122"/>
              <a:cs typeface="华文楷体" panose="02010600040101010101" charset="-122"/>
            </a:endParaRPr>
          </a:p>
          <a:p>
            <a:endParaRPr lang="zh-CN" altLang="en-US">
              <a:latin typeface="华文楷体" panose="02010600040101010101" charset="-122"/>
              <a:ea typeface="华文楷体" panose="02010600040101010101" charset="-122"/>
              <a:cs typeface="华文楷体" panose="02010600040101010101" charset="-122"/>
            </a:endParaRPr>
          </a:p>
        </p:txBody>
      </p:sp>
      <p:sp>
        <p:nvSpPr>
          <p:cNvPr id="18" name="文本框 17"/>
          <p:cNvSpPr txBox="1"/>
          <p:nvPr/>
        </p:nvSpPr>
        <p:spPr>
          <a:xfrm>
            <a:off x="7573010" y="3954780"/>
            <a:ext cx="1845310" cy="2030095"/>
          </a:xfrm>
          <a:prstGeom prst="rect">
            <a:avLst/>
          </a:prstGeom>
          <a:noFill/>
        </p:spPr>
        <p:txBody>
          <a:bodyPr wrap="none" rtlCol="0">
            <a:spAutoFit/>
          </a:bodyPr>
          <a:p>
            <a:r>
              <a:rPr lang="en-US" altLang="zh-CN" b="1">
                <a:solidFill>
                  <a:schemeClr val="tx2"/>
                </a:solidFill>
                <a:latin typeface="华文楷体" panose="02010600040101010101" charset="-122"/>
                <a:ea typeface="华文楷体" panose="02010600040101010101" charset="-122"/>
                <a:cs typeface="华文楷体" panose="02010600040101010101" charset="-122"/>
              </a:rPr>
              <a:t>job:</a:t>
            </a:r>
            <a:r>
              <a:rPr lang="zh-CN" altLang="en-US" b="1">
                <a:solidFill>
                  <a:schemeClr val="tx2"/>
                </a:solidFill>
                <a:latin typeface="华文楷体" panose="02010600040101010101" charset="-122"/>
                <a:ea typeface="华文楷体" panose="02010600040101010101" charset="-122"/>
                <a:cs typeface="华文楷体" panose="02010600040101010101" charset="-122"/>
              </a:rPr>
              <a:t>技术小白</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职责</a:t>
            </a:r>
            <a:r>
              <a:rPr lang="en-US" altLang="zh-CN" b="1">
                <a:solidFill>
                  <a:schemeClr val="tx2"/>
                </a:solidFill>
                <a:latin typeface="华文楷体" panose="02010600040101010101" charset="-122"/>
                <a:ea typeface="华文楷体" panose="02010600040101010101" charset="-122"/>
                <a:cs typeface="华文楷体" panose="02010600040101010101" charset="-122"/>
              </a:rPr>
              <a:t>:</a:t>
            </a:r>
            <a:endParaRPr lang="en-US" altLang="zh-CN" b="1">
              <a:solidFill>
                <a:schemeClr val="tx2"/>
              </a:solidFill>
              <a:latin typeface="华文楷体" panose="02010600040101010101" charset="-122"/>
              <a:ea typeface="华文楷体" panose="02010600040101010101" charset="-122"/>
              <a:cs typeface="华文楷体" panose="02010600040101010101" charset="-122"/>
            </a:endParaRPr>
          </a:p>
          <a:p>
            <a:r>
              <a:rPr lang="en-US" altLang="zh-CN" b="1">
                <a:solidFill>
                  <a:schemeClr val="tx2"/>
                </a:solidFill>
                <a:latin typeface="华文楷体" panose="02010600040101010101" charset="-122"/>
                <a:ea typeface="华文楷体" panose="02010600040101010101" charset="-122"/>
                <a:cs typeface="华文楷体" panose="02010600040101010101" charset="-122"/>
              </a:rPr>
              <a:t> </a:t>
            </a:r>
            <a:r>
              <a:rPr lang="zh-CN" altLang="en-US" b="1">
                <a:solidFill>
                  <a:schemeClr val="tx2"/>
                </a:solidFill>
                <a:latin typeface="华文楷体" panose="02010600040101010101" charset="-122"/>
                <a:ea typeface="华文楷体" panose="02010600040101010101" charset="-122"/>
                <a:cs typeface="华文楷体" panose="02010600040101010101" charset="-122"/>
              </a:rPr>
              <a:t>前端页面的修改</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项目数据的查找</a:t>
            </a:r>
            <a:endParaRPr lang="zh-CN" altLang="en-US">
              <a:latin typeface="华文楷体" panose="02010600040101010101" charset="-122"/>
              <a:ea typeface="华文楷体" panose="02010600040101010101" charset="-122"/>
              <a:cs typeface="华文楷体" panose="02010600040101010101" charset="-122"/>
            </a:endParaRPr>
          </a:p>
          <a:p>
            <a:endParaRPr lang="zh-CN" altLang="en-US">
              <a:latin typeface="华文楷体" panose="02010600040101010101" charset="-122"/>
              <a:ea typeface="华文楷体" panose="02010600040101010101" charset="-122"/>
              <a:cs typeface="华文楷体" panose="02010600040101010101" charset="-122"/>
            </a:endParaRPr>
          </a:p>
        </p:txBody>
      </p:sp>
      <p:sp>
        <p:nvSpPr>
          <p:cNvPr id="30" name="文本框 29"/>
          <p:cNvSpPr txBox="1"/>
          <p:nvPr/>
        </p:nvSpPr>
        <p:spPr>
          <a:xfrm>
            <a:off x="10233025" y="3954780"/>
            <a:ext cx="1438275" cy="2584450"/>
          </a:xfrm>
          <a:prstGeom prst="rect">
            <a:avLst/>
          </a:prstGeom>
          <a:noFill/>
        </p:spPr>
        <p:txBody>
          <a:bodyPr wrap="none" rtlCol="0">
            <a:spAutoFit/>
          </a:bodyPr>
          <a:p>
            <a:r>
              <a:rPr lang="en-US" altLang="zh-CN" b="1">
                <a:solidFill>
                  <a:schemeClr val="tx2"/>
                </a:solidFill>
                <a:latin typeface="华文楷体" panose="02010600040101010101" charset="-122"/>
                <a:ea typeface="华文楷体" panose="02010600040101010101" charset="-122"/>
                <a:cs typeface="华文楷体" panose="02010600040101010101" charset="-122"/>
              </a:rPr>
              <a:t>job:</a:t>
            </a:r>
            <a:r>
              <a:rPr lang="zh-CN" altLang="en-US" b="1">
                <a:solidFill>
                  <a:schemeClr val="tx2"/>
                </a:solidFill>
                <a:latin typeface="华文楷体" panose="02010600040101010101" charset="-122"/>
                <a:ea typeface="华文楷体" panose="02010600040101010101" charset="-122"/>
                <a:cs typeface="华文楷体" panose="02010600040101010101" charset="-122"/>
              </a:rPr>
              <a:t>技术小白</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职责</a:t>
            </a:r>
            <a:r>
              <a:rPr lang="en-US" altLang="zh-CN" b="1">
                <a:solidFill>
                  <a:schemeClr val="tx2"/>
                </a:solidFill>
                <a:latin typeface="华文楷体" panose="02010600040101010101" charset="-122"/>
                <a:ea typeface="华文楷体" panose="02010600040101010101" charset="-122"/>
                <a:cs typeface="华文楷体" panose="02010600040101010101" charset="-122"/>
              </a:rPr>
              <a:t>:</a:t>
            </a:r>
            <a:endParaRPr lang="en-US" altLang="zh-CN" b="1">
              <a:solidFill>
                <a:schemeClr val="tx2"/>
              </a:solidFill>
              <a:latin typeface="华文楷体" panose="02010600040101010101" charset="-122"/>
              <a:ea typeface="华文楷体" panose="02010600040101010101" charset="-122"/>
              <a:cs typeface="华文楷体" panose="02010600040101010101" charset="-122"/>
            </a:endParaRPr>
          </a:p>
          <a:p>
            <a:r>
              <a:rPr lang="en-US" altLang="zh-CN" b="1">
                <a:solidFill>
                  <a:schemeClr val="tx2"/>
                </a:solidFill>
                <a:latin typeface="华文楷体" panose="02010600040101010101" charset="-122"/>
                <a:ea typeface="华文楷体" panose="02010600040101010101" charset="-122"/>
                <a:cs typeface="华文楷体" panose="02010600040101010101" charset="-122"/>
              </a:rPr>
              <a:t> </a:t>
            </a:r>
            <a:r>
              <a:rPr lang="zh-CN" altLang="en-US" b="1">
                <a:solidFill>
                  <a:schemeClr val="tx2"/>
                </a:solidFill>
                <a:latin typeface="华文楷体" panose="02010600040101010101" charset="-122"/>
                <a:ea typeface="华文楷体" panose="02010600040101010101" charset="-122"/>
                <a:cs typeface="华文楷体" panose="02010600040101010101" charset="-122"/>
              </a:rPr>
              <a:t>负责后台</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 增删查改</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 </a:t>
            </a:r>
            <a:r>
              <a:rPr lang="en-US" altLang="zh-CN" b="1">
                <a:solidFill>
                  <a:schemeClr val="tx2"/>
                </a:solidFill>
                <a:latin typeface="华文楷体" panose="02010600040101010101" charset="-122"/>
                <a:ea typeface="华文楷体" panose="02010600040101010101" charset="-122"/>
                <a:cs typeface="华文楷体" panose="02010600040101010101" charset="-122"/>
              </a:rPr>
              <a:t>es</a:t>
            </a:r>
            <a:r>
              <a:rPr lang="zh-CN" altLang="en-US" b="1">
                <a:solidFill>
                  <a:schemeClr val="tx2"/>
                </a:solidFill>
                <a:latin typeface="华文楷体" panose="02010600040101010101" charset="-122"/>
                <a:ea typeface="华文楷体" panose="02010600040101010101" charset="-122"/>
                <a:cs typeface="华文楷体" panose="02010600040101010101" charset="-122"/>
              </a:rPr>
              <a:t>搜索</a:t>
            </a:r>
            <a:endParaRPr lang="zh-CN" altLang="en-US" b="1">
              <a:solidFill>
                <a:schemeClr val="tx2"/>
              </a:solidFill>
              <a:latin typeface="华文楷体" panose="02010600040101010101" charset="-122"/>
              <a:ea typeface="华文楷体" panose="02010600040101010101" charset="-122"/>
              <a:cs typeface="华文楷体" panose="02010600040101010101" charset="-122"/>
            </a:endParaRPr>
          </a:p>
          <a:p>
            <a:r>
              <a:rPr lang="zh-CN" altLang="en-US" b="1">
                <a:solidFill>
                  <a:schemeClr val="tx2"/>
                </a:solidFill>
                <a:latin typeface="华文楷体" panose="02010600040101010101" charset="-122"/>
                <a:ea typeface="华文楷体" panose="02010600040101010101" charset="-122"/>
                <a:cs typeface="华文楷体" panose="02010600040101010101" charset="-122"/>
              </a:rPr>
              <a:t>环境配置</a:t>
            </a:r>
            <a:endParaRPr lang="zh-CN" altLang="en-US">
              <a:latin typeface="华文楷体" panose="02010600040101010101" charset="-122"/>
              <a:ea typeface="华文楷体" panose="02010600040101010101" charset="-122"/>
              <a:cs typeface="华文楷体" panose="02010600040101010101" charset="-122"/>
            </a:endParaRPr>
          </a:p>
          <a:p>
            <a:endParaRPr lang="zh-CN" altLang="en-US">
              <a:latin typeface="华文楷体" panose="02010600040101010101" charset="-122"/>
              <a:ea typeface="华文楷体" panose="02010600040101010101" charset="-122"/>
              <a:cs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图片占位符 5"/>
          <p:cNvPicPr>
            <a:picLocks noGrp="1" noChangeAspect="1"/>
          </p:cNvPicPr>
          <p:nvPr>
            <p:ph type="pic" sz="quarter" idx="14"/>
          </p:nvPr>
        </p:nvPicPr>
        <p:blipFill>
          <a:blip r:embed="rId1">
            <a:extLst>
              <a:ext uri="{28A0092B-C50C-407E-A947-70E740481C1C}">
                <a14:useLocalDpi xmlns:a14="http://schemas.microsoft.com/office/drawing/2010/main" val="0"/>
              </a:ext>
            </a:extLst>
          </a:blip>
          <a:srcRect l="18887" r="18887"/>
          <a:stretch>
            <a:fillRect/>
          </a:stretch>
        </p:blipFill>
        <p:spPr/>
      </p:pic>
      <p:sp>
        <p:nvSpPr>
          <p:cNvPr id="5" name="Rectangle 4"/>
          <p:cNvSpPr/>
          <p:nvPr/>
        </p:nvSpPr>
        <p:spPr>
          <a:xfrm>
            <a:off x="1447800" y="1276278"/>
            <a:ext cx="3747372" cy="4293157"/>
          </a:xfrm>
          <a:prstGeom prst="rect">
            <a:avLst/>
          </a:prstGeom>
          <a:pattFill prst="ltUpDiag">
            <a:fgClr>
              <a:schemeClr val="tx1">
                <a:lumMod val="50000"/>
                <a:lumOff val="50000"/>
              </a:schemeClr>
            </a:fgClr>
            <a:bgClr>
              <a:schemeClr val="tx1">
                <a:lumMod val="75000"/>
                <a:lumOff val="25000"/>
              </a:schemeClr>
            </a:bgClr>
          </a:patt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16" name="Rectangle 15"/>
          <p:cNvSpPr/>
          <p:nvPr/>
        </p:nvSpPr>
        <p:spPr>
          <a:xfrm>
            <a:off x="1856911" y="3551538"/>
            <a:ext cx="3071023" cy="461665"/>
          </a:xfrm>
          <a:prstGeom prst="rect">
            <a:avLst/>
          </a:prstGeom>
        </p:spPr>
        <p:txBody>
          <a:bodyPr wrap="square">
            <a:spAutoFit/>
          </a:bodyPr>
          <a:lstStyle/>
          <a:p>
            <a:pPr algn="ctr">
              <a:buClr>
                <a:srgbClr val="E24848"/>
              </a:buClr>
              <a:defRPr/>
            </a:pPr>
            <a:r>
              <a:rPr lang="en-US" sz="1200" noProof="1">
                <a:solidFill>
                  <a:schemeClr val="bg1">
                    <a:lumMod val="8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bg1">
                  <a:lumMod val="85000"/>
                </a:schemeClr>
              </a:solidFill>
              <a:latin typeface="+mj-lt"/>
              <a:ea typeface="Roboto Light" panose="02000000000000000000" pitchFamily="2" charset="0"/>
              <a:cs typeface="Arial" panose="020B0604020202020204" pitchFamily="34" charset="0"/>
            </a:endParaRPr>
          </a:p>
        </p:txBody>
      </p:sp>
      <p:cxnSp>
        <p:nvCxnSpPr>
          <p:cNvPr id="9" name="Straight Connector 8"/>
          <p:cNvCxnSpPr/>
          <p:nvPr/>
        </p:nvCxnSpPr>
        <p:spPr>
          <a:xfrm>
            <a:off x="1739229" y="27686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739229" y="42164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028023" y="2895641"/>
            <a:ext cx="2801429" cy="830997"/>
          </a:xfrm>
          <a:prstGeom prst="rect">
            <a:avLst/>
          </a:prstGeom>
        </p:spPr>
        <p:txBody>
          <a:bodyPr vert="horz" lIns="91440" tIns="45720" rIns="91440" bIns="45720" rtlCol="0" anchor="ctr">
            <a:noAutofit/>
          </a:bodyPr>
          <a:lstStyle/>
          <a:p>
            <a:pPr algn="ctr" defTabSz="913765">
              <a:spcBef>
                <a:spcPct val="0"/>
              </a:spcBef>
            </a:pPr>
            <a:r>
              <a:rPr lang="zh-CN" altLang="en-US" sz="4800">
                <a:solidFill>
                  <a:schemeClr val="bg1">
                    <a:lumMod val="85000"/>
                  </a:schemeClr>
                </a:solidFill>
                <a:latin typeface="Bebas Neue" panose="020B0606020202050201" pitchFamily="34" charset="0"/>
                <a:ea typeface="Roboto Light" panose="02000000000000000000" pitchFamily="2" charset="0"/>
                <a:cs typeface="Lato Light" charset="0"/>
              </a:rPr>
              <a:t>项目介绍</a:t>
            </a:r>
            <a:endParaRPr lang="zh-CN" altLang="en-US" sz="4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
        <p:nvSpPr>
          <p:cNvPr id="24" name="Rectangle 23"/>
          <p:cNvSpPr/>
          <p:nvPr/>
        </p:nvSpPr>
        <p:spPr>
          <a:xfrm>
            <a:off x="7442005" y="2875002"/>
            <a:ext cx="2928218" cy="1107996"/>
          </a:xfrm>
          <a:prstGeom prst="rect">
            <a:avLst/>
          </a:prstGeom>
        </p:spPr>
        <p:txBody>
          <a:bodyPr wrap="square">
            <a:spAutoFit/>
          </a:bodyPr>
          <a:lstStyle/>
          <a:p>
            <a:pPr>
              <a:buClr>
                <a:srgbClr val="E24848"/>
              </a:buClr>
              <a:defRPr/>
            </a:pPr>
            <a:r>
              <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rPr>
              <a:t>Nulla facilisi nam auctor metus vitae quam gravida, ac vehicula elit mollis. Nunc elementum fringilla nisl, a ornare arcu condimentum a. Nulla euismod congue arcu quis feugiat. Phasellus porttitor felis mauris, sed suscipit quam egestas nec. </a:t>
            </a:r>
            <a:endPar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endParaRPr>
          </a:p>
        </p:txBody>
      </p:sp>
      <p:sp>
        <p:nvSpPr>
          <p:cNvPr id="10" name="Rectangle 16"/>
          <p:cNvSpPr/>
          <p:nvPr/>
        </p:nvSpPr>
        <p:spPr>
          <a:xfrm>
            <a:off x="1939049" y="1757722"/>
            <a:ext cx="2801429" cy="830997"/>
          </a:xfrm>
          <a:prstGeom prst="rect">
            <a:avLst/>
          </a:prstGeom>
        </p:spPr>
        <p:txBody>
          <a:bodyPr vert="horz" lIns="91440" tIns="45720" rIns="91440" bIns="45720" rtlCol="0" anchor="ctr">
            <a:noAutofit/>
          </a:bodyPr>
          <a:lstStyle/>
          <a:p>
            <a:pPr algn="ctr" defTabSz="913765">
              <a:spcBef>
                <a:spcPct val="0"/>
              </a:spcBef>
            </a:pPr>
            <a:r>
              <a:rPr lang="en-US" altLang="zh-CN" sz="8800" dirty="0">
                <a:solidFill>
                  <a:schemeClr val="bg1">
                    <a:lumMod val="85000"/>
                  </a:schemeClr>
                </a:solidFill>
                <a:latin typeface="Bebas Neue" panose="020B0606020202050201" pitchFamily="34" charset="0"/>
                <a:ea typeface="Roboto Light" panose="02000000000000000000" pitchFamily="2" charset="0"/>
                <a:cs typeface="Lato Light" charset="0"/>
              </a:rPr>
              <a:t>02</a:t>
            </a:r>
            <a:endParaRPr lang="zh-CN" altLang="en-US" sz="8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rapezoid 6"/>
          <p:cNvSpPr/>
          <p:nvPr/>
        </p:nvSpPr>
        <p:spPr>
          <a:xfrm rot="5400000">
            <a:off x="-485804" y="2738602"/>
            <a:ext cx="2993676" cy="2022065"/>
          </a:xfrm>
          <a:prstGeom prst="trapezoid">
            <a:avLst>
              <a:gd name="adj" fmla="val 10682"/>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rapezoid 10"/>
          <p:cNvSpPr/>
          <p:nvPr/>
        </p:nvSpPr>
        <p:spPr>
          <a:xfrm rot="16200000" flipH="1">
            <a:off x="9684130" y="2738602"/>
            <a:ext cx="2993676" cy="2022065"/>
          </a:xfrm>
          <a:prstGeom prst="trapezoid">
            <a:avLst>
              <a:gd name="adj" fmla="val 10682"/>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rapezoid 7"/>
          <p:cNvSpPr/>
          <p:nvPr/>
        </p:nvSpPr>
        <p:spPr>
          <a:xfrm rot="16200000" flipH="1">
            <a:off x="3459618" y="2738602"/>
            <a:ext cx="3293044" cy="2022065"/>
          </a:xfrm>
          <a:prstGeom prst="trapezoid">
            <a:avLst>
              <a:gd name="adj" fmla="val 10682"/>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rapezoid 9"/>
          <p:cNvSpPr/>
          <p:nvPr/>
        </p:nvSpPr>
        <p:spPr>
          <a:xfrm rot="5400000">
            <a:off x="5439342" y="2738602"/>
            <a:ext cx="3293044" cy="2022065"/>
          </a:xfrm>
          <a:prstGeom prst="trapezoid">
            <a:avLst>
              <a:gd name="adj" fmla="val 10682"/>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6168148" y="4189337"/>
            <a:ext cx="1823062" cy="430887"/>
          </a:xfrm>
          <a:prstGeom prst="rect">
            <a:avLst/>
          </a:prstGeom>
        </p:spPr>
        <p:txBody>
          <a:bodyPr wrap="square">
            <a:spAutoFit/>
          </a:bodyPr>
          <a:lstStyle/>
          <a:p>
            <a:pPr algn="ctr">
              <a:spcBef>
                <a:spcPts val="600"/>
              </a:spcBef>
              <a:buClr>
                <a:srgbClr val="E24848"/>
              </a:buClr>
              <a:defRPr/>
            </a:pPr>
            <a:r>
              <a:rPr lang="en-US" sz="1100" noProof="1">
                <a:solidFill>
                  <a:schemeClr val="bg1">
                    <a:lumMod val="95000"/>
                  </a:schemeClr>
                </a:solidFill>
                <a:latin typeface="+mj-lt"/>
                <a:ea typeface="Open Sans Light" panose="020B0306030504020204" pitchFamily="34" charset="0"/>
                <a:cs typeface="Open Sans Light" panose="020B0306030504020204" pitchFamily="34" charset="0"/>
              </a:rPr>
              <a:t>Claritas est etiam processus dynamicus, qui sequitur</a:t>
            </a:r>
            <a:endParaRPr lang="en-US" sz="1100" noProof="1">
              <a:solidFill>
                <a:schemeClr val="bg1">
                  <a:lumMod val="95000"/>
                </a:schemeClr>
              </a:solidFill>
              <a:latin typeface="+mj-lt"/>
              <a:ea typeface="Open Sans Light" panose="020B0306030504020204" pitchFamily="34" charset="0"/>
              <a:cs typeface="Open Sans Light" panose="020B0306030504020204" pitchFamily="34" charset="0"/>
            </a:endParaRPr>
          </a:p>
        </p:txBody>
      </p:sp>
      <p:sp>
        <p:nvSpPr>
          <p:cNvPr id="15" name="Rectangle 14"/>
          <p:cNvSpPr/>
          <p:nvPr/>
        </p:nvSpPr>
        <p:spPr>
          <a:xfrm>
            <a:off x="4281471" y="3834197"/>
            <a:ext cx="1636699" cy="394845"/>
          </a:xfrm>
          <a:prstGeom prst="rect">
            <a:avLst/>
          </a:prstGeom>
        </p:spPr>
        <p:txBody>
          <a:bodyPr vert="horz" lIns="91440" tIns="45720" rIns="91440" bIns="45720" rtlCol="0" anchor="ctr">
            <a:noAutofit/>
          </a:bodyPr>
          <a:lstStyle/>
          <a:p>
            <a:pPr algn="ctr" defTabSz="913765">
              <a:spcBef>
                <a:spcPct val="0"/>
              </a:spcBef>
            </a:pPr>
            <a:r>
              <a:rPr lang="en-US" sz="2000" noProof="1">
                <a:solidFill>
                  <a:schemeClr val="bg1">
                    <a:lumMod val="95000"/>
                  </a:schemeClr>
                </a:solidFill>
                <a:latin typeface="Bebas Neue" panose="020B0606020202050201" pitchFamily="34" charset="0"/>
                <a:ea typeface="Roboto Light" panose="02000000000000000000" pitchFamily="2" charset="0"/>
                <a:cs typeface="Lato Light" charset="0"/>
              </a:rPr>
              <a:t>Lorem ipsum </a:t>
            </a:r>
            <a:endParaRPr lang="en-US" sz="2000" noProof="1">
              <a:solidFill>
                <a:schemeClr val="bg1">
                  <a:lumMod val="95000"/>
                </a:schemeClr>
              </a:solidFill>
              <a:latin typeface="Bebas Neue" panose="020B0606020202050201" pitchFamily="34" charset="0"/>
              <a:ea typeface="Roboto Light" panose="02000000000000000000" pitchFamily="2" charset="0"/>
              <a:cs typeface="Lato Light" charset="0"/>
            </a:endParaRPr>
          </a:p>
        </p:txBody>
      </p:sp>
      <p:sp>
        <p:nvSpPr>
          <p:cNvPr id="37" name="Rectangle 36"/>
          <p:cNvSpPr/>
          <p:nvPr/>
        </p:nvSpPr>
        <p:spPr>
          <a:xfrm>
            <a:off x="6267514" y="3834197"/>
            <a:ext cx="1636699" cy="394845"/>
          </a:xfrm>
          <a:prstGeom prst="rect">
            <a:avLst/>
          </a:prstGeom>
        </p:spPr>
        <p:txBody>
          <a:bodyPr vert="horz" lIns="91440" tIns="45720" rIns="91440" bIns="45720" rtlCol="0" anchor="ctr">
            <a:noAutofit/>
          </a:bodyPr>
          <a:lstStyle/>
          <a:p>
            <a:pPr algn="ctr" defTabSz="913765">
              <a:spcBef>
                <a:spcPct val="0"/>
              </a:spcBef>
            </a:pPr>
            <a:r>
              <a:rPr lang="en-US" sz="2000" noProof="1">
                <a:solidFill>
                  <a:schemeClr val="bg1">
                    <a:lumMod val="95000"/>
                  </a:schemeClr>
                </a:solidFill>
                <a:latin typeface="Bebas Neue" panose="020B0606020202050201" pitchFamily="34" charset="0"/>
                <a:ea typeface="Roboto Light" panose="02000000000000000000" pitchFamily="2" charset="0"/>
                <a:cs typeface="Lato Light" charset="0"/>
              </a:rPr>
              <a:t>Lorem ipsum </a:t>
            </a:r>
            <a:endParaRPr lang="en-US" sz="2000" noProof="1">
              <a:solidFill>
                <a:schemeClr val="bg1">
                  <a:lumMod val="95000"/>
                </a:schemeClr>
              </a:solidFill>
              <a:latin typeface="Bebas Neue" panose="020B0606020202050201" pitchFamily="34" charset="0"/>
              <a:ea typeface="Roboto Light" panose="02000000000000000000" pitchFamily="2" charset="0"/>
              <a:cs typeface="Lato Light" charset="0"/>
            </a:endParaRPr>
          </a:p>
        </p:txBody>
      </p:sp>
      <p:sp>
        <p:nvSpPr>
          <p:cNvPr id="52" name="Rectangle 51"/>
          <p:cNvSpPr/>
          <p:nvPr/>
        </p:nvSpPr>
        <p:spPr>
          <a:xfrm>
            <a:off x="4187538" y="4189337"/>
            <a:ext cx="1823062" cy="430887"/>
          </a:xfrm>
          <a:prstGeom prst="rect">
            <a:avLst/>
          </a:prstGeom>
        </p:spPr>
        <p:txBody>
          <a:bodyPr wrap="square">
            <a:spAutoFit/>
          </a:bodyPr>
          <a:lstStyle/>
          <a:p>
            <a:pPr algn="ctr">
              <a:spcBef>
                <a:spcPts val="600"/>
              </a:spcBef>
              <a:buClr>
                <a:srgbClr val="E24848"/>
              </a:buClr>
              <a:defRPr/>
            </a:pPr>
            <a:r>
              <a:rPr lang="en-US" sz="1100" noProof="1">
                <a:solidFill>
                  <a:schemeClr val="bg1">
                    <a:lumMod val="95000"/>
                  </a:schemeClr>
                </a:solidFill>
                <a:latin typeface="+mj-lt"/>
                <a:ea typeface="Open Sans Light" panose="020B0306030504020204" pitchFamily="34" charset="0"/>
                <a:cs typeface="Open Sans Light" panose="020B0306030504020204" pitchFamily="34" charset="0"/>
              </a:rPr>
              <a:t>Claritas est etiam processus dynamicus, qui sequitur</a:t>
            </a:r>
            <a:endParaRPr lang="en-US" sz="1100" noProof="1">
              <a:solidFill>
                <a:schemeClr val="bg1">
                  <a:lumMod val="95000"/>
                </a:schemeClr>
              </a:solidFill>
              <a:latin typeface="+mj-lt"/>
              <a:ea typeface="Open Sans Light" panose="020B0306030504020204" pitchFamily="34" charset="0"/>
              <a:cs typeface="Open Sans Light" panose="020B0306030504020204" pitchFamily="34" charset="0"/>
            </a:endParaRPr>
          </a:p>
        </p:txBody>
      </p:sp>
      <p:sp>
        <p:nvSpPr>
          <p:cNvPr id="53" name="Freeform 882"/>
          <p:cNvSpPr>
            <a:spLocks noEditPoints="1"/>
          </p:cNvSpPr>
          <p:nvPr/>
        </p:nvSpPr>
        <p:spPr bwMode="auto">
          <a:xfrm>
            <a:off x="4771476" y="2932968"/>
            <a:ext cx="655185" cy="687945"/>
          </a:xfrm>
          <a:custGeom>
            <a:avLst/>
            <a:gdLst>
              <a:gd name="T0" fmla="*/ 328 w 360"/>
              <a:gd name="T1" fmla="*/ 327 h 379"/>
              <a:gd name="T2" fmla="*/ 283 w 360"/>
              <a:gd name="T3" fmla="*/ 310 h 379"/>
              <a:gd name="T4" fmla="*/ 265 w 360"/>
              <a:gd name="T5" fmla="*/ 300 h 379"/>
              <a:gd name="T6" fmla="*/ 253 w 360"/>
              <a:gd name="T7" fmla="*/ 284 h 379"/>
              <a:gd name="T8" fmla="*/ 249 w 360"/>
              <a:gd name="T9" fmla="*/ 273 h 379"/>
              <a:gd name="T10" fmla="*/ 245 w 360"/>
              <a:gd name="T11" fmla="*/ 254 h 379"/>
              <a:gd name="T12" fmla="*/ 242 w 360"/>
              <a:gd name="T13" fmla="*/ 197 h 379"/>
              <a:gd name="T14" fmla="*/ 242 w 360"/>
              <a:gd name="T15" fmla="*/ 108 h 379"/>
              <a:gd name="T16" fmla="*/ 244 w 360"/>
              <a:gd name="T17" fmla="*/ 83 h 379"/>
              <a:gd name="T18" fmla="*/ 230 w 360"/>
              <a:gd name="T19" fmla="*/ 67 h 379"/>
              <a:gd name="T20" fmla="*/ 208 w 360"/>
              <a:gd name="T21" fmla="*/ 51 h 379"/>
              <a:gd name="T22" fmla="*/ 184 w 360"/>
              <a:gd name="T23" fmla="*/ 39 h 379"/>
              <a:gd name="T24" fmla="*/ 128 w 360"/>
              <a:gd name="T25" fmla="*/ 17 h 379"/>
              <a:gd name="T26" fmla="*/ 68 w 360"/>
              <a:gd name="T27" fmla="*/ 1 h 379"/>
              <a:gd name="T28" fmla="*/ 66 w 360"/>
              <a:gd name="T29" fmla="*/ 0 h 379"/>
              <a:gd name="T30" fmla="*/ 63 w 360"/>
              <a:gd name="T31" fmla="*/ 0 h 379"/>
              <a:gd name="T32" fmla="*/ 62 w 360"/>
              <a:gd name="T33" fmla="*/ 0 h 379"/>
              <a:gd name="T34" fmla="*/ 59 w 360"/>
              <a:gd name="T35" fmla="*/ 3 h 379"/>
              <a:gd name="T36" fmla="*/ 54 w 360"/>
              <a:gd name="T37" fmla="*/ 9 h 379"/>
              <a:gd name="T38" fmla="*/ 52 w 360"/>
              <a:gd name="T39" fmla="*/ 21 h 379"/>
              <a:gd name="T40" fmla="*/ 57 w 360"/>
              <a:gd name="T41" fmla="*/ 50 h 379"/>
              <a:gd name="T42" fmla="*/ 61 w 360"/>
              <a:gd name="T43" fmla="*/ 68 h 379"/>
              <a:gd name="T44" fmla="*/ 56 w 360"/>
              <a:gd name="T45" fmla="*/ 77 h 379"/>
              <a:gd name="T46" fmla="*/ 29 w 360"/>
              <a:gd name="T47" fmla="*/ 108 h 379"/>
              <a:gd name="T48" fmla="*/ 4 w 360"/>
              <a:gd name="T49" fmla="*/ 142 h 379"/>
              <a:gd name="T50" fmla="*/ 0 w 360"/>
              <a:gd name="T51" fmla="*/ 151 h 379"/>
              <a:gd name="T52" fmla="*/ 3 w 360"/>
              <a:gd name="T53" fmla="*/ 168 h 379"/>
              <a:gd name="T54" fmla="*/ 17 w 360"/>
              <a:gd name="T55" fmla="*/ 199 h 379"/>
              <a:gd name="T56" fmla="*/ 29 w 360"/>
              <a:gd name="T57" fmla="*/ 228 h 379"/>
              <a:gd name="T58" fmla="*/ 32 w 360"/>
              <a:gd name="T59" fmla="*/ 247 h 379"/>
              <a:gd name="T60" fmla="*/ 35 w 360"/>
              <a:gd name="T61" fmla="*/ 291 h 379"/>
              <a:gd name="T62" fmla="*/ 34 w 360"/>
              <a:gd name="T63" fmla="*/ 350 h 379"/>
              <a:gd name="T64" fmla="*/ 47 w 360"/>
              <a:gd name="T65" fmla="*/ 364 h 379"/>
              <a:gd name="T66" fmla="*/ 47 w 360"/>
              <a:gd name="T67" fmla="*/ 346 h 379"/>
              <a:gd name="T68" fmla="*/ 47 w 360"/>
              <a:gd name="T69" fmla="*/ 250 h 379"/>
              <a:gd name="T70" fmla="*/ 50 w 360"/>
              <a:gd name="T71" fmla="*/ 223 h 379"/>
              <a:gd name="T72" fmla="*/ 56 w 360"/>
              <a:gd name="T73" fmla="*/ 214 h 379"/>
              <a:gd name="T74" fmla="*/ 61 w 360"/>
              <a:gd name="T75" fmla="*/ 213 h 379"/>
              <a:gd name="T76" fmla="*/ 70 w 360"/>
              <a:gd name="T77" fmla="*/ 218 h 379"/>
              <a:gd name="T78" fmla="*/ 84 w 360"/>
              <a:gd name="T79" fmla="*/ 233 h 379"/>
              <a:gd name="T80" fmla="*/ 112 w 360"/>
              <a:gd name="T81" fmla="*/ 282 h 379"/>
              <a:gd name="T82" fmla="*/ 131 w 360"/>
              <a:gd name="T83" fmla="*/ 329 h 379"/>
              <a:gd name="T84" fmla="*/ 137 w 360"/>
              <a:gd name="T85" fmla="*/ 344 h 379"/>
              <a:gd name="T86" fmla="*/ 153 w 360"/>
              <a:gd name="T87" fmla="*/ 366 h 379"/>
              <a:gd name="T88" fmla="*/ 172 w 360"/>
              <a:gd name="T89" fmla="*/ 376 h 379"/>
              <a:gd name="T90" fmla="*/ 194 w 360"/>
              <a:gd name="T91" fmla="*/ 379 h 379"/>
              <a:gd name="T92" fmla="*/ 207 w 360"/>
              <a:gd name="T93" fmla="*/ 379 h 379"/>
              <a:gd name="T94" fmla="*/ 262 w 360"/>
              <a:gd name="T95" fmla="*/ 373 h 379"/>
              <a:gd name="T96" fmla="*/ 322 w 360"/>
              <a:gd name="T97" fmla="*/ 365 h 379"/>
              <a:gd name="T98" fmla="*/ 336 w 360"/>
              <a:gd name="T99" fmla="*/ 362 h 379"/>
              <a:gd name="T100" fmla="*/ 355 w 360"/>
              <a:gd name="T101" fmla="*/ 356 h 379"/>
              <a:gd name="T102" fmla="*/ 360 w 360"/>
              <a:gd name="T103" fmla="*/ 352 h 379"/>
              <a:gd name="T104" fmla="*/ 359 w 360"/>
              <a:gd name="T105" fmla="*/ 347 h 379"/>
              <a:gd name="T106" fmla="*/ 355 w 360"/>
              <a:gd name="T107" fmla="*/ 341 h 379"/>
              <a:gd name="T108" fmla="*/ 328 w 360"/>
              <a:gd name="T109" fmla="*/ 327 h 379"/>
              <a:gd name="T110" fmla="*/ 66 w 360"/>
              <a:gd name="T111" fmla="*/ 41 h 379"/>
              <a:gd name="T112" fmla="*/ 62 w 360"/>
              <a:gd name="T113" fmla="*/ 26 h 379"/>
              <a:gd name="T114" fmla="*/ 62 w 360"/>
              <a:gd name="T115" fmla="*/ 14 h 379"/>
              <a:gd name="T116" fmla="*/ 64 w 360"/>
              <a:gd name="T117" fmla="*/ 10 h 379"/>
              <a:gd name="T118" fmla="*/ 66 w 360"/>
              <a:gd name="T119" fmla="*/ 41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0" h="379">
                <a:moveTo>
                  <a:pt x="328" y="327"/>
                </a:moveTo>
                <a:lnTo>
                  <a:pt x="328" y="327"/>
                </a:lnTo>
                <a:lnTo>
                  <a:pt x="296" y="314"/>
                </a:lnTo>
                <a:lnTo>
                  <a:pt x="283" y="310"/>
                </a:lnTo>
                <a:lnTo>
                  <a:pt x="273" y="305"/>
                </a:lnTo>
                <a:lnTo>
                  <a:pt x="265" y="300"/>
                </a:lnTo>
                <a:lnTo>
                  <a:pt x="259" y="293"/>
                </a:lnTo>
                <a:lnTo>
                  <a:pt x="253" y="284"/>
                </a:lnTo>
                <a:lnTo>
                  <a:pt x="249" y="273"/>
                </a:lnTo>
                <a:lnTo>
                  <a:pt x="249" y="273"/>
                </a:lnTo>
                <a:lnTo>
                  <a:pt x="248" y="264"/>
                </a:lnTo>
                <a:lnTo>
                  <a:pt x="245" y="254"/>
                </a:lnTo>
                <a:lnTo>
                  <a:pt x="244" y="228"/>
                </a:lnTo>
                <a:lnTo>
                  <a:pt x="242" y="197"/>
                </a:lnTo>
                <a:lnTo>
                  <a:pt x="242" y="164"/>
                </a:lnTo>
                <a:lnTo>
                  <a:pt x="242" y="108"/>
                </a:lnTo>
                <a:lnTo>
                  <a:pt x="244" y="83"/>
                </a:lnTo>
                <a:lnTo>
                  <a:pt x="244" y="83"/>
                </a:lnTo>
                <a:lnTo>
                  <a:pt x="237" y="74"/>
                </a:lnTo>
                <a:lnTo>
                  <a:pt x="230" y="67"/>
                </a:lnTo>
                <a:lnTo>
                  <a:pt x="219" y="59"/>
                </a:lnTo>
                <a:lnTo>
                  <a:pt x="208" y="51"/>
                </a:lnTo>
                <a:lnTo>
                  <a:pt x="196" y="45"/>
                </a:lnTo>
                <a:lnTo>
                  <a:pt x="184" y="39"/>
                </a:lnTo>
                <a:lnTo>
                  <a:pt x="155" y="27"/>
                </a:lnTo>
                <a:lnTo>
                  <a:pt x="128" y="17"/>
                </a:lnTo>
                <a:lnTo>
                  <a:pt x="103" y="9"/>
                </a:lnTo>
                <a:lnTo>
                  <a:pt x="68" y="1"/>
                </a:lnTo>
                <a:lnTo>
                  <a:pt x="68" y="1"/>
                </a:lnTo>
                <a:lnTo>
                  <a:pt x="66" y="0"/>
                </a:lnTo>
                <a:lnTo>
                  <a:pt x="63" y="0"/>
                </a:lnTo>
                <a:lnTo>
                  <a:pt x="63" y="0"/>
                </a:lnTo>
                <a:lnTo>
                  <a:pt x="63" y="0"/>
                </a:lnTo>
                <a:lnTo>
                  <a:pt x="62" y="0"/>
                </a:lnTo>
                <a:lnTo>
                  <a:pt x="62" y="0"/>
                </a:lnTo>
                <a:lnTo>
                  <a:pt x="59" y="3"/>
                </a:lnTo>
                <a:lnTo>
                  <a:pt x="56" y="5"/>
                </a:lnTo>
                <a:lnTo>
                  <a:pt x="54" y="9"/>
                </a:lnTo>
                <a:lnTo>
                  <a:pt x="53" y="13"/>
                </a:lnTo>
                <a:lnTo>
                  <a:pt x="52" y="21"/>
                </a:lnTo>
                <a:lnTo>
                  <a:pt x="53" y="31"/>
                </a:lnTo>
                <a:lnTo>
                  <a:pt x="57" y="50"/>
                </a:lnTo>
                <a:lnTo>
                  <a:pt x="61" y="68"/>
                </a:lnTo>
                <a:lnTo>
                  <a:pt x="61" y="68"/>
                </a:lnTo>
                <a:lnTo>
                  <a:pt x="58" y="73"/>
                </a:lnTo>
                <a:lnTo>
                  <a:pt x="56" y="77"/>
                </a:lnTo>
                <a:lnTo>
                  <a:pt x="56" y="77"/>
                </a:lnTo>
                <a:lnTo>
                  <a:pt x="29" y="108"/>
                </a:lnTo>
                <a:lnTo>
                  <a:pt x="15" y="126"/>
                </a:lnTo>
                <a:lnTo>
                  <a:pt x="4" y="142"/>
                </a:lnTo>
                <a:lnTo>
                  <a:pt x="4" y="142"/>
                </a:lnTo>
                <a:lnTo>
                  <a:pt x="0" y="151"/>
                </a:lnTo>
                <a:lnTo>
                  <a:pt x="0" y="159"/>
                </a:lnTo>
                <a:lnTo>
                  <a:pt x="3" y="168"/>
                </a:lnTo>
                <a:lnTo>
                  <a:pt x="7" y="177"/>
                </a:lnTo>
                <a:lnTo>
                  <a:pt x="17" y="199"/>
                </a:lnTo>
                <a:lnTo>
                  <a:pt x="24" y="211"/>
                </a:lnTo>
                <a:lnTo>
                  <a:pt x="29" y="228"/>
                </a:lnTo>
                <a:lnTo>
                  <a:pt x="29" y="228"/>
                </a:lnTo>
                <a:lnTo>
                  <a:pt x="32" y="247"/>
                </a:lnTo>
                <a:lnTo>
                  <a:pt x="34" y="268"/>
                </a:lnTo>
                <a:lnTo>
                  <a:pt x="35" y="291"/>
                </a:lnTo>
                <a:lnTo>
                  <a:pt x="35" y="312"/>
                </a:lnTo>
                <a:lnTo>
                  <a:pt x="34" y="350"/>
                </a:lnTo>
                <a:lnTo>
                  <a:pt x="32" y="364"/>
                </a:lnTo>
                <a:lnTo>
                  <a:pt x="47" y="364"/>
                </a:lnTo>
                <a:lnTo>
                  <a:pt x="47" y="364"/>
                </a:lnTo>
                <a:lnTo>
                  <a:pt x="47" y="346"/>
                </a:lnTo>
                <a:lnTo>
                  <a:pt x="47" y="250"/>
                </a:lnTo>
                <a:lnTo>
                  <a:pt x="47" y="250"/>
                </a:lnTo>
                <a:lnTo>
                  <a:pt x="48" y="234"/>
                </a:lnTo>
                <a:lnTo>
                  <a:pt x="50" y="223"/>
                </a:lnTo>
                <a:lnTo>
                  <a:pt x="53" y="215"/>
                </a:lnTo>
                <a:lnTo>
                  <a:pt x="56" y="214"/>
                </a:lnTo>
                <a:lnTo>
                  <a:pt x="58" y="213"/>
                </a:lnTo>
                <a:lnTo>
                  <a:pt x="61" y="213"/>
                </a:lnTo>
                <a:lnTo>
                  <a:pt x="63" y="214"/>
                </a:lnTo>
                <a:lnTo>
                  <a:pt x="70" y="218"/>
                </a:lnTo>
                <a:lnTo>
                  <a:pt x="76" y="224"/>
                </a:lnTo>
                <a:lnTo>
                  <a:pt x="84" y="233"/>
                </a:lnTo>
                <a:lnTo>
                  <a:pt x="98" y="256"/>
                </a:lnTo>
                <a:lnTo>
                  <a:pt x="112" y="282"/>
                </a:lnTo>
                <a:lnTo>
                  <a:pt x="123" y="307"/>
                </a:lnTo>
                <a:lnTo>
                  <a:pt x="131" y="329"/>
                </a:lnTo>
                <a:lnTo>
                  <a:pt x="131" y="329"/>
                </a:lnTo>
                <a:lnTo>
                  <a:pt x="137" y="344"/>
                </a:lnTo>
                <a:lnTo>
                  <a:pt x="145" y="357"/>
                </a:lnTo>
                <a:lnTo>
                  <a:pt x="153" y="366"/>
                </a:lnTo>
                <a:lnTo>
                  <a:pt x="162" y="373"/>
                </a:lnTo>
                <a:lnTo>
                  <a:pt x="172" y="376"/>
                </a:lnTo>
                <a:lnTo>
                  <a:pt x="182" y="379"/>
                </a:lnTo>
                <a:lnTo>
                  <a:pt x="194" y="379"/>
                </a:lnTo>
                <a:lnTo>
                  <a:pt x="207" y="379"/>
                </a:lnTo>
                <a:lnTo>
                  <a:pt x="207" y="379"/>
                </a:lnTo>
                <a:lnTo>
                  <a:pt x="233" y="376"/>
                </a:lnTo>
                <a:lnTo>
                  <a:pt x="262" y="373"/>
                </a:lnTo>
                <a:lnTo>
                  <a:pt x="291" y="369"/>
                </a:lnTo>
                <a:lnTo>
                  <a:pt x="322" y="365"/>
                </a:lnTo>
                <a:lnTo>
                  <a:pt x="322" y="365"/>
                </a:lnTo>
                <a:lnTo>
                  <a:pt x="336" y="362"/>
                </a:lnTo>
                <a:lnTo>
                  <a:pt x="347" y="360"/>
                </a:lnTo>
                <a:lnTo>
                  <a:pt x="355" y="356"/>
                </a:lnTo>
                <a:lnTo>
                  <a:pt x="358" y="355"/>
                </a:lnTo>
                <a:lnTo>
                  <a:pt x="360" y="352"/>
                </a:lnTo>
                <a:lnTo>
                  <a:pt x="360" y="350"/>
                </a:lnTo>
                <a:lnTo>
                  <a:pt x="359" y="347"/>
                </a:lnTo>
                <a:lnTo>
                  <a:pt x="358" y="344"/>
                </a:lnTo>
                <a:lnTo>
                  <a:pt x="355" y="341"/>
                </a:lnTo>
                <a:lnTo>
                  <a:pt x="345" y="334"/>
                </a:lnTo>
                <a:lnTo>
                  <a:pt x="328" y="327"/>
                </a:lnTo>
                <a:close/>
                <a:moveTo>
                  <a:pt x="66" y="41"/>
                </a:moveTo>
                <a:lnTo>
                  <a:pt x="66" y="41"/>
                </a:lnTo>
                <a:lnTo>
                  <a:pt x="63" y="35"/>
                </a:lnTo>
                <a:lnTo>
                  <a:pt x="62" y="26"/>
                </a:lnTo>
                <a:lnTo>
                  <a:pt x="62" y="18"/>
                </a:lnTo>
                <a:lnTo>
                  <a:pt x="62" y="14"/>
                </a:lnTo>
                <a:lnTo>
                  <a:pt x="64" y="10"/>
                </a:lnTo>
                <a:lnTo>
                  <a:pt x="64" y="10"/>
                </a:lnTo>
                <a:lnTo>
                  <a:pt x="66" y="25"/>
                </a:lnTo>
                <a:lnTo>
                  <a:pt x="66" y="41"/>
                </a:lnTo>
                <a:close/>
              </a:path>
            </a:pathLst>
          </a:custGeom>
          <a:solidFill>
            <a:schemeClr val="bg1"/>
          </a:solidFill>
          <a:ln>
            <a:noFill/>
          </a:ln>
        </p:spPr>
        <p:txBody>
          <a:bodyPr vert="horz" wrap="square" lIns="91440" tIns="45720" rIns="91440" bIns="45720" numCol="1" anchor="t" anchorCtr="0" compatLnSpc="1"/>
          <a:lstStyle/>
          <a:p>
            <a:endParaRPr lang="en-US"/>
          </a:p>
        </p:txBody>
      </p:sp>
      <p:sp>
        <p:nvSpPr>
          <p:cNvPr id="54" name="Freeform 1653"/>
          <p:cNvSpPr>
            <a:spLocks noEditPoints="1"/>
          </p:cNvSpPr>
          <p:nvPr/>
        </p:nvSpPr>
        <p:spPr bwMode="auto">
          <a:xfrm>
            <a:off x="6551553" y="2971605"/>
            <a:ext cx="1017648" cy="641758"/>
          </a:xfrm>
          <a:custGeom>
            <a:avLst/>
            <a:gdLst>
              <a:gd name="T0" fmla="*/ 62 w 666"/>
              <a:gd name="T1" fmla="*/ 244 h 420"/>
              <a:gd name="T2" fmla="*/ 30 w 666"/>
              <a:gd name="T3" fmla="*/ 250 h 420"/>
              <a:gd name="T4" fmla="*/ 22 w 666"/>
              <a:gd name="T5" fmla="*/ 237 h 420"/>
              <a:gd name="T6" fmla="*/ 85 w 666"/>
              <a:gd name="T7" fmla="*/ 269 h 420"/>
              <a:gd name="T8" fmla="*/ 113 w 666"/>
              <a:gd name="T9" fmla="*/ 226 h 420"/>
              <a:gd name="T10" fmla="*/ 236 w 666"/>
              <a:gd name="T11" fmla="*/ 236 h 420"/>
              <a:gd name="T12" fmla="*/ 285 w 666"/>
              <a:gd name="T13" fmla="*/ 268 h 420"/>
              <a:gd name="T14" fmla="*/ 281 w 666"/>
              <a:gd name="T15" fmla="*/ 324 h 420"/>
              <a:gd name="T16" fmla="*/ 212 w 666"/>
              <a:gd name="T17" fmla="*/ 388 h 420"/>
              <a:gd name="T18" fmla="*/ 140 w 666"/>
              <a:gd name="T19" fmla="*/ 392 h 420"/>
              <a:gd name="T20" fmla="*/ 70 w 666"/>
              <a:gd name="T21" fmla="*/ 345 h 420"/>
              <a:gd name="T22" fmla="*/ 64 w 666"/>
              <a:gd name="T23" fmla="*/ 305 h 420"/>
              <a:gd name="T24" fmla="*/ 411 w 666"/>
              <a:gd name="T25" fmla="*/ 244 h 420"/>
              <a:gd name="T26" fmla="*/ 544 w 666"/>
              <a:gd name="T27" fmla="*/ 224 h 420"/>
              <a:gd name="T28" fmla="*/ 580 w 666"/>
              <a:gd name="T29" fmla="*/ 254 h 420"/>
              <a:gd name="T30" fmla="*/ 598 w 666"/>
              <a:gd name="T31" fmla="*/ 295 h 420"/>
              <a:gd name="T32" fmla="*/ 603 w 666"/>
              <a:gd name="T33" fmla="*/ 337 h 420"/>
              <a:gd name="T34" fmla="*/ 548 w 666"/>
              <a:gd name="T35" fmla="*/ 387 h 420"/>
              <a:gd name="T36" fmla="*/ 477 w 666"/>
              <a:gd name="T37" fmla="*/ 393 h 420"/>
              <a:gd name="T38" fmla="*/ 406 w 666"/>
              <a:gd name="T39" fmla="*/ 354 h 420"/>
              <a:gd name="T40" fmla="*/ 381 w 666"/>
              <a:gd name="T41" fmla="*/ 281 h 420"/>
              <a:gd name="T42" fmla="*/ 639 w 666"/>
              <a:gd name="T43" fmla="*/ 237 h 420"/>
              <a:gd name="T44" fmla="*/ 639 w 666"/>
              <a:gd name="T45" fmla="*/ 250 h 420"/>
              <a:gd name="T46" fmla="*/ 603 w 666"/>
              <a:gd name="T47" fmla="*/ 244 h 420"/>
              <a:gd name="T48" fmla="*/ 27 w 666"/>
              <a:gd name="T49" fmla="*/ 315 h 420"/>
              <a:gd name="T50" fmla="*/ 66 w 666"/>
              <a:gd name="T51" fmla="*/ 391 h 420"/>
              <a:gd name="T52" fmla="*/ 131 w 666"/>
              <a:gd name="T53" fmla="*/ 419 h 420"/>
              <a:gd name="T54" fmla="*/ 251 w 666"/>
              <a:gd name="T55" fmla="*/ 404 h 420"/>
              <a:gd name="T56" fmla="*/ 303 w 666"/>
              <a:gd name="T57" fmla="*/ 350 h 420"/>
              <a:gd name="T58" fmla="*/ 320 w 666"/>
              <a:gd name="T59" fmla="*/ 300 h 420"/>
              <a:gd name="T60" fmla="*/ 350 w 666"/>
              <a:gd name="T61" fmla="*/ 305 h 420"/>
              <a:gd name="T62" fmla="*/ 408 w 666"/>
              <a:gd name="T63" fmla="*/ 390 h 420"/>
              <a:gd name="T64" fmla="*/ 479 w 666"/>
              <a:gd name="T65" fmla="*/ 419 h 420"/>
              <a:gd name="T66" fmla="*/ 560 w 666"/>
              <a:gd name="T67" fmla="*/ 410 h 420"/>
              <a:gd name="T68" fmla="*/ 638 w 666"/>
              <a:gd name="T69" fmla="*/ 331 h 420"/>
              <a:gd name="T70" fmla="*/ 658 w 666"/>
              <a:gd name="T71" fmla="*/ 263 h 420"/>
              <a:gd name="T72" fmla="*/ 664 w 666"/>
              <a:gd name="T73" fmla="*/ 206 h 420"/>
              <a:gd name="T74" fmla="*/ 640 w 666"/>
              <a:gd name="T75" fmla="*/ 167 h 420"/>
              <a:gd name="T76" fmla="*/ 585 w 666"/>
              <a:gd name="T77" fmla="*/ 34 h 420"/>
              <a:gd name="T78" fmla="*/ 550 w 666"/>
              <a:gd name="T79" fmla="*/ 23 h 420"/>
              <a:gd name="T80" fmla="*/ 521 w 666"/>
              <a:gd name="T81" fmla="*/ 49 h 420"/>
              <a:gd name="T82" fmla="*/ 538 w 666"/>
              <a:gd name="T83" fmla="*/ 59 h 420"/>
              <a:gd name="T84" fmla="*/ 561 w 666"/>
              <a:gd name="T85" fmla="*/ 41 h 420"/>
              <a:gd name="T86" fmla="*/ 596 w 666"/>
              <a:gd name="T87" fmla="*/ 113 h 420"/>
              <a:gd name="T88" fmla="*/ 601 w 666"/>
              <a:gd name="T89" fmla="*/ 183 h 420"/>
              <a:gd name="T90" fmla="*/ 492 w 666"/>
              <a:gd name="T91" fmla="*/ 198 h 420"/>
              <a:gd name="T92" fmla="*/ 386 w 666"/>
              <a:gd name="T93" fmla="*/ 231 h 420"/>
              <a:gd name="T94" fmla="*/ 333 w 666"/>
              <a:gd name="T95" fmla="*/ 254 h 420"/>
              <a:gd name="T96" fmla="*/ 273 w 666"/>
              <a:gd name="T97" fmla="*/ 224 h 420"/>
              <a:gd name="T98" fmla="*/ 150 w 666"/>
              <a:gd name="T99" fmla="*/ 195 h 420"/>
              <a:gd name="T100" fmla="*/ 66 w 666"/>
              <a:gd name="T101" fmla="*/ 185 h 420"/>
              <a:gd name="T102" fmla="*/ 73 w 666"/>
              <a:gd name="T103" fmla="*/ 91 h 420"/>
              <a:gd name="T104" fmla="*/ 108 w 666"/>
              <a:gd name="T105" fmla="*/ 21 h 420"/>
              <a:gd name="T106" fmla="*/ 132 w 666"/>
              <a:gd name="T107" fmla="*/ 39 h 420"/>
              <a:gd name="T108" fmla="*/ 149 w 666"/>
              <a:gd name="T109" fmla="*/ 29 h 420"/>
              <a:gd name="T110" fmla="*/ 121 w 666"/>
              <a:gd name="T111" fmla="*/ 2 h 420"/>
              <a:gd name="T112" fmla="*/ 85 w 666"/>
              <a:gd name="T113" fmla="*/ 13 h 420"/>
              <a:gd name="T114" fmla="*/ 31 w 666"/>
              <a:gd name="T115" fmla="*/ 142 h 420"/>
              <a:gd name="T116" fmla="*/ 22 w 666"/>
              <a:gd name="T117" fmla="*/ 198 h 420"/>
              <a:gd name="T118" fmla="*/ 8 w 666"/>
              <a:gd name="T119" fmla="*/ 210 h 420"/>
              <a:gd name="T120" fmla="*/ 3 w 666"/>
              <a:gd name="T121" fmla="*/ 25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6" h="420">
                <a:moveTo>
                  <a:pt x="30" y="237"/>
                </a:moveTo>
                <a:lnTo>
                  <a:pt x="50" y="237"/>
                </a:lnTo>
                <a:lnTo>
                  <a:pt x="50" y="237"/>
                </a:lnTo>
                <a:lnTo>
                  <a:pt x="56" y="237"/>
                </a:lnTo>
                <a:lnTo>
                  <a:pt x="58" y="237"/>
                </a:lnTo>
                <a:lnTo>
                  <a:pt x="61" y="240"/>
                </a:lnTo>
                <a:lnTo>
                  <a:pt x="62" y="244"/>
                </a:lnTo>
                <a:lnTo>
                  <a:pt x="62" y="244"/>
                </a:lnTo>
                <a:lnTo>
                  <a:pt x="61" y="246"/>
                </a:lnTo>
                <a:lnTo>
                  <a:pt x="58" y="249"/>
                </a:lnTo>
                <a:lnTo>
                  <a:pt x="56" y="250"/>
                </a:lnTo>
                <a:lnTo>
                  <a:pt x="50" y="250"/>
                </a:lnTo>
                <a:lnTo>
                  <a:pt x="30" y="250"/>
                </a:lnTo>
                <a:lnTo>
                  <a:pt x="30" y="250"/>
                </a:lnTo>
                <a:lnTo>
                  <a:pt x="26" y="250"/>
                </a:lnTo>
                <a:lnTo>
                  <a:pt x="22" y="249"/>
                </a:lnTo>
                <a:lnTo>
                  <a:pt x="21" y="246"/>
                </a:lnTo>
                <a:lnTo>
                  <a:pt x="20" y="244"/>
                </a:lnTo>
                <a:lnTo>
                  <a:pt x="20" y="244"/>
                </a:lnTo>
                <a:lnTo>
                  <a:pt x="21" y="240"/>
                </a:lnTo>
                <a:lnTo>
                  <a:pt x="22" y="237"/>
                </a:lnTo>
                <a:lnTo>
                  <a:pt x="26" y="237"/>
                </a:lnTo>
                <a:lnTo>
                  <a:pt x="30" y="237"/>
                </a:lnTo>
                <a:close/>
                <a:moveTo>
                  <a:pt x="76" y="287"/>
                </a:moveTo>
                <a:lnTo>
                  <a:pt x="76" y="287"/>
                </a:lnTo>
                <a:lnTo>
                  <a:pt x="82" y="279"/>
                </a:lnTo>
                <a:lnTo>
                  <a:pt x="84" y="274"/>
                </a:lnTo>
                <a:lnTo>
                  <a:pt x="85" y="269"/>
                </a:lnTo>
                <a:lnTo>
                  <a:pt x="85" y="269"/>
                </a:lnTo>
                <a:lnTo>
                  <a:pt x="88" y="254"/>
                </a:lnTo>
                <a:lnTo>
                  <a:pt x="90" y="246"/>
                </a:lnTo>
                <a:lnTo>
                  <a:pt x="94" y="238"/>
                </a:lnTo>
                <a:lnTo>
                  <a:pt x="99" y="233"/>
                </a:lnTo>
                <a:lnTo>
                  <a:pt x="105" y="228"/>
                </a:lnTo>
                <a:lnTo>
                  <a:pt x="113" y="226"/>
                </a:lnTo>
                <a:lnTo>
                  <a:pt x="125" y="224"/>
                </a:lnTo>
                <a:lnTo>
                  <a:pt x="125" y="224"/>
                </a:lnTo>
                <a:lnTo>
                  <a:pt x="155" y="224"/>
                </a:lnTo>
                <a:lnTo>
                  <a:pt x="177" y="226"/>
                </a:lnTo>
                <a:lnTo>
                  <a:pt x="200" y="228"/>
                </a:lnTo>
                <a:lnTo>
                  <a:pt x="224" y="232"/>
                </a:lnTo>
                <a:lnTo>
                  <a:pt x="236" y="236"/>
                </a:lnTo>
                <a:lnTo>
                  <a:pt x="246" y="240"/>
                </a:lnTo>
                <a:lnTo>
                  <a:pt x="256" y="244"/>
                </a:lnTo>
                <a:lnTo>
                  <a:pt x="267" y="250"/>
                </a:lnTo>
                <a:lnTo>
                  <a:pt x="274" y="256"/>
                </a:lnTo>
                <a:lnTo>
                  <a:pt x="282" y="264"/>
                </a:lnTo>
                <a:lnTo>
                  <a:pt x="282" y="264"/>
                </a:lnTo>
                <a:lnTo>
                  <a:pt x="285" y="268"/>
                </a:lnTo>
                <a:lnTo>
                  <a:pt x="287" y="274"/>
                </a:lnTo>
                <a:lnTo>
                  <a:pt x="288" y="281"/>
                </a:lnTo>
                <a:lnTo>
                  <a:pt x="288" y="287"/>
                </a:lnTo>
                <a:lnTo>
                  <a:pt x="288" y="301"/>
                </a:lnTo>
                <a:lnTo>
                  <a:pt x="286" y="313"/>
                </a:lnTo>
                <a:lnTo>
                  <a:pt x="286" y="313"/>
                </a:lnTo>
                <a:lnTo>
                  <a:pt x="281" y="324"/>
                </a:lnTo>
                <a:lnTo>
                  <a:pt x="274" y="336"/>
                </a:lnTo>
                <a:lnTo>
                  <a:pt x="267" y="349"/>
                </a:lnTo>
                <a:lnTo>
                  <a:pt x="256" y="360"/>
                </a:lnTo>
                <a:lnTo>
                  <a:pt x="245" y="372"/>
                </a:lnTo>
                <a:lnTo>
                  <a:pt x="230" y="381"/>
                </a:lnTo>
                <a:lnTo>
                  <a:pt x="222" y="386"/>
                </a:lnTo>
                <a:lnTo>
                  <a:pt x="212" y="388"/>
                </a:lnTo>
                <a:lnTo>
                  <a:pt x="203" y="392"/>
                </a:lnTo>
                <a:lnTo>
                  <a:pt x="192" y="393"/>
                </a:lnTo>
                <a:lnTo>
                  <a:pt x="192" y="393"/>
                </a:lnTo>
                <a:lnTo>
                  <a:pt x="180" y="395"/>
                </a:lnTo>
                <a:lnTo>
                  <a:pt x="166" y="395"/>
                </a:lnTo>
                <a:lnTo>
                  <a:pt x="152" y="395"/>
                </a:lnTo>
                <a:lnTo>
                  <a:pt x="140" y="392"/>
                </a:lnTo>
                <a:lnTo>
                  <a:pt x="140" y="392"/>
                </a:lnTo>
                <a:lnTo>
                  <a:pt x="122" y="388"/>
                </a:lnTo>
                <a:lnTo>
                  <a:pt x="107" y="382"/>
                </a:lnTo>
                <a:lnTo>
                  <a:pt x="94" y="374"/>
                </a:lnTo>
                <a:lnTo>
                  <a:pt x="84" y="365"/>
                </a:lnTo>
                <a:lnTo>
                  <a:pt x="76" y="355"/>
                </a:lnTo>
                <a:lnTo>
                  <a:pt x="70" y="345"/>
                </a:lnTo>
                <a:lnTo>
                  <a:pt x="66" y="336"/>
                </a:lnTo>
                <a:lnTo>
                  <a:pt x="62" y="326"/>
                </a:lnTo>
                <a:lnTo>
                  <a:pt x="62" y="326"/>
                </a:lnTo>
                <a:lnTo>
                  <a:pt x="62" y="320"/>
                </a:lnTo>
                <a:lnTo>
                  <a:pt x="62" y="315"/>
                </a:lnTo>
                <a:lnTo>
                  <a:pt x="63" y="310"/>
                </a:lnTo>
                <a:lnTo>
                  <a:pt x="64" y="305"/>
                </a:lnTo>
                <a:lnTo>
                  <a:pt x="70" y="295"/>
                </a:lnTo>
                <a:lnTo>
                  <a:pt x="76" y="287"/>
                </a:lnTo>
                <a:close/>
                <a:moveTo>
                  <a:pt x="387" y="264"/>
                </a:moveTo>
                <a:lnTo>
                  <a:pt x="387" y="264"/>
                </a:lnTo>
                <a:lnTo>
                  <a:pt x="395" y="256"/>
                </a:lnTo>
                <a:lnTo>
                  <a:pt x="402" y="250"/>
                </a:lnTo>
                <a:lnTo>
                  <a:pt x="411" y="244"/>
                </a:lnTo>
                <a:lnTo>
                  <a:pt x="422" y="240"/>
                </a:lnTo>
                <a:lnTo>
                  <a:pt x="433" y="236"/>
                </a:lnTo>
                <a:lnTo>
                  <a:pt x="445" y="232"/>
                </a:lnTo>
                <a:lnTo>
                  <a:pt x="468" y="228"/>
                </a:lnTo>
                <a:lnTo>
                  <a:pt x="492" y="226"/>
                </a:lnTo>
                <a:lnTo>
                  <a:pt x="514" y="224"/>
                </a:lnTo>
                <a:lnTo>
                  <a:pt x="544" y="224"/>
                </a:lnTo>
                <a:lnTo>
                  <a:pt x="544" y="224"/>
                </a:lnTo>
                <a:lnTo>
                  <a:pt x="555" y="226"/>
                </a:lnTo>
                <a:lnTo>
                  <a:pt x="564" y="228"/>
                </a:lnTo>
                <a:lnTo>
                  <a:pt x="570" y="233"/>
                </a:lnTo>
                <a:lnTo>
                  <a:pt x="575" y="238"/>
                </a:lnTo>
                <a:lnTo>
                  <a:pt x="578" y="246"/>
                </a:lnTo>
                <a:lnTo>
                  <a:pt x="580" y="254"/>
                </a:lnTo>
                <a:lnTo>
                  <a:pt x="584" y="269"/>
                </a:lnTo>
                <a:lnTo>
                  <a:pt x="584" y="269"/>
                </a:lnTo>
                <a:lnTo>
                  <a:pt x="585" y="274"/>
                </a:lnTo>
                <a:lnTo>
                  <a:pt x="587" y="279"/>
                </a:lnTo>
                <a:lnTo>
                  <a:pt x="593" y="287"/>
                </a:lnTo>
                <a:lnTo>
                  <a:pt x="593" y="287"/>
                </a:lnTo>
                <a:lnTo>
                  <a:pt x="598" y="295"/>
                </a:lnTo>
                <a:lnTo>
                  <a:pt x="603" y="305"/>
                </a:lnTo>
                <a:lnTo>
                  <a:pt x="606" y="310"/>
                </a:lnTo>
                <a:lnTo>
                  <a:pt x="607" y="315"/>
                </a:lnTo>
                <a:lnTo>
                  <a:pt x="607" y="320"/>
                </a:lnTo>
                <a:lnTo>
                  <a:pt x="606" y="326"/>
                </a:lnTo>
                <a:lnTo>
                  <a:pt x="606" y="326"/>
                </a:lnTo>
                <a:lnTo>
                  <a:pt x="603" y="337"/>
                </a:lnTo>
                <a:lnTo>
                  <a:pt x="597" y="349"/>
                </a:lnTo>
                <a:lnTo>
                  <a:pt x="589" y="360"/>
                </a:lnTo>
                <a:lnTo>
                  <a:pt x="579" y="370"/>
                </a:lnTo>
                <a:lnTo>
                  <a:pt x="573" y="375"/>
                </a:lnTo>
                <a:lnTo>
                  <a:pt x="566" y="379"/>
                </a:lnTo>
                <a:lnTo>
                  <a:pt x="557" y="384"/>
                </a:lnTo>
                <a:lnTo>
                  <a:pt x="548" y="387"/>
                </a:lnTo>
                <a:lnTo>
                  <a:pt x="539" y="391"/>
                </a:lnTo>
                <a:lnTo>
                  <a:pt x="528" y="393"/>
                </a:lnTo>
                <a:lnTo>
                  <a:pt x="516" y="395"/>
                </a:lnTo>
                <a:lnTo>
                  <a:pt x="504" y="395"/>
                </a:lnTo>
                <a:lnTo>
                  <a:pt x="504" y="395"/>
                </a:lnTo>
                <a:lnTo>
                  <a:pt x="489" y="395"/>
                </a:lnTo>
                <a:lnTo>
                  <a:pt x="477" y="393"/>
                </a:lnTo>
                <a:lnTo>
                  <a:pt x="464" y="391"/>
                </a:lnTo>
                <a:lnTo>
                  <a:pt x="454" y="387"/>
                </a:lnTo>
                <a:lnTo>
                  <a:pt x="443" y="383"/>
                </a:lnTo>
                <a:lnTo>
                  <a:pt x="434" y="378"/>
                </a:lnTo>
                <a:lnTo>
                  <a:pt x="425" y="373"/>
                </a:lnTo>
                <a:lnTo>
                  <a:pt x="419" y="366"/>
                </a:lnTo>
                <a:lnTo>
                  <a:pt x="406" y="354"/>
                </a:lnTo>
                <a:lnTo>
                  <a:pt x="396" y="340"/>
                </a:lnTo>
                <a:lnTo>
                  <a:pt x="388" y="326"/>
                </a:lnTo>
                <a:lnTo>
                  <a:pt x="383" y="313"/>
                </a:lnTo>
                <a:lnTo>
                  <a:pt x="383" y="313"/>
                </a:lnTo>
                <a:lnTo>
                  <a:pt x="381" y="301"/>
                </a:lnTo>
                <a:lnTo>
                  <a:pt x="381" y="287"/>
                </a:lnTo>
                <a:lnTo>
                  <a:pt x="381" y="281"/>
                </a:lnTo>
                <a:lnTo>
                  <a:pt x="382" y="274"/>
                </a:lnTo>
                <a:lnTo>
                  <a:pt x="384" y="268"/>
                </a:lnTo>
                <a:lnTo>
                  <a:pt x="387" y="264"/>
                </a:lnTo>
                <a:close/>
                <a:moveTo>
                  <a:pt x="614" y="237"/>
                </a:moveTo>
                <a:lnTo>
                  <a:pt x="634" y="237"/>
                </a:lnTo>
                <a:lnTo>
                  <a:pt x="634" y="237"/>
                </a:lnTo>
                <a:lnTo>
                  <a:pt x="639" y="237"/>
                </a:lnTo>
                <a:lnTo>
                  <a:pt x="642" y="237"/>
                </a:lnTo>
                <a:lnTo>
                  <a:pt x="644" y="240"/>
                </a:lnTo>
                <a:lnTo>
                  <a:pt x="646" y="244"/>
                </a:lnTo>
                <a:lnTo>
                  <a:pt x="646" y="244"/>
                </a:lnTo>
                <a:lnTo>
                  <a:pt x="644" y="246"/>
                </a:lnTo>
                <a:lnTo>
                  <a:pt x="642" y="249"/>
                </a:lnTo>
                <a:lnTo>
                  <a:pt x="639" y="250"/>
                </a:lnTo>
                <a:lnTo>
                  <a:pt x="634" y="250"/>
                </a:lnTo>
                <a:lnTo>
                  <a:pt x="614" y="250"/>
                </a:lnTo>
                <a:lnTo>
                  <a:pt x="614" y="250"/>
                </a:lnTo>
                <a:lnTo>
                  <a:pt x="610" y="250"/>
                </a:lnTo>
                <a:lnTo>
                  <a:pt x="606" y="249"/>
                </a:lnTo>
                <a:lnTo>
                  <a:pt x="605" y="246"/>
                </a:lnTo>
                <a:lnTo>
                  <a:pt x="603" y="244"/>
                </a:lnTo>
                <a:lnTo>
                  <a:pt x="603" y="244"/>
                </a:lnTo>
                <a:lnTo>
                  <a:pt x="605" y="240"/>
                </a:lnTo>
                <a:lnTo>
                  <a:pt x="606" y="237"/>
                </a:lnTo>
                <a:lnTo>
                  <a:pt x="610" y="237"/>
                </a:lnTo>
                <a:lnTo>
                  <a:pt x="614" y="237"/>
                </a:lnTo>
                <a:close/>
                <a:moveTo>
                  <a:pt x="27" y="315"/>
                </a:moveTo>
                <a:lnTo>
                  <a:pt x="27" y="315"/>
                </a:lnTo>
                <a:lnTo>
                  <a:pt x="30" y="329"/>
                </a:lnTo>
                <a:lnTo>
                  <a:pt x="35" y="345"/>
                </a:lnTo>
                <a:lnTo>
                  <a:pt x="41" y="360"/>
                </a:lnTo>
                <a:lnTo>
                  <a:pt x="47" y="368"/>
                </a:lnTo>
                <a:lnTo>
                  <a:pt x="52" y="375"/>
                </a:lnTo>
                <a:lnTo>
                  <a:pt x="58" y="383"/>
                </a:lnTo>
                <a:lnTo>
                  <a:pt x="66" y="391"/>
                </a:lnTo>
                <a:lnTo>
                  <a:pt x="73" y="397"/>
                </a:lnTo>
                <a:lnTo>
                  <a:pt x="84" y="402"/>
                </a:lnTo>
                <a:lnTo>
                  <a:pt x="94" y="407"/>
                </a:lnTo>
                <a:lnTo>
                  <a:pt x="105" y="413"/>
                </a:lnTo>
                <a:lnTo>
                  <a:pt x="117" y="416"/>
                </a:lnTo>
                <a:lnTo>
                  <a:pt x="131" y="419"/>
                </a:lnTo>
                <a:lnTo>
                  <a:pt x="131" y="419"/>
                </a:lnTo>
                <a:lnTo>
                  <a:pt x="158" y="420"/>
                </a:lnTo>
                <a:lnTo>
                  <a:pt x="184" y="420"/>
                </a:lnTo>
                <a:lnTo>
                  <a:pt x="184" y="420"/>
                </a:lnTo>
                <a:lnTo>
                  <a:pt x="199" y="419"/>
                </a:lnTo>
                <a:lnTo>
                  <a:pt x="216" y="416"/>
                </a:lnTo>
                <a:lnTo>
                  <a:pt x="233" y="411"/>
                </a:lnTo>
                <a:lnTo>
                  <a:pt x="251" y="404"/>
                </a:lnTo>
                <a:lnTo>
                  <a:pt x="260" y="398"/>
                </a:lnTo>
                <a:lnTo>
                  <a:pt x="269" y="393"/>
                </a:lnTo>
                <a:lnTo>
                  <a:pt x="277" y="387"/>
                </a:lnTo>
                <a:lnTo>
                  <a:pt x="285" y="379"/>
                </a:lnTo>
                <a:lnTo>
                  <a:pt x="291" y="370"/>
                </a:lnTo>
                <a:lnTo>
                  <a:pt x="297" y="360"/>
                </a:lnTo>
                <a:lnTo>
                  <a:pt x="303" y="350"/>
                </a:lnTo>
                <a:lnTo>
                  <a:pt x="306" y="338"/>
                </a:lnTo>
                <a:lnTo>
                  <a:pt x="306" y="338"/>
                </a:lnTo>
                <a:lnTo>
                  <a:pt x="313" y="315"/>
                </a:lnTo>
                <a:lnTo>
                  <a:pt x="315" y="306"/>
                </a:lnTo>
                <a:lnTo>
                  <a:pt x="318" y="302"/>
                </a:lnTo>
                <a:lnTo>
                  <a:pt x="320" y="300"/>
                </a:lnTo>
                <a:lnTo>
                  <a:pt x="320" y="300"/>
                </a:lnTo>
                <a:lnTo>
                  <a:pt x="326" y="297"/>
                </a:lnTo>
                <a:lnTo>
                  <a:pt x="333" y="296"/>
                </a:lnTo>
                <a:lnTo>
                  <a:pt x="333" y="296"/>
                </a:lnTo>
                <a:lnTo>
                  <a:pt x="341" y="297"/>
                </a:lnTo>
                <a:lnTo>
                  <a:pt x="346" y="300"/>
                </a:lnTo>
                <a:lnTo>
                  <a:pt x="346" y="300"/>
                </a:lnTo>
                <a:lnTo>
                  <a:pt x="350" y="305"/>
                </a:lnTo>
                <a:lnTo>
                  <a:pt x="355" y="314"/>
                </a:lnTo>
                <a:lnTo>
                  <a:pt x="364" y="334"/>
                </a:lnTo>
                <a:lnTo>
                  <a:pt x="364" y="334"/>
                </a:lnTo>
                <a:lnTo>
                  <a:pt x="372" y="347"/>
                </a:lnTo>
                <a:lnTo>
                  <a:pt x="382" y="361"/>
                </a:lnTo>
                <a:lnTo>
                  <a:pt x="393" y="375"/>
                </a:lnTo>
                <a:lnTo>
                  <a:pt x="408" y="390"/>
                </a:lnTo>
                <a:lnTo>
                  <a:pt x="416" y="396"/>
                </a:lnTo>
                <a:lnTo>
                  <a:pt x="425" y="401"/>
                </a:lnTo>
                <a:lnTo>
                  <a:pt x="434" y="406"/>
                </a:lnTo>
                <a:lnTo>
                  <a:pt x="445" y="411"/>
                </a:lnTo>
                <a:lnTo>
                  <a:pt x="455" y="415"/>
                </a:lnTo>
                <a:lnTo>
                  <a:pt x="466" y="418"/>
                </a:lnTo>
                <a:lnTo>
                  <a:pt x="479" y="419"/>
                </a:lnTo>
                <a:lnTo>
                  <a:pt x="491" y="420"/>
                </a:lnTo>
                <a:lnTo>
                  <a:pt x="491" y="420"/>
                </a:lnTo>
                <a:lnTo>
                  <a:pt x="497" y="420"/>
                </a:lnTo>
                <a:lnTo>
                  <a:pt x="512" y="420"/>
                </a:lnTo>
                <a:lnTo>
                  <a:pt x="534" y="416"/>
                </a:lnTo>
                <a:lnTo>
                  <a:pt x="547" y="414"/>
                </a:lnTo>
                <a:lnTo>
                  <a:pt x="560" y="410"/>
                </a:lnTo>
                <a:lnTo>
                  <a:pt x="574" y="405"/>
                </a:lnTo>
                <a:lnTo>
                  <a:pt x="587" y="397"/>
                </a:lnTo>
                <a:lnTo>
                  <a:pt x="600" y="388"/>
                </a:lnTo>
                <a:lnTo>
                  <a:pt x="611" y="378"/>
                </a:lnTo>
                <a:lnTo>
                  <a:pt x="621" y="365"/>
                </a:lnTo>
                <a:lnTo>
                  <a:pt x="630" y="349"/>
                </a:lnTo>
                <a:lnTo>
                  <a:pt x="638" y="331"/>
                </a:lnTo>
                <a:lnTo>
                  <a:pt x="640" y="322"/>
                </a:lnTo>
                <a:lnTo>
                  <a:pt x="642" y="310"/>
                </a:lnTo>
                <a:lnTo>
                  <a:pt x="642" y="310"/>
                </a:lnTo>
                <a:lnTo>
                  <a:pt x="644" y="299"/>
                </a:lnTo>
                <a:lnTo>
                  <a:pt x="648" y="286"/>
                </a:lnTo>
                <a:lnTo>
                  <a:pt x="658" y="263"/>
                </a:lnTo>
                <a:lnTo>
                  <a:pt x="658" y="263"/>
                </a:lnTo>
                <a:lnTo>
                  <a:pt x="661" y="256"/>
                </a:lnTo>
                <a:lnTo>
                  <a:pt x="664" y="247"/>
                </a:lnTo>
                <a:lnTo>
                  <a:pt x="666" y="238"/>
                </a:lnTo>
                <a:lnTo>
                  <a:pt x="666" y="230"/>
                </a:lnTo>
                <a:lnTo>
                  <a:pt x="666" y="230"/>
                </a:lnTo>
                <a:lnTo>
                  <a:pt x="666" y="215"/>
                </a:lnTo>
                <a:lnTo>
                  <a:pt x="664" y="206"/>
                </a:lnTo>
                <a:lnTo>
                  <a:pt x="664" y="206"/>
                </a:lnTo>
                <a:lnTo>
                  <a:pt x="658" y="196"/>
                </a:lnTo>
                <a:lnTo>
                  <a:pt x="652" y="187"/>
                </a:lnTo>
                <a:lnTo>
                  <a:pt x="644" y="177"/>
                </a:lnTo>
                <a:lnTo>
                  <a:pt x="642" y="172"/>
                </a:lnTo>
                <a:lnTo>
                  <a:pt x="640" y="167"/>
                </a:lnTo>
                <a:lnTo>
                  <a:pt x="640" y="167"/>
                </a:lnTo>
                <a:lnTo>
                  <a:pt x="625" y="113"/>
                </a:lnTo>
                <a:lnTo>
                  <a:pt x="617" y="87"/>
                </a:lnTo>
                <a:lnTo>
                  <a:pt x="608" y="66"/>
                </a:lnTo>
                <a:lnTo>
                  <a:pt x="608" y="66"/>
                </a:lnTo>
                <a:lnTo>
                  <a:pt x="603" y="55"/>
                </a:lnTo>
                <a:lnTo>
                  <a:pt x="594" y="44"/>
                </a:lnTo>
                <a:lnTo>
                  <a:pt x="585" y="34"/>
                </a:lnTo>
                <a:lnTo>
                  <a:pt x="576" y="26"/>
                </a:lnTo>
                <a:lnTo>
                  <a:pt x="576" y="26"/>
                </a:lnTo>
                <a:lnTo>
                  <a:pt x="571" y="23"/>
                </a:lnTo>
                <a:lnTo>
                  <a:pt x="566" y="22"/>
                </a:lnTo>
                <a:lnTo>
                  <a:pt x="561" y="21"/>
                </a:lnTo>
                <a:lnTo>
                  <a:pt x="556" y="21"/>
                </a:lnTo>
                <a:lnTo>
                  <a:pt x="550" y="23"/>
                </a:lnTo>
                <a:lnTo>
                  <a:pt x="543" y="26"/>
                </a:lnTo>
                <a:lnTo>
                  <a:pt x="537" y="30"/>
                </a:lnTo>
                <a:lnTo>
                  <a:pt x="530" y="36"/>
                </a:lnTo>
                <a:lnTo>
                  <a:pt x="530" y="36"/>
                </a:lnTo>
                <a:lnTo>
                  <a:pt x="525" y="43"/>
                </a:lnTo>
                <a:lnTo>
                  <a:pt x="521" y="49"/>
                </a:lnTo>
                <a:lnTo>
                  <a:pt x="521" y="49"/>
                </a:lnTo>
                <a:lnTo>
                  <a:pt x="520" y="54"/>
                </a:lnTo>
                <a:lnTo>
                  <a:pt x="521" y="59"/>
                </a:lnTo>
                <a:lnTo>
                  <a:pt x="525" y="63"/>
                </a:lnTo>
                <a:lnTo>
                  <a:pt x="529" y="64"/>
                </a:lnTo>
                <a:lnTo>
                  <a:pt x="529" y="64"/>
                </a:lnTo>
                <a:lnTo>
                  <a:pt x="534" y="62"/>
                </a:lnTo>
                <a:lnTo>
                  <a:pt x="538" y="59"/>
                </a:lnTo>
                <a:lnTo>
                  <a:pt x="547" y="49"/>
                </a:lnTo>
                <a:lnTo>
                  <a:pt x="547" y="49"/>
                </a:lnTo>
                <a:lnTo>
                  <a:pt x="551" y="46"/>
                </a:lnTo>
                <a:lnTo>
                  <a:pt x="553" y="44"/>
                </a:lnTo>
                <a:lnTo>
                  <a:pt x="557" y="43"/>
                </a:lnTo>
                <a:lnTo>
                  <a:pt x="561" y="41"/>
                </a:lnTo>
                <a:lnTo>
                  <a:pt x="561" y="41"/>
                </a:lnTo>
                <a:lnTo>
                  <a:pt x="566" y="43"/>
                </a:lnTo>
                <a:lnTo>
                  <a:pt x="570" y="45"/>
                </a:lnTo>
                <a:lnTo>
                  <a:pt x="574" y="49"/>
                </a:lnTo>
                <a:lnTo>
                  <a:pt x="576" y="54"/>
                </a:lnTo>
                <a:lnTo>
                  <a:pt x="583" y="68"/>
                </a:lnTo>
                <a:lnTo>
                  <a:pt x="589" y="84"/>
                </a:lnTo>
                <a:lnTo>
                  <a:pt x="596" y="113"/>
                </a:lnTo>
                <a:lnTo>
                  <a:pt x="598" y="126"/>
                </a:lnTo>
                <a:lnTo>
                  <a:pt x="606" y="166"/>
                </a:lnTo>
                <a:lnTo>
                  <a:pt x="606" y="166"/>
                </a:lnTo>
                <a:lnTo>
                  <a:pt x="606" y="171"/>
                </a:lnTo>
                <a:lnTo>
                  <a:pt x="605" y="176"/>
                </a:lnTo>
                <a:lnTo>
                  <a:pt x="603" y="180"/>
                </a:lnTo>
                <a:lnTo>
                  <a:pt x="601" y="183"/>
                </a:lnTo>
                <a:lnTo>
                  <a:pt x="597" y="187"/>
                </a:lnTo>
                <a:lnTo>
                  <a:pt x="593" y="190"/>
                </a:lnTo>
                <a:lnTo>
                  <a:pt x="589" y="191"/>
                </a:lnTo>
                <a:lnTo>
                  <a:pt x="584" y="191"/>
                </a:lnTo>
                <a:lnTo>
                  <a:pt x="584" y="191"/>
                </a:lnTo>
                <a:lnTo>
                  <a:pt x="539" y="194"/>
                </a:lnTo>
                <a:lnTo>
                  <a:pt x="492" y="198"/>
                </a:lnTo>
                <a:lnTo>
                  <a:pt x="468" y="201"/>
                </a:lnTo>
                <a:lnTo>
                  <a:pt x="446" y="205"/>
                </a:lnTo>
                <a:lnTo>
                  <a:pt x="425" y="210"/>
                </a:lnTo>
                <a:lnTo>
                  <a:pt x="409" y="217"/>
                </a:lnTo>
                <a:lnTo>
                  <a:pt x="409" y="217"/>
                </a:lnTo>
                <a:lnTo>
                  <a:pt x="397" y="223"/>
                </a:lnTo>
                <a:lnTo>
                  <a:pt x="386" y="231"/>
                </a:lnTo>
                <a:lnTo>
                  <a:pt x="374" y="238"/>
                </a:lnTo>
                <a:lnTo>
                  <a:pt x="364" y="244"/>
                </a:lnTo>
                <a:lnTo>
                  <a:pt x="364" y="244"/>
                </a:lnTo>
                <a:lnTo>
                  <a:pt x="347" y="250"/>
                </a:lnTo>
                <a:lnTo>
                  <a:pt x="340" y="253"/>
                </a:lnTo>
                <a:lnTo>
                  <a:pt x="333" y="254"/>
                </a:lnTo>
                <a:lnTo>
                  <a:pt x="333" y="254"/>
                </a:lnTo>
                <a:lnTo>
                  <a:pt x="326" y="253"/>
                </a:lnTo>
                <a:lnTo>
                  <a:pt x="319" y="251"/>
                </a:lnTo>
                <a:lnTo>
                  <a:pt x="313" y="249"/>
                </a:lnTo>
                <a:lnTo>
                  <a:pt x="308" y="245"/>
                </a:lnTo>
                <a:lnTo>
                  <a:pt x="308" y="245"/>
                </a:lnTo>
                <a:lnTo>
                  <a:pt x="285" y="231"/>
                </a:lnTo>
                <a:lnTo>
                  <a:pt x="273" y="224"/>
                </a:lnTo>
                <a:lnTo>
                  <a:pt x="262" y="219"/>
                </a:lnTo>
                <a:lnTo>
                  <a:pt x="262" y="219"/>
                </a:lnTo>
                <a:lnTo>
                  <a:pt x="242" y="213"/>
                </a:lnTo>
                <a:lnTo>
                  <a:pt x="221" y="206"/>
                </a:lnTo>
                <a:lnTo>
                  <a:pt x="198" y="203"/>
                </a:lnTo>
                <a:lnTo>
                  <a:pt x="175" y="199"/>
                </a:lnTo>
                <a:lnTo>
                  <a:pt x="150" y="195"/>
                </a:lnTo>
                <a:lnTo>
                  <a:pt x="126" y="194"/>
                </a:lnTo>
                <a:lnTo>
                  <a:pt x="82" y="191"/>
                </a:lnTo>
                <a:lnTo>
                  <a:pt x="82" y="191"/>
                </a:lnTo>
                <a:lnTo>
                  <a:pt x="77" y="191"/>
                </a:lnTo>
                <a:lnTo>
                  <a:pt x="73" y="190"/>
                </a:lnTo>
                <a:lnTo>
                  <a:pt x="68" y="187"/>
                </a:lnTo>
                <a:lnTo>
                  <a:pt x="66" y="185"/>
                </a:lnTo>
                <a:lnTo>
                  <a:pt x="63" y="181"/>
                </a:lnTo>
                <a:lnTo>
                  <a:pt x="61" y="176"/>
                </a:lnTo>
                <a:lnTo>
                  <a:pt x="61" y="172"/>
                </a:lnTo>
                <a:lnTo>
                  <a:pt x="61" y="167"/>
                </a:lnTo>
                <a:lnTo>
                  <a:pt x="71" y="105"/>
                </a:lnTo>
                <a:lnTo>
                  <a:pt x="71" y="105"/>
                </a:lnTo>
                <a:lnTo>
                  <a:pt x="73" y="91"/>
                </a:lnTo>
                <a:lnTo>
                  <a:pt x="81" y="63"/>
                </a:lnTo>
                <a:lnTo>
                  <a:pt x="86" y="48"/>
                </a:lnTo>
                <a:lnTo>
                  <a:pt x="93" y="34"/>
                </a:lnTo>
                <a:lnTo>
                  <a:pt x="96" y="29"/>
                </a:lnTo>
                <a:lnTo>
                  <a:pt x="100" y="25"/>
                </a:lnTo>
                <a:lnTo>
                  <a:pt x="104" y="22"/>
                </a:lnTo>
                <a:lnTo>
                  <a:pt x="108" y="21"/>
                </a:lnTo>
                <a:lnTo>
                  <a:pt x="108" y="21"/>
                </a:lnTo>
                <a:lnTo>
                  <a:pt x="113" y="21"/>
                </a:lnTo>
                <a:lnTo>
                  <a:pt x="117" y="23"/>
                </a:lnTo>
                <a:lnTo>
                  <a:pt x="120" y="25"/>
                </a:lnTo>
                <a:lnTo>
                  <a:pt x="122" y="29"/>
                </a:lnTo>
                <a:lnTo>
                  <a:pt x="122" y="29"/>
                </a:lnTo>
                <a:lnTo>
                  <a:pt x="132" y="39"/>
                </a:lnTo>
                <a:lnTo>
                  <a:pt x="136" y="41"/>
                </a:lnTo>
                <a:lnTo>
                  <a:pt x="141" y="43"/>
                </a:lnTo>
                <a:lnTo>
                  <a:pt x="141" y="43"/>
                </a:lnTo>
                <a:lnTo>
                  <a:pt x="145" y="41"/>
                </a:lnTo>
                <a:lnTo>
                  <a:pt x="149" y="39"/>
                </a:lnTo>
                <a:lnTo>
                  <a:pt x="150" y="34"/>
                </a:lnTo>
                <a:lnTo>
                  <a:pt x="149" y="29"/>
                </a:lnTo>
                <a:lnTo>
                  <a:pt x="149" y="29"/>
                </a:lnTo>
                <a:lnTo>
                  <a:pt x="145" y="22"/>
                </a:lnTo>
                <a:lnTo>
                  <a:pt x="140" y="16"/>
                </a:lnTo>
                <a:lnTo>
                  <a:pt x="140" y="16"/>
                </a:lnTo>
                <a:lnTo>
                  <a:pt x="132" y="9"/>
                </a:lnTo>
                <a:lnTo>
                  <a:pt x="126" y="6"/>
                </a:lnTo>
                <a:lnTo>
                  <a:pt x="121" y="2"/>
                </a:lnTo>
                <a:lnTo>
                  <a:pt x="114" y="0"/>
                </a:lnTo>
                <a:lnTo>
                  <a:pt x="109" y="0"/>
                </a:lnTo>
                <a:lnTo>
                  <a:pt x="104" y="2"/>
                </a:lnTo>
                <a:lnTo>
                  <a:pt x="99" y="3"/>
                </a:lnTo>
                <a:lnTo>
                  <a:pt x="94" y="6"/>
                </a:lnTo>
                <a:lnTo>
                  <a:pt x="94" y="6"/>
                </a:lnTo>
                <a:lnTo>
                  <a:pt x="85" y="13"/>
                </a:lnTo>
                <a:lnTo>
                  <a:pt x="75" y="23"/>
                </a:lnTo>
                <a:lnTo>
                  <a:pt x="67" y="34"/>
                </a:lnTo>
                <a:lnTo>
                  <a:pt x="62" y="45"/>
                </a:lnTo>
                <a:lnTo>
                  <a:pt x="62" y="45"/>
                </a:lnTo>
                <a:lnTo>
                  <a:pt x="50" y="75"/>
                </a:lnTo>
                <a:lnTo>
                  <a:pt x="40" y="108"/>
                </a:lnTo>
                <a:lnTo>
                  <a:pt x="31" y="142"/>
                </a:lnTo>
                <a:lnTo>
                  <a:pt x="24" y="172"/>
                </a:lnTo>
                <a:lnTo>
                  <a:pt x="24" y="172"/>
                </a:lnTo>
                <a:lnTo>
                  <a:pt x="22" y="181"/>
                </a:lnTo>
                <a:lnTo>
                  <a:pt x="21" y="190"/>
                </a:lnTo>
                <a:lnTo>
                  <a:pt x="21" y="195"/>
                </a:lnTo>
                <a:lnTo>
                  <a:pt x="22" y="196"/>
                </a:lnTo>
                <a:lnTo>
                  <a:pt x="22" y="198"/>
                </a:lnTo>
                <a:lnTo>
                  <a:pt x="22" y="198"/>
                </a:lnTo>
                <a:lnTo>
                  <a:pt x="24" y="198"/>
                </a:lnTo>
                <a:lnTo>
                  <a:pt x="22" y="198"/>
                </a:lnTo>
                <a:lnTo>
                  <a:pt x="20" y="200"/>
                </a:lnTo>
                <a:lnTo>
                  <a:pt x="15" y="204"/>
                </a:lnTo>
                <a:lnTo>
                  <a:pt x="8" y="210"/>
                </a:lnTo>
                <a:lnTo>
                  <a:pt x="8" y="210"/>
                </a:lnTo>
                <a:lnTo>
                  <a:pt x="4" y="214"/>
                </a:lnTo>
                <a:lnTo>
                  <a:pt x="2" y="219"/>
                </a:lnTo>
                <a:lnTo>
                  <a:pt x="0" y="226"/>
                </a:lnTo>
                <a:lnTo>
                  <a:pt x="0" y="232"/>
                </a:lnTo>
                <a:lnTo>
                  <a:pt x="0" y="232"/>
                </a:lnTo>
                <a:lnTo>
                  <a:pt x="0" y="245"/>
                </a:lnTo>
                <a:lnTo>
                  <a:pt x="3" y="258"/>
                </a:lnTo>
                <a:lnTo>
                  <a:pt x="8" y="270"/>
                </a:lnTo>
                <a:lnTo>
                  <a:pt x="8" y="270"/>
                </a:lnTo>
                <a:lnTo>
                  <a:pt x="18" y="292"/>
                </a:lnTo>
                <a:lnTo>
                  <a:pt x="24" y="304"/>
                </a:lnTo>
                <a:lnTo>
                  <a:pt x="27" y="315"/>
                </a:lnTo>
                <a:close/>
              </a:path>
            </a:pathLst>
          </a:custGeom>
          <a:solidFill>
            <a:schemeClr val="bg1"/>
          </a:solidFill>
          <a:ln>
            <a:noFill/>
          </a:ln>
        </p:spPr>
        <p:txBody>
          <a:bodyPr vert="horz" wrap="square" lIns="91440" tIns="45720" rIns="91440" bIns="45720" numCol="1" anchor="t" anchorCtr="0" compatLnSpc="1"/>
          <a:lstStyle/>
          <a:p>
            <a:endParaRPr lang="en-US"/>
          </a:p>
        </p:txBody>
      </p:sp>
      <p:pic>
        <p:nvPicPr>
          <p:cNvPr id="9" name="图片占位符 8"/>
          <p:cNvPicPr>
            <a:picLocks noGrp="1" noChangeAspect="1"/>
          </p:cNvPicPr>
          <p:nvPr>
            <p:ph type="pic" sz="quarter" idx="14"/>
          </p:nvPr>
        </p:nvPicPr>
        <p:blipFill>
          <a:blip r:embed="rId1" cstate="print">
            <a:extLst>
              <a:ext uri="{28A0092B-C50C-407E-A947-70E740481C1C}">
                <a14:useLocalDpi xmlns:a14="http://schemas.microsoft.com/office/drawing/2010/main" val="0"/>
              </a:ext>
            </a:extLst>
          </a:blip>
          <a:srcRect l="22994" r="22994"/>
          <a:stretch>
            <a:fillRect/>
          </a:stretch>
        </p:blipFill>
        <p:spPr/>
      </p:pic>
      <p:pic>
        <p:nvPicPr>
          <p:cNvPr id="4" name="图片占位符 3"/>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24783" r="24783"/>
          <a:stretch>
            <a:fillRect/>
          </a:stretch>
        </p:blipFill>
        <p:spPr/>
      </p:pic>
      <p:sp>
        <p:nvSpPr>
          <p:cNvPr id="16" name="Slide Number Placeholder 1"/>
          <p:cNvSpPr>
            <a:spLocks noGrp="1"/>
          </p:cNvSpPr>
          <p:nvPr>
            <p:ph type="sldNum" sz="quarter" idx="12"/>
          </p:nvPr>
        </p:nvSpPr>
        <p:spPr/>
        <p:txBody>
          <a:bodyPr/>
          <a:lstStyle/>
          <a:p>
            <a:r>
              <a:rPr lang="en-US" dirty="0"/>
              <a:t>23</a:t>
            </a:r>
            <a:endParaRPr lang="en-US" dirty="0"/>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722" y="3151922"/>
            <a:ext cx="2039516" cy="1037415"/>
          </a:xfrm>
          <a:prstGeom prst="rect">
            <a:avLst/>
          </a:prstGeom>
          <a:noFill/>
          <a:ln>
            <a:noFill/>
          </a:ln>
        </p:spPr>
      </p:pic>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3757" y="3151922"/>
            <a:ext cx="2039516" cy="1037415"/>
          </a:xfrm>
          <a:prstGeom prst="rect">
            <a:avLst/>
          </a:prstGeom>
          <a:noFill/>
          <a:ln>
            <a:noFill/>
          </a:ln>
        </p:spPr>
      </p:pic>
      <p:sp>
        <p:nvSpPr>
          <p:cNvPr id="19"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altLang="en-US" sz="2800" noProof="1">
                <a:solidFill>
                  <a:prstClr val="black">
                    <a:lumMod val="85000"/>
                    <a:lumOff val="15000"/>
                  </a:prstClr>
                </a:solidFill>
                <a:latin typeface="Bebas Neue" panose="020B0606020202050201" pitchFamily="34" charset="0"/>
                <a:ea typeface="宋体" panose="02010600030101010101" pitchFamily="2" charset="-122"/>
                <a:cs typeface="Lato Light" charset="0"/>
              </a:rPr>
              <a:t>项目创意</a:t>
            </a:r>
            <a:endParaRPr lang="zh-CN" altLang="en-US" sz="2800" noProof="1">
              <a:solidFill>
                <a:prstClr val="black">
                  <a:lumMod val="85000"/>
                  <a:lumOff val="15000"/>
                </a:prstClr>
              </a:solidFill>
              <a:latin typeface="Bebas Neue" panose="020B0606020202050201" pitchFamily="34" charset="0"/>
              <a:ea typeface="宋体" panose="02010600030101010101" pitchFamily="2" charset="-122"/>
              <a:cs typeface="Lato Light" charset="0"/>
            </a:endParaRPr>
          </a:p>
        </p:txBody>
      </p:sp>
      <p:sp>
        <p:nvSpPr>
          <p:cNvPr id="20"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23" name="矩形 22"/>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矩形 23"/>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p:cNvGrpSpPr/>
          <p:nvPr/>
        </p:nvGrpSpPr>
        <p:grpSpPr>
          <a:xfrm>
            <a:off x="3378597" y="1430255"/>
            <a:ext cx="5434807" cy="4501357"/>
            <a:chOff x="3252509" y="854749"/>
            <a:chExt cx="5978288" cy="4951493"/>
          </a:xfrm>
        </p:grpSpPr>
        <p:cxnSp>
          <p:nvCxnSpPr>
            <p:cNvPr id="4" name="AutoShape 5"/>
            <p:cNvCxnSpPr>
              <a:cxnSpLocks noChangeShapeType="1"/>
              <a:stCxn id="7" idx="0"/>
              <a:endCxn id="31" idx="0"/>
            </p:cNvCxnSpPr>
            <p:nvPr/>
          </p:nvCxnSpPr>
          <p:spPr bwMode="auto">
            <a:xfrm>
              <a:off x="4862552" y="3023592"/>
              <a:ext cx="1514872" cy="662702"/>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5" name="AutoShape 6"/>
            <p:cNvCxnSpPr>
              <a:cxnSpLocks noChangeShapeType="1"/>
              <a:stCxn id="7" idx="0"/>
              <a:endCxn id="11" idx="0"/>
            </p:cNvCxnSpPr>
            <p:nvPr/>
          </p:nvCxnSpPr>
          <p:spPr bwMode="auto">
            <a:xfrm flipH="1">
              <a:off x="3783369" y="3023592"/>
              <a:ext cx="1079183" cy="981393"/>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 name="AutoShape 7"/>
            <p:cNvCxnSpPr>
              <a:cxnSpLocks noChangeShapeType="1"/>
              <a:stCxn id="49" idx="0"/>
              <a:endCxn id="7" idx="0"/>
            </p:cNvCxnSpPr>
            <p:nvPr/>
          </p:nvCxnSpPr>
          <p:spPr bwMode="auto">
            <a:xfrm>
              <a:off x="4714994" y="1437124"/>
              <a:ext cx="147558" cy="1586468"/>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7" name="AutoShape 8"/>
            <p:cNvSpPr/>
            <p:nvPr/>
          </p:nvSpPr>
          <p:spPr bwMode="auto">
            <a:xfrm>
              <a:off x="4194611" y="2355651"/>
              <a:ext cx="1335008" cy="13350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cxnSp>
          <p:nvCxnSpPr>
            <p:cNvPr id="9" name="AutoShape 11"/>
            <p:cNvCxnSpPr>
              <a:cxnSpLocks noChangeShapeType="1"/>
              <a:stCxn id="31" idx="0"/>
              <a:endCxn id="11" idx="0"/>
            </p:cNvCxnSpPr>
            <p:nvPr/>
          </p:nvCxnSpPr>
          <p:spPr bwMode="auto">
            <a:xfrm flipH="1">
              <a:off x="3783369" y="3686294"/>
              <a:ext cx="2594055" cy="318690"/>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 name="AutoShape 12"/>
            <p:cNvCxnSpPr>
              <a:cxnSpLocks noChangeShapeType="1"/>
              <a:stCxn id="11" idx="0"/>
              <a:endCxn id="34" idx="0"/>
            </p:cNvCxnSpPr>
            <p:nvPr/>
          </p:nvCxnSpPr>
          <p:spPr bwMode="auto">
            <a:xfrm>
              <a:off x="3783369" y="4004984"/>
              <a:ext cx="1329770" cy="1050370"/>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1" name="AutoShape 13"/>
            <p:cNvSpPr/>
            <p:nvPr/>
          </p:nvSpPr>
          <p:spPr bwMode="auto">
            <a:xfrm>
              <a:off x="3252509" y="3474124"/>
              <a:ext cx="1061720" cy="106172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tx1">
                <a:lumMod val="85000"/>
                <a:lumOff val="15000"/>
              </a:schemeClr>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cxnSp>
          <p:nvCxnSpPr>
            <p:cNvPr id="13" name="AutoShape 16"/>
            <p:cNvCxnSpPr>
              <a:cxnSpLocks noChangeShapeType="1"/>
              <a:stCxn id="16" idx="0"/>
              <a:endCxn id="31" idx="0"/>
            </p:cNvCxnSpPr>
            <p:nvPr/>
          </p:nvCxnSpPr>
          <p:spPr bwMode="auto">
            <a:xfrm>
              <a:off x="6237724" y="1877179"/>
              <a:ext cx="139700" cy="180911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 name="AutoShape 17"/>
            <p:cNvCxnSpPr>
              <a:cxnSpLocks noChangeShapeType="1"/>
              <a:stCxn id="49" idx="0"/>
              <a:endCxn id="16" idx="0"/>
            </p:cNvCxnSpPr>
            <p:nvPr/>
          </p:nvCxnSpPr>
          <p:spPr bwMode="auto">
            <a:xfrm>
              <a:off x="4714994" y="1437124"/>
              <a:ext cx="1522730" cy="44005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 name="AutoShape 18"/>
            <p:cNvCxnSpPr>
              <a:cxnSpLocks noChangeShapeType="1"/>
              <a:stCxn id="51" idx="0"/>
              <a:endCxn id="16" idx="0"/>
            </p:cNvCxnSpPr>
            <p:nvPr/>
          </p:nvCxnSpPr>
          <p:spPr bwMode="auto">
            <a:xfrm flipH="1">
              <a:off x="6237724" y="1506974"/>
              <a:ext cx="1452880" cy="37020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6" name="AutoShape 19"/>
            <p:cNvSpPr/>
            <p:nvPr/>
          </p:nvSpPr>
          <p:spPr bwMode="auto">
            <a:xfrm>
              <a:off x="5655349" y="1294804"/>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cxnSp>
          <p:nvCxnSpPr>
            <p:cNvPr id="18" name="AutoShape 22"/>
            <p:cNvCxnSpPr>
              <a:cxnSpLocks noChangeShapeType="1"/>
              <a:stCxn id="31" idx="0"/>
              <a:endCxn id="21" idx="0"/>
            </p:cNvCxnSpPr>
            <p:nvPr/>
          </p:nvCxnSpPr>
          <p:spPr bwMode="auto">
            <a:xfrm>
              <a:off x="6377424" y="3686294"/>
              <a:ext cx="2137410" cy="159956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 name="AutoShape 23"/>
            <p:cNvCxnSpPr>
              <a:cxnSpLocks noChangeShapeType="1"/>
              <a:stCxn id="45" idx="0"/>
              <a:endCxn id="21" idx="0"/>
            </p:cNvCxnSpPr>
            <p:nvPr/>
          </p:nvCxnSpPr>
          <p:spPr bwMode="auto">
            <a:xfrm>
              <a:off x="8263374" y="3951724"/>
              <a:ext cx="251460" cy="133413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 name="AutoShape 24"/>
            <p:cNvCxnSpPr>
              <a:cxnSpLocks noChangeShapeType="1"/>
              <a:stCxn id="37" idx="0"/>
              <a:endCxn id="21" idx="0"/>
            </p:cNvCxnSpPr>
            <p:nvPr/>
          </p:nvCxnSpPr>
          <p:spPr bwMode="auto">
            <a:xfrm>
              <a:off x="7054969" y="5222994"/>
              <a:ext cx="1459865" cy="6286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 name="AutoShape 29"/>
            <p:cNvCxnSpPr>
              <a:cxnSpLocks noChangeShapeType="1"/>
              <a:stCxn id="49" idx="0"/>
              <a:endCxn id="31" idx="0"/>
            </p:cNvCxnSpPr>
            <p:nvPr/>
          </p:nvCxnSpPr>
          <p:spPr bwMode="auto">
            <a:xfrm>
              <a:off x="4714994" y="1437124"/>
              <a:ext cx="1662430" cy="2249170"/>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 name="AutoShape 30"/>
            <p:cNvCxnSpPr>
              <a:cxnSpLocks noChangeShapeType="1"/>
              <a:stCxn id="51" idx="0"/>
              <a:endCxn id="31" idx="0"/>
            </p:cNvCxnSpPr>
            <p:nvPr/>
          </p:nvCxnSpPr>
          <p:spPr bwMode="auto">
            <a:xfrm flipH="1">
              <a:off x="6377424" y="1506974"/>
              <a:ext cx="1313180" cy="2179320"/>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 name="AutoShape 31"/>
            <p:cNvCxnSpPr>
              <a:cxnSpLocks noChangeShapeType="1"/>
              <a:stCxn id="43" idx="0"/>
              <a:endCxn id="31" idx="0"/>
            </p:cNvCxnSpPr>
            <p:nvPr/>
          </p:nvCxnSpPr>
          <p:spPr bwMode="auto">
            <a:xfrm flipH="1">
              <a:off x="6377424" y="2617589"/>
              <a:ext cx="2270125" cy="106870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 name="AutoShape 32"/>
            <p:cNvCxnSpPr>
              <a:cxnSpLocks noChangeShapeType="1"/>
              <a:stCxn id="31" idx="0"/>
              <a:endCxn id="45" idx="0"/>
            </p:cNvCxnSpPr>
            <p:nvPr/>
          </p:nvCxnSpPr>
          <p:spPr bwMode="auto">
            <a:xfrm>
              <a:off x="6377424" y="3686294"/>
              <a:ext cx="1885950" cy="265430"/>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 name="AutoShape 33"/>
            <p:cNvCxnSpPr>
              <a:cxnSpLocks noChangeShapeType="1"/>
              <a:stCxn id="31" idx="0"/>
              <a:endCxn id="37" idx="0"/>
            </p:cNvCxnSpPr>
            <p:nvPr/>
          </p:nvCxnSpPr>
          <p:spPr bwMode="auto">
            <a:xfrm>
              <a:off x="6377424" y="3686294"/>
              <a:ext cx="677545" cy="1536700"/>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0" name="AutoShape 35"/>
            <p:cNvCxnSpPr>
              <a:cxnSpLocks noChangeShapeType="1"/>
              <a:stCxn id="31" idx="0"/>
              <a:endCxn id="34" idx="0"/>
            </p:cNvCxnSpPr>
            <p:nvPr/>
          </p:nvCxnSpPr>
          <p:spPr bwMode="auto">
            <a:xfrm flipH="1">
              <a:off x="5113139" y="3686294"/>
              <a:ext cx="1264285" cy="1369060"/>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1" name="AutoShape 36"/>
            <p:cNvSpPr/>
            <p:nvPr/>
          </p:nvSpPr>
          <p:spPr bwMode="auto">
            <a:xfrm>
              <a:off x="5542716" y="2851586"/>
              <a:ext cx="1669415" cy="1669415"/>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tx1">
                <a:lumMod val="85000"/>
                <a:lumOff val="15000"/>
              </a:schemeClr>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cxnSp>
          <p:nvCxnSpPr>
            <p:cNvPr id="33" name="AutoShape 39"/>
            <p:cNvCxnSpPr>
              <a:cxnSpLocks noChangeShapeType="1"/>
              <a:stCxn id="34" idx="0"/>
            </p:cNvCxnSpPr>
            <p:nvPr/>
          </p:nvCxnSpPr>
          <p:spPr bwMode="auto">
            <a:xfrm>
              <a:off x="5113105" y="5120471"/>
              <a:ext cx="1589558" cy="14338"/>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4" name="AutoShape 40"/>
            <p:cNvSpPr/>
            <p:nvPr/>
          </p:nvSpPr>
          <p:spPr bwMode="auto">
            <a:xfrm>
              <a:off x="4446071" y="4388287"/>
              <a:ext cx="1334135" cy="1334135"/>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sp>
          <p:nvSpPr>
            <p:cNvPr id="37" name="AutoShape 44"/>
            <p:cNvSpPr/>
            <p:nvPr/>
          </p:nvSpPr>
          <p:spPr bwMode="auto">
            <a:xfrm>
              <a:off x="6472594" y="4640620"/>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cxnSp>
          <p:nvCxnSpPr>
            <p:cNvPr id="41" name="AutoShape 61"/>
            <p:cNvCxnSpPr>
              <a:cxnSpLocks noChangeShapeType="1"/>
              <a:stCxn id="51" idx="0"/>
              <a:endCxn id="43" idx="0"/>
            </p:cNvCxnSpPr>
            <p:nvPr/>
          </p:nvCxnSpPr>
          <p:spPr bwMode="auto">
            <a:xfrm>
              <a:off x="7690604" y="1506974"/>
              <a:ext cx="956945" cy="111061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2" name="AutoShape 62"/>
            <p:cNvCxnSpPr>
              <a:cxnSpLocks noChangeShapeType="1"/>
              <a:stCxn id="43" idx="0"/>
              <a:endCxn id="45" idx="0"/>
            </p:cNvCxnSpPr>
            <p:nvPr/>
          </p:nvCxnSpPr>
          <p:spPr bwMode="auto">
            <a:xfrm flipH="1">
              <a:off x="8263374" y="2617589"/>
              <a:ext cx="384175" cy="133413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3" name="AutoShape 63"/>
            <p:cNvSpPr/>
            <p:nvPr/>
          </p:nvSpPr>
          <p:spPr bwMode="auto">
            <a:xfrm>
              <a:off x="8065175" y="2035214"/>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sp>
          <p:nvSpPr>
            <p:cNvPr id="45" name="AutoShape 66"/>
            <p:cNvSpPr/>
            <p:nvPr/>
          </p:nvSpPr>
          <p:spPr bwMode="auto">
            <a:xfrm>
              <a:off x="7681000" y="3369349"/>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sp>
          <p:nvSpPr>
            <p:cNvPr id="49" name="AutoShape 72"/>
            <p:cNvSpPr/>
            <p:nvPr/>
          </p:nvSpPr>
          <p:spPr bwMode="auto">
            <a:xfrm>
              <a:off x="4132619" y="854749"/>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tx1">
                <a:lumMod val="85000"/>
                <a:lumOff val="15000"/>
              </a:schemeClr>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sp>
          <p:nvSpPr>
            <p:cNvPr id="51" name="AutoShape 75"/>
            <p:cNvSpPr/>
            <p:nvPr/>
          </p:nvSpPr>
          <p:spPr bwMode="auto">
            <a:xfrm>
              <a:off x="7108230" y="924599"/>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tx1">
                <a:lumMod val="85000"/>
                <a:lumOff val="15000"/>
              </a:schemeClr>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grpSp>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pic>
        <p:nvPicPr>
          <p:cNvPr id="8" name="图片占位符 7"/>
          <p:cNvPicPr>
            <a:picLocks noGrp="1" noChangeAspect="1"/>
          </p:cNvPicPr>
          <p:nvPr>
            <p:ph type="pic" sz="quarter" idx="14"/>
          </p:nvPr>
        </p:nvPicPr>
        <p:blipFill>
          <a:blip r:embed="rId1" cstate="print">
            <a:extLst>
              <a:ext uri="{28A0092B-C50C-407E-A947-70E740481C1C}">
                <a14:useLocalDpi xmlns:a14="http://schemas.microsoft.com/office/drawing/2010/main" val="0"/>
              </a:ext>
            </a:extLst>
          </a:blip>
          <a:srcRect l="28786" r="28786"/>
          <a:stretch>
            <a:fillRect/>
          </a:stretch>
        </p:blipFill>
        <p:spPr/>
      </p:pic>
      <p:pic>
        <p:nvPicPr>
          <p:cNvPr id="12" name="图片占位符 11"/>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l="16750" r="16750"/>
          <a:stretch>
            <a:fillRect/>
          </a:stretch>
        </p:blipFill>
        <p:spPr/>
      </p:pic>
      <p:pic>
        <p:nvPicPr>
          <p:cNvPr id="17" name="图片占位符 16"/>
          <p:cNvPicPr>
            <a:picLocks noGrp="1" noChangeAspect="1"/>
          </p:cNvPicPr>
          <p:nvPr>
            <p:ph type="pic" sz="quarter" idx="16"/>
          </p:nvPr>
        </p:nvPicPr>
        <p:blipFill>
          <a:blip r:embed="rId3" cstate="print">
            <a:extLst>
              <a:ext uri="{28A0092B-C50C-407E-A947-70E740481C1C}">
                <a14:useLocalDpi xmlns:a14="http://schemas.microsoft.com/office/drawing/2010/main" val="0"/>
              </a:ext>
            </a:extLst>
          </a:blip>
          <a:srcRect l="16625" r="16625"/>
          <a:stretch>
            <a:fillRect/>
          </a:stretch>
        </p:blipFill>
        <p:spPr/>
      </p:pic>
      <p:pic>
        <p:nvPicPr>
          <p:cNvPr id="22" name="图片占位符 21"/>
          <p:cNvPicPr>
            <a:picLocks noGrp="1" noChangeAspect="1"/>
          </p:cNvPicPr>
          <p:nvPr>
            <p:ph type="pic" sz="quarter" idx="17"/>
          </p:nvPr>
        </p:nvPicPr>
        <p:blipFill>
          <a:blip r:embed="rId4" cstate="print">
            <a:extLst>
              <a:ext uri="{28A0092B-C50C-407E-A947-70E740481C1C}">
                <a14:useLocalDpi xmlns:a14="http://schemas.microsoft.com/office/drawing/2010/main" val="0"/>
              </a:ext>
            </a:extLst>
          </a:blip>
          <a:srcRect l="16855" r="16855"/>
          <a:stretch>
            <a:fillRect/>
          </a:stretch>
        </p:blipFill>
        <p:spPr/>
      </p:pic>
      <p:pic>
        <p:nvPicPr>
          <p:cNvPr id="32" name="图片占位符 31"/>
          <p:cNvPicPr>
            <a:picLocks noGrp="1" noChangeAspect="1"/>
          </p:cNvPicPr>
          <p:nvPr>
            <p:ph type="pic" sz="quarter" idx="18"/>
          </p:nvPr>
        </p:nvPicPr>
        <p:blipFill>
          <a:blip r:embed="rId5" cstate="print">
            <a:extLst>
              <a:ext uri="{28A0092B-C50C-407E-A947-70E740481C1C}">
                <a14:useLocalDpi xmlns:a14="http://schemas.microsoft.com/office/drawing/2010/main" val="0"/>
              </a:ext>
            </a:extLst>
          </a:blip>
          <a:srcRect l="16826" r="16826"/>
          <a:stretch>
            <a:fillRect/>
          </a:stretch>
        </p:blipFill>
        <p:spPr/>
      </p:pic>
      <p:pic>
        <p:nvPicPr>
          <p:cNvPr id="35" name="图片占位符 34"/>
          <p:cNvPicPr>
            <a:picLocks noGrp="1" noChangeAspect="1"/>
          </p:cNvPicPr>
          <p:nvPr>
            <p:ph type="pic" sz="quarter" idx="19"/>
          </p:nvPr>
        </p:nvPicPr>
        <p:blipFill>
          <a:blip r:embed="rId6" cstate="print">
            <a:extLst>
              <a:ext uri="{28A0092B-C50C-407E-A947-70E740481C1C}">
                <a14:useLocalDpi xmlns:a14="http://schemas.microsoft.com/office/drawing/2010/main" val="0"/>
              </a:ext>
            </a:extLst>
          </a:blip>
          <a:srcRect l="25458" r="25458"/>
          <a:stretch>
            <a:fillRect/>
          </a:stretch>
        </p:blipFill>
        <p:spPr/>
      </p:pic>
      <p:pic>
        <p:nvPicPr>
          <p:cNvPr id="44" name="图片占位符 43"/>
          <p:cNvPicPr>
            <a:picLocks noGrp="1" noChangeAspect="1"/>
          </p:cNvPicPr>
          <p:nvPr>
            <p:ph type="pic" sz="quarter" idx="21"/>
          </p:nvPr>
        </p:nvPicPr>
        <p:blipFill>
          <a:blip r:embed="rId7" cstate="print">
            <a:extLst>
              <a:ext uri="{28A0092B-C50C-407E-A947-70E740481C1C}">
                <a14:useLocalDpi xmlns:a14="http://schemas.microsoft.com/office/drawing/2010/main" val="0"/>
              </a:ext>
            </a:extLst>
          </a:blip>
          <a:srcRect l="27250" r="27250"/>
          <a:stretch>
            <a:fillRect/>
          </a:stretch>
        </p:blipFill>
        <p:spPr/>
      </p:pic>
      <p:pic>
        <p:nvPicPr>
          <p:cNvPr id="46" name="图片占位符 45"/>
          <p:cNvPicPr>
            <a:picLocks noGrp="1" noChangeAspect="1"/>
          </p:cNvPicPr>
          <p:nvPr>
            <p:ph type="pic" sz="quarter" idx="22"/>
          </p:nvPr>
        </p:nvPicPr>
        <p:blipFill>
          <a:blip r:embed="rId8" cstate="print">
            <a:extLst>
              <a:ext uri="{28A0092B-C50C-407E-A947-70E740481C1C}">
                <a14:useLocalDpi xmlns:a14="http://schemas.microsoft.com/office/drawing/2010/main" val="0"/>
              </a:ext>
            </a:extLst>
          </a:blip>
          <a:srcRect l="21632" r="21632"/>
          <a:stretch>
            <a:fillRect/>
          </a:stretch>
        </p:blipFill>
        <p:spPr/>
      </p:pic>
      <p:pic>
        <p:nvPicPr>
          <p:cNvPr id="50" name="图片占位符 49"/>
          <p:cNvPicPr>
            <a:picLocks noGrp="1" noChangeAspect="1"/>
          </p:cNvPicPr>
          <p:nvPr>
            <p:ph type="pic" sz="quarter" idx="23"/>
          </p:nvPr>
        </p:nvPicPr>
        <p:blipFill>
          <a:blip r:embed="rId9" cstate="print">
            <a:extLst>
              <a:ext uri="{28A0092B-C50C-407E-A947-70E740481C1C}">
                <a14:useLocalDpi xmlns:a14="http://schemas.microsoft.com/office/drawing/2010/main" val="0"/>
              </a:ext>
            </a:extLst>
          </a:blip>
          <a:srcRect l="18542" r="18542"/>
          <a:stretch>
            <a:fillRect/>
          </a:stretch>
        </p:blipFill>
        <p:spPr/>
      </p:pic>
      <p:pic>
        <p:nvPicPr>
          <p:cNvPr id="52" name="图片占位符 51"/>
          <p:cNvPicPr>
            <a:picLocks noGrp="1" noChangeAspect="1"/>
          </p:cNvPicPr>
          <p:nvPr>
            <p:ph type="pic" sz="quarter" idx="24"/>
          </p:nvPr>
        </p:nvPicPr>
        <p:blipFill>
          <a:blip r:embed="rId10" cstate="print">
            <a:extLst>
              <a:ext uri="{28A0092B-C50C-407E-A947-70E740481C1C}">
                <a14:useLocalDpi xmlns:a14="http://schemas.microsoft.com/office/drawing/2010/main" val="0"/>
              </a:ext>
            </a:extLst>
          </a:blip>
          <a:srcRect l="16667" r="16667"/>
          <a:stretch>
            <a:fillRect/>
          </a:stretch>
        </p:blipFill>
        <p:spPr/>
      </p:pic>
      <p:sp>
        <p:nvSpPr>
          <p:cNvPr id="73" name="Rectangle 72"/>
          <p:cNvSpPr/>
          <p:nvPr/>
        </p:nvSpPr>
        <p:spPr>
          <a:xfrm>
            <a:off x="891717" y="1795980"/>
            <a:ext cx="2029227" cy="337185"/>
          </a:xfrm>
          <a:prstGeom prst="rect">
            <a:avLst/>
          </a:prstGeom>
        </p:spPr>
        <p:txBody>
          <a:bodyPr wrap="square">
            <a:spAutoFit/>
          </a:bodyPr>
          <a:lstStyle/>
          <a:p>
            <a:pPr>
              <a:buClr>
                <a:srgbClr val="E24848"/>
              </a:buClr>
              <a:defRPr/>
            </a:pPr>
            <a:r>
              <a:rPr lang="zh-CN" altLang="en-US" sz="1600" b="1" noProof="1">
                <a:solidFill>
                  <a:schemeClr val="tx1">
                    <a:lumMod val="75000"/>
                    <a:lumOff val="25000"/>
                  </a:schemeClr>
                </a:solidFill>
                <a:latin typeface="+mj-lt"/>
                <a:ea typeface="宋体" panose="02010600030101010101" pitchFamily="2" charset="-122"/>
                <a:cs typeface="Open Sans Light" panose="020B0306030504020204" pitchFamily="34" charset="0"/>
              </a:rPr>
              <a:t>前台模块</a:t>
            </a:r>
            <a:r>
              <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rPr>
              <a:t> </a:t>
            </a:r>
            <a:endPar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sp>
        <p:nvSpPr>
          <p:cNvPr id="80" name="Freeform 79"/>
          <p:cNvSpPr/>
          <p:nvPr/>
        </p:nvSpPr>
        <p:spPr>
          <a:xfrm>
            <a:off x="6970816" y="3645725"/>
            <a:ext cx="4690753" cy="451262"/>
          </a:xfrm>
          <a:custGeom>
            <a:avLst/>
            <a:gdLst>
              <a:gd name="connsiteX0" fmla="*/ 0 w 4690753"/>
              <a:gd name="connsiteY0" fmla="*/ 451262 h 451262"/>
              <a:gd name="connsiteX1" fmla="*/ 332509 w 4690753"/>
              <a:gd name="connsiteY1" fmla="*/ 0 h 451262"/>
              <a:gd name="connsiteX2" fmla="*/ 4690753 w 4690753"/>
              <a:gd name="connsiteY2" fmla="*/ 71252 h 451262"/>
              <a:gd name="connsiteX0-1" fmla="*/ 0 w 4690753"/>
              <a:gd name="connsiteY0-2" fmla="*/ 451262 h 451262"/>
              <a:gd name="connsiteX1-3" fmla="*/ 332509 w 4690753"/>
              <a:gd name="connsiteY1-4" fmla="*/ 0 h 451262"/>
              <a:gd name="connsiteX2-5" fmla="*/ 4690753 w 4690753"/>
              <a:gd name="connsiteY2-6" fmla="*/ 0 h 451262"/>
            </a:gdLst>
            <a:ahLst/>
            <a:cxnLst>
              <a:cxn ang="0">
                <a:pos x="connsiteX0-1" y="connsiteY0-2"/>
              </a:cxn>
              <a:cxn ang="0">
                <a:pos x="connsiteX1-3" y="connsiteY1-4"/>
              </a:cxn>
              <a:cxn ang="0">
                <a:pos x="connsiteX2-5" y="connsiteY2-6"/>
              </a:cxn>
            </a:cxnLst>
            <a:rect l="l" t="t" r="r" b="b"/>
            <a:pathLst>
              <a:path w="4690753" h="451262">
                <a:moveTo>
                  <a:pt x="0" y="451262"/>
                </a:moveTo>
                <a:lnTo>
                  <a:pt x="332509" y="0"/>
                </a:lnTo>
                <a:lnTo>
                  <a:pt x="4690753" y="0"/>
                </a:lnTo>
              </a:path>
            </a:pathLst>
          </a:cu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Freeform 80"/>
          <p:cNvSpPr/>
          <p:nvPr/>
        </p:nvSpPr>
        <p:spPr>
          <a:xfrm flipV="1">
            <a:off x="7908966" y="1793174"/>
            <a:ext cx="3621974" cy="178130"/>
          </a:xfrm>
          <a:custGeom>
            <a:avLst/>
            <a:gdLst>
              <a:gd name="connsiteX0" fmla="*/ 0 w 3621974"/>
              <a:gd name="connsiteY0" fmla="*/ 0 h 178130"/>
              <a:gd name="connsiteX1" fmla="*/ 130629 w 3621974"/>
              <a:gd name="connsiteY1" fmla="*/ 178130 h 178130"/>
              <a:gd name="connsiteX2" fmla="*/ 3621974 w 3621974"/>
              <a:gd name="connsiteY2" fmla="*/ 154379 h 178130"/>
            </a:gdLst>
            <a:ahLst/>
            <a:cxnLst>
              <a:cxn ang="0">
                <a:pos x="connsiteX0" y="connsiteY0"/>
              </a:cxn>
              <a:cxn ang="0">
                <a:pos x="connsiteX1" y="connsiteY1"/>
              </a:cxn>
              <a:cxn ang="0">
                <a:pos x="connsiteX2" y="connsiteY2"/>
              </a:cxn>
            </a:cxnLst>
            <a:rect l="l" t="t" r="r" b="b"/>
            <a:pathLst>
              <a:path w="3621974" h="178130">
                <a:moveTo>
                  <a:pt x="0" y="0"/>
                </a:moveTo>
                <a:lnTo>
                  <a:pt x="130629" y="178130"/>
                </a:lnTo>
                <a:lnTo>
                  <a:pt x="3621974" y="154379"/>
                </a:lnTo>
              </a:path>
            </a:pathLst>
          </a:cu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Freeform 82"/>
          <p:cNvSpPr/>
          <p:nvPr/>
        </p:nvSpPr>
        <p:spPr>
          <a:xfrm>
            <a:off x="926275" y="1603169"/>
            <a:ext cx="3372593" cy="558140"/>
          </a:xfrm>
          <a:custGeom>
            <a:avLst/>
            <a:gdLst>
              <a:gd name="connsiteX0" fmla="*/ 3372593 w 3372593"/>
              <a:gd name="connsiteY0" fmla="*/ 0 h 558140"/>
              <a:gd name="connsiteX1" fmla="*/ 3028208 w 3372593"/>
              <a:gd name="connsiteY1" fmla="*/ 558140 h 558140"/>
              <a:gd name="connsiteX2" fmla="*/ 0 w 3372593"/>
              <a:gd name="connsiteY2" fmla="*/ 534389 h 558140"/>
            </a:gdLst>
            <a:ahLst/>
            <a:cxnLst>
              <a:cxn ang="0">
                <a:pos x="connsiteX0" y="connsiteY0"/>
              </a:cxn>
              <a:cxn ang="0">
                <a:pos x="connsiteX1" y="connsiteY1"/>
              </a:cxn>
              <a:cxn ang="0">
                <a:pos x="connsiteX2" y="connsiteY2"/>
              </a:cxn>
            </a:cxnLst>
            <a:rect l="l" t="t" r="r" b="b"/>
            <a:pathLst>
              <a:path w="3372593" h="558140">
                <a:moveTo>
                  <a:pt x="3372593" y="0"/>
                </a:moveTo>
                <a:lnTo>
                  <a:pt x="3028208" y="558140"/>
                </a:lnTo>
                <a:lnTo>
                  <a:pt x="0" y="534389"/>
                </a:lnTo>
              </a:path>
            </a:pathLst>
          </a:cu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Freeform 83"/>
          <p:cNvSpPr/>
          <p:nvPr/>
        </p:nvSpPr>
        <p:spPr>
          <a:xfrm>
            <a:off x="938151" y="3954483"/>
            <a:ext cx="2458192" cy="427512"/>
          </a:xfrm>
          <a:custGeom>
            <a:avLst/>
            <a:gdLst>
              <a:gd name="connsiteX0" fmla="*/ 2458192 w 2458192"/>
              <a:gd name="connsiteY0" fmla="*/ 427512 h 427512"/>
              <a:gd name="connsiteX1" fmla="*/ 2256311 w 2458192"/>
              <a:gd name="connsiteY1" fmla="*/ 23751 h 427512"/>
              <a:gd name="connsiteX2" fmla="*/ 0 w 2458192"/>
              <a:gd name="connsiteY2" fmla="*/ 0 h 427512"/>
            </a:gdLst>
            <a:ahLst/>
            <a:cxnLst>
              <a:cxn ang="0">
                <a:pos x="connsiteX0" y="connsiteY0"/>
              </a:cxn>
              <a:cxn ang="0">
                <a:pos x="connsiteX1" y="connsiteY1"/>
              </a:cxn>
              <a:cxn ang="0">
                <a:pos x="connsiteX2" y="connsiteY2"/>
              </a:cxn>
            </a:cxnLst>
            <a:rect l="l" t="t" r="r" b="b"/>
            <a:pathLst>
              <a:path w="2458192" h="427512">
                <a:moveTo>
                  <a:pt x="2458192" y="427512"/>
                </a:moveTo>
                <a:lnTo>
                  <a:pt x="2256311" y="23751"/>
                </a:lnTo>
                <a:lnTo>
                  <a:pt x="0" y="0"/>
                </a:lnTo>
              </a:path>
            </a:pathLst>
          </a:cu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a:off x="891717" y="3596810"/>
            <a:ext cx="2029227" cy="337185"/>
          </a:xfrm>
          <a:prstGeom prst="rect">
            <a:avLst/>
          </a:prstGeom>
        </p:spPr>
        <p:txBody>
          <a:bodyPr wrap="square">
            <a:spAutoFit/>
          </a:bodyPr>
          <a:lstStyle/>
          <a:p>
            <a:pPr>
              <a:buClr>
                <a:srgbClr val="E24848"/>
              </a:buClr>
              <a:defRPr/>
            </a:pPr>
            <a:r>
              <a:rPr lang="zh-CN" altLang="en-US" sz="1600" b="1" noProof="1">
                <a:solidFill>
                  <a:schemeClr val="tx1">
                    <a:lumMod val="75000"/>
                    <a:lumOff val="25000"/>
                  </a:schemeClr>
                </a:solidFill>
                <a:latin typeface="+mj-lt"/>
                <a:ea typeface="宋体" panose="02010600030101010101" pitchFamily="2" charset="-122"/>
                <a:cs typeface="Open Sans Light" panose="020B0306030504020204" pitchFamily="34" charset="0"/>
              </a:rPr>
              <a:t>后台模块</a:t>
            </a:r>
            <a:r>
              <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rPr>
              <a:t> </a:t>
            </a:r>
            <a:endPar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sp>
        <p:nvSpPr>
          <p:cNvPr id="89" name="Rectangle 88"/>
          <p:cNvSpPr/>
          <p:nvPr/>
        </p:nvSpPr>
        <p:spPr>
          <a:xfrm>
            <a:off x="8812610" y="3304787"/>
            <a:ext cx="2029227" cy="337185"/>
          </a:xfrm>
          <a:prstGeom prst="rect">
            <a:avLst/>
          </a:prstGeom>
        </p:spPr>
        <p:txBody>
          <a:bodyPr wrap="square">
            <a:spAutoFit/>
          </a:bodyPr>
          <a:lstStyle/>
          <a:p>
            <a:pPr>
              <a:buClr>
                <a:srgbClr val="E24848"/>
              </a:buClr>
              <a:defRPr/>
            </a:pPr>
            <a:r>
              <a:rPr lang="zh-CN" altLang="en-US" sz="1600" b="1" noProof="1">
                <a:solidFill>
                  <a:schemeClr val="tx1">
                    <a:lumMod val="75000"/>
                    <a:lumOff val="25000"/>
                  </a:schemeClr>
                </a:solidFill>
                <a:latin typeface="+mj-lt"/>
                <a:ea typeface="宋体" panose="02010600030101010101" pitchFamily="2" charset="-122"/>
                <a:cs typeface="Open Sans Light" panose="020B0306030504020204" pitchFamily="34" charset="0"/>
              </a:rPr>
              <a:t>集群模块</a:t>
            </a:r>
            <a:r>
              <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rPr>
              <a:t> </a:t>
            </a:r>
            <a:endPar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sp>
        <p:nvSpPr>
          <p:cNvPr id="63"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sz="2800" noProof="1">
                <a:solidFill>
                  <a:prstClr val="black">
                    <a:lumMod val="85000"/>
                    <a:lumOff val="15000"/>
                  </a:prstClr>
                </a:solidFill>
                <a:latin typeface="Bebas Neue" panose="020B0606020202050201" pitchFamily="34" charset="0"/>
                <a:ea typeface="宋体" panose="02010600030101010101" pitchFamily="2" charset="-122"/>
                <a:cs typeface="Lato Light" charset="0"/>
              </a:rPr>
              <a:t>项目模块</a:t>
            </a:r>
            <a:endParaRPr lang="zh-CN" sz="2800" noProof="1">
              <a:solidFill>
                <a:prstClr val="black">
                  <a:lumMod val="85000"/>
                  <a:lumOff val="15000"/>
                </a:prstClr>
              </a:solidFill>
              <a:latin typeface="Bebas Neue" panose="020B0606020202050201" pitchFamily="34" charset="0"/>
              <a:ea typeface="宋体" panose="02010600030101010101" pitchFamily="2" charset="-122"/>
              <a:cs typeface="Lato Light" charset="0"/>
            </a:endParaRPr>
          </a:p>
        </p:txBody>
      </p:sp>
      <p:sp>
        <p:nvSpPr>
          <p:cNvPr id="64"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65" name="矩形 64"/>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矩形 65"/>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Rectangle 88"/>
          <p:cNvSpPr/>
          <p:nvPr/>
        </p:nvSpPr>
        <p:spPr>
          <a:xfrm>
            <a:off x="8386525" y="1325492"/>
            <a:ext cx="2029227" cy="337185"/>
          </a:xfrm>
          <a:prstGeom prst="rect">
            <a:avLst/>
          </a:prstGeom>
        </p:spPr>
        <p:txBody>
          <a:bodyPr wrap="square">
            <a:spAutoFit/>
          </a:bodyPr>
          <a:p>
            <a:pPr>
              <a:buClr>
                <a:srgbClr val="E24848"/>
              </a:buClr>
              <a:defRPr/>
            </a:pPr>
            <a:r>
              <a:rPr lang="zh-CN" altLang="en-US" sz="1600" b="1" noProof="1">
                <a:solidFill>
                  <a:schemeClr val="tx1">
                    <a:lumMod val="75000"/>
                    <a:lumOff val="25000"/>
                  </a:schemeClr>
                </a:solidFill>
                <a:latin typeface="+mj-lt"/>
                <a:ea typeface="宋体" panose="02010600030101010101" pitchFamily="2" charset="-122"/>
                <a:cs typeface="Open Sans Light" panose="020B0306030504020204" pitchFamily="34" charset="0"/>
              </a:rPr>
              <a:t>数据库模块</a:t>
            </a:r>
            <a:endParaRPr lang="zh-CN" altLang="en-US" sz="1600" b="1" noProof="1">
              <a:solidFill>
                <a:schemeClr val="tx1">
                  <a:lumMod val="75000"/>
                  <a:lumOff val="25000"/>
                </a:schemeClr>
              </a:solidFill>
              <a:latin typeface="+mj-lt"/>
              <a:ea typeface="宋体" panose="02010600030101010101" pitchFamily="2" charset="-122"/>
              <a:cs typeface="Open Sans Light" panose="020B0306030504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 name="Freeform 272"/>
          <p:cNvSpPr>
            <a:spLocks noEditPoints="1"/>
          </p:cNvSpPr>
          <p:nvPr/>
        </p:nvSpPr>
        <p:spPr bwMode="auto">
          <a:xfrm>
            <a:off x="1107455" y="2485981"/>
            <a:ext cx="4576928" cy="3464949"/>
          </a:xfrm>
          <a:custGeom>
            <a:avLst/>
            <a:gdLst>
              <a:gd name="T0" fmla="*/ 914 w 1489"/>
              <a:gd name="T1" fmla="*/ 286 h 1128"/>
              <a:gd name="T2" fmla="*/ 872 w 1489"/>
              <a:gd name="T3" fmla="*/ 374 h 1128"/>
              <a:gd name="T4" fmla="*/ 830 w 1489"/>
              <a:gd name="T5" fmla="*/ 343 h 1128"/>
              <a:gd name="T6" fmla="*/ 813 w 1489"/>
              <a:gd name="T7" fmla="*/ 371 h 1128"/>
              <a:gd name="T8" fmla="*/ 788 w 1489"/>
              <a:gd name="T9" fmla="*/ 341 h 1128"/>
              <a:gd name="T10" fmla="*/ 770 w 1489"/>
              <a:gd name="T11" fmla="*/ 347 h 1128"/>
              <a:gd name="T12" fmla="*/ 795 w 1489"/>
              <a:gd name="T13" fmla="*/ 313 h 1128"/>
              <a:gd name="T14" fmla="*/ 795 w 1489"/>
              <a:gd name="T15" fmla="*/ 314 h 1128"/>
              <a:gd name="T16" fmla="*/ 790 w 1489"/>
              <a:gd name="T17" fmla="*/ 314 h 1128"/>
              <a:gd name="T18" fmla="*/ 616 w 1489"/>
              <a:gd name="T19" fmla="*/ 213 h 1128"/>
              <a:gd name="T20" fmla="*/ 658 w 1489"/>
              <a:gd name="T21" fmla="*/ 139 h 1128"/>
              <a:gd name="T22" fmla="*/ 501 w 1489"/>
              <a:gd name="T23" fmla="*/ 209 h 1128"/>
              <a:gd name="T24" fmla="*/ 484 w 1489"/>
              <a:gd name="T25" fmla="*/ 67 h 1128"/>
              <a:gd name="T26" fmla="*/ 271 w 1489"/>
              <a:gd name="T27" fmla="*/ 44 h 1128"/>
              <a:gd name="T28" fmla="*/ 226 w 1489"/>
              <a:gd name="T29" fmla="*/ 269 h 1128"/>
              <a:gd name="T30" fmla="*/ 184 w 1489"/>
              <a:gd name="T31" fmla="*/ 366 h 1128"/>
              <a:gd name="T32" fmla="*/ 147 w 1489"/>
              <a:gd name="T33" fmla="*/ 276 h 1128"/>
              <a:gd name="T34" fmla="*/ 117 w 1489"/>
              <a:gd name="T35" fmla="*/ 426 h 1128"/>
              <a:gd name="T36" fmla="*/ 76 w 1489"/>
              <a:gd name="T37" fmla="*/ 237 h 1128"/>
              <a:gd name="T38" fmla="*/ 77 w 1489"/>
              <a:gd name="T39" fmla="*/ 524 h 1128"/>
              <a:gd name="T40" fmla="*/ 59 w 1489"/>
              <a:gd name="T41" fmla="*/ 156 h 1128"/>
              <a:gd name="T42" fmla="*/ 4 w 1489"/>
              <a:gd name="T43" fmla="*/ 363 h 1128"/>
              <a:gd name="T44" fmla="*/ 69 w 1489"/>
              <a:gd name="T45" fmla="*/ 621 h 1128"/>
              <a:gd name="T46" fmla="*/ 267 w 1489"/>
              <a:gd name="T47" fmla="*/ 925 h 1128"/>
              <a:gd name="T48" fmla="*/ 484 w 1489"/>
              <a:gd name="T49" fmla="*/ 1059 h 1128"/>
              <a:gd name="T50" fmla="*/ 629 w 1489"/>
              <a:gd name="T51" fmla="*/ 1111 h 1128"/>
              <a:gd name="T52" fmla="*/ 1029 w 1489"/>
              <a:gd name="T53" fmla="*/ 1076 h 1128"/>
              <a:gd name="T54" fmla="*/ 1262 w 1489"/>
              <a:gd name="T55" fmla="*/ 922 h 1128"/>
              <a:gd name="T56" fmla="*/ 1424 w 1489"/>
              <a:gd name="T57" fmla="*/ 697 h 1128"/>
              <a:gd name="T58" fmla="*/ 1030 w 1489"/>
              <a:gd name="T59" fmla="*/ 1025 h 1128"/>
              <a:gd name="T60" fmla="*/ 799 w 1489"/>
              <a:gd name="T61" fmla="*/ 1081 h 1128"/>
              <a:gd name="T62" fmla="*/ 1084 w 1489"/>
              <a:gd name="T63" fmla="*/ 985 h 1128"/>
              <a:gd name="T64" fmla="*/ 1213 w 1489"/>
              <a:gd name="T65" fmla="*/ 868 h 1128"/>
              <a:gd name="T66" fmla="*/ 1331 w 1489"/>
              <a:gd name="T67" fmla="*/ 727 h 1128"/>
              <a:gd name="T68" fmla="*/ 1385 w 1489"/>
              <a:gd name="T69" fmla="*/ 467 h 1128"/>
              <a:gd name="T70" fmla="*/ 1327 w 1489"/>
              <a:gd name="T71" fmla="*/ 229 h 1128"/>
              <a:gd name="T72" fmla="*/ 1260 w 1489"/>
              <a:gd name="T73" fmla="*/ 391 h 1128"/>
              <a:gd name="T74" fmla="*/ 1133 w 1489"/>
              <a:gd name="T75" fmla="*/ 608 h 1128"/>
              <a:gd name="T76" fmla="*/ 1104 w 1489"/>
              <a:gd name="T77" fmla="*/ 563 h 1128"/>
              <a:gd name="T78" fmla="*/ 1143 w 1489"/>
              <a:gd name="T79" fmla="*/ 194 h 1128"/>
              <a:gd name="T80" fmla="*/ 1134 w 1489"/>
              <a:gd name="T81" fmla="*/ 454 h 1128"/>
              <a:gd name="T82" fmla="*/ 1113 w 1489"/>
              <a:gd name="T83" fmla="*/ 226 h 1128"/>
              <a:gd name="T84" fmla="*/ 952 w 1489"/>
              <a:gd name="T85" fmla="*/ 151 h 1128"/>
              <a:gd name="T86" fmla="*/ 825 w 1489"/>
              <a:gd name="T87" fmla="*/ 380 h 1128"/>
              <a:gd name="T88" fmla="*/ 1057 w 1489"/>
              <a:gd name="T89" fmla="*/ 591 h 1128"/>
              <a:gd name="T90" fmla="*/ 913 w 1489"/>
              <a:gd name="T91" fmla="*/ 708 h 1128"/>
              <a:gd name="T92" fmla="*/ 953 w 1489"/>
              <a:gd name="T93" fmla="*/ 640 h 1128"/>
              <a:gd name="T94" fmla="*/ 1043 w 1489"/>
              <a:gd name="T95" fmla="*/ 575 h 1128"/>
              <a:gd name="T96" fmla="*/ 1017 w 1489"/>
              <a:gd name="T97" fmla="*/ 585 h 1128"/>
              <a:gd name="T98" fmla="*/ 1060 w 1489"/>
              <a:gd name="T99" fmla="*/ 989 h 1128"/>
              <a:gd name="T100" fmla="*/ 803 w 1489"/>
              <a:gd name="T101" fmla="*/ 380 h 1128"/>
              <a:gd name="T102" fmla="*/ 840 w 1489"/>
              <a:gd name="T103" fmla="*/ 1055 h 1128"/>
              <a:gd name="T104" fmla="*/ 712 w 1489"/>
              <a:gd name="T105" fmla="*/ 1091 h 1128"/>
              <a:gd name="T106" fmla="*/ 458 w 1489"/>
              <a:gd name="T107" fmla="*/ 1051 h 1128"/>
              <a:gd name="T108" fmla="*/ 782 w 1489"/>
              <a:gd name="T109" fmla="*/ 330 h 1128"/>
              <a:gd name="T110" fmla="*/ 218 w 1489"/>
              <a:gd name="T111" fmla="*/ 745 h 1128"/>
              <a:gd name="T112" fmla="*/ 790 w 1489"/>
              <a:gd name="T113" fmla="*/ 317 h 1128"/>
              <a:gd name="T114" fmla="*/ 76 w 1489"/>
              <a:gd name="T115" fmla="*/ 540 h 1128"/>
              <a:gd name="T116" fmla="*/ 150 w 1489"/>
              <a:gd name="T117" fmla="*/ 641 h 1128"/>
              <a:gd name="T118" fmla="*/ 139 w 1489"/>
              <a:gd name="T119" fmla="*/ 613 h 1128"/>
              <a:gd name="T120" fmla="*/ 233 w 1489"/>
              <a:gd name="T121" fmla="*/ 494 h 1128"/>
              <a:gd name="T122" fmla="*/ 106 w 1489"/>
              <a:gd name="T123" fmla="*/ 545 h 1128"/>
              <a:gd name="T124" fmla="*/ 790 w 1489"/>
              <a:gd name="T125" fmla="*/ 314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9" h="1128">
                <a:moveTo>
                  <a:pt x="912" y="184"/>
                </a:moveTo>
                <a:lnTo>
                  <a:pt x="912" y="184"/>
                </a:lnTo>
                <a:lnTo>
                  <a:pt x="912" y="187"/>
                </a:lnTo>
                <a:lnTo>
                  <a:pt x="912" y="187"/>
                </a:lnTo>
                <a:lnTo>
                  <a:pt x="913" y="190"/>
                </a:lnTo>
                <a:lnTo>
                  <a:pt x="913" y="190"/>
                </a:lnTo>
                <a:lnTo>
                  <a:pt x="916" y="193"/>
                </a:lnTo>
                <a:lnTo>
                  <a:pt x="916" y="193"/>
                </a:lnTo>
                <a:lnTo>
                  <a:pt x="917" y="193"/>
                </a:lnTo>
                <a:lnTo>
                  <a:pt x="917" y="193"/>
                </a:lnTo>
                <a:lnTo>
                  <a:pt x="916" y="196"/>
                </a:lnTo>
                <a:lnTo>
                  <a:pt x="916" y="199"/>
                </a:lnTo>
                <a:lnTo>
                  <a:pt x="917" y="200"/>
                </a:lnTo>
                <a:lnTo>
                  <a:pt x="917" y="200"/>
                </a:lnTo>
                <a:lnTo>
                  <a:pt x="919" y="201"/>
                </a:lnTo>
                <a:lnTo>
                  <a:pt x="919" y="201"/>
                </a:lnTo>
                <a:lnTo>
                  <a:pt x="919" y="203"/>
                </a:lnTo>
                <a:lnTo>
                  <a:pt x="919" y="203"/>
                </a:lnTo>
                <a:lnTo>
                  <a:pt x="917" y="206"/>
                </a:lnTo>
                <a:lnTo>
                  <a:pt x="914" y="210"/>
                </a:lnTo>
                <a:lnTo>
                  <a:pt x="914" y="210"/>
                </a:lnTo>
                <a:lnTo>
                  <a:pt x="916" y="209"/>
                </a:lnTo>
                <a:lnTo>
                  <a:pt x="917" y="207"/>
                </a:lnTo>
                <a:lnTo>
                  <a:pt x="920" y="206"/>
                </a:lnTo>
                <a:lnTo>
                  <a:pt x="922" y="206"/>
                </a:lnTo>
                <a:lnTo>
                  <a:pt x="922" y="206"/>
                </a:lnTo>
                <a:lnTo>
                  <a:pt x="917" y="214"/>
                </a:lnTo>
                <a:lnTo>
                  <a:pt x="917" y="214"/>
                </a:lnTo>
                <a:lnTo>
                  <a:pt x="920" y="213"/>
                </a:lnTo>
                <a:lnTo>
                  <a:pt x="922" y="214"/>
                </a:lnTo>
                <a:lnTo>
                  <a:pt x="920" y="216"/>
                </a:lnTo>
                <a:lnTo>
                  <a:pt x="919" y="219"/>
                </a:lnTo>
                <a:lnTo>
                  <a:pt x="919" y="219"/>
                </a:lnTo>
                <a:lnTo>
                  <a:pt x="914" y="220"/>
                </a:lnTo>
                <a:lnTo>
                  <a:pt x="914" y="220"/>
                </a:lnTo>
                <a:lnTo>
                  <a:pt x="916" y="217"/>
                </a:lnTo>
                <a:lnTo>
                  <a:pt x="916" y="216"/>
                </a:lnTo>
                <a:lnTo>
                  <a:pt x="916" y="216"/>
                </a:lnTo>
                <a:lnTo>
                  <a:pt x="913" y="214"/>
                </a:lnTo>
                <a:lnTo>
                  <a:pt x="910" y="216"/>
                </a:lnTo>
                <a:lnTo>
                  <a:pt x="910" y="216"/>
                </a:lnTo>
                <a:lnTo>
                  <a:pt x="912" y="219"/>
                </a:lnTo>
                <a:lnTo>
                  <a:pt x="913" y="221"/>
                </a:lnTo>
                <a:lnTo>
                  <a:pt x="916" y="221"/>
                </a:lnTo>
                <a:lnTo>
                  <a:pt x="916" y="221"/>
                </a:lnTo>
                <a:lnTo>
                  <a:pt x="916" y="221"/>
                </a:lnTo>
                <a:lnTo>
                  <a:pt x="917" y="220"/>
                </a:lnTo>
                <a:lnTo>
                  <a:pt x="917" y="220"/>
                </a:lnTo>
                <a:lnTo>
                  <a:pt x="919" y="220"/>
                </a:lnTo>
                <a:lnTo>
                  <a:pt x="920" y="220"/>
                </a:lnTo>
                <a:lnTo>
                  <a:pt x="920" y="220"/>
                </a:lnTo>
                <a:lnTo>
                  <a:pt x="917" y="221"/>
                </a:lnTo>
                <a:lnTo>
                  <a:pt x="917" y="221"/>
                </a:lnTo>
                <a:lnTo>
                  <a:pt x="917" y="223"/>
                </a:lnTo>
                <a:lnTo>
                  <a:pt x="917" y="223"/>
                </a:lnTo>
                <a:lnTo>
                  <a:pt x="920" y="221"/>
                </a:lnTo>
                <a:lnTo>
                  <a:pt x="922" y="221"/>
                </a:lnTo>
                <a:lnTo>
                  <a:pt x="922" y="221"/>
                </a:lnTo>
                <a:lnTo>
                  <a:pt x="920" y="224"/>
                </a:lnTo>
                <a:lnTo>
                  <a:pt x="920" y="227"/>
                </a:lnTo>
                <a:lnTo>
                  <a:pt x="920" y="227"/>
                </a:lnTo>
                <a:lnTo>
                  <a:pt x="922" y="229"/>
                </a:lnTo>
                <a:lnTo>
                  <a:pt x="922" y="229"/>
                </a:lnTo>
                <a:lnTo>
                  <a:pt x="924" y="230"/>
                </a:lnTo>
                <a:lnTo>
                  <a:pt x="924" y="230"/>
                </a:lnTo>
                <a:lnTo>
                  <a:pt x="923" y="233"/>
                </a:lnTo>
                <a:lnTo>
                  <a:pt x="922" y="234"/>
                </a:lnTo>
                <a:lnTo>
                  <a:pt x="922" y="234"/>
                </a:lnTo>
                <a:lnTo>
                  <a:pt x="924" y="239"/>
                </a:lnTo>
                <a:lnTo>
                  <a:pt x="924" y="239"/>
                </a:lnTo>
                <a:lnTo>
                  <a:pt x="924" y="240"/>
                </a:lnTo>
                <a:lnTo>
                  <a:pt x="924" y="241"/>
                </a:lnTo>
                <a:lnTo>
                  <a:pt x="922" y="244"/>
                </a:lnTo>
                <a:lnTo>
                  <a:pt x="916" y="247"/>
                </a:lnTo>
                <a:lnTo>
                  <a:pt x="916" y="247"/>
                </a:lnTo>
                <a:lnTo>
                  <a:pt x="919" y="249"/>
                </a:lnTo>
                <a:lnTo>
                  <a:pt x="920" y="250"/>
                </a:lnTo>
                <a:lnTo>
                  <a:pt x="920" y="250"/>
                </a:lnTo>
                <a:lnTo>
                  <a:pt x="920" y="253"/>
                </a:lnTo>
                <a:lnTo>
                  <a:pt x="917" y="256"/>
                </a:lnTo>
                <a:lnTo>
                  <a:pt x="917" y="256"/>
                </a:lnTo>
                <a:lnTo>
                  <a:pt x="920" y="256"/>
                </a:lnTo>
                <a:lnTo>
                  <a:pt x="922" y="254"/>
                </a:lnTo>
                <a:lnTo>
                  <a:pt x="922" y="254"/>
                </a:lnTo>
                <a:lnTo>
                  <a:pt x="920" y="257"/>
                </a:lnTo>
                <a:lnTo>
                  <a:pt x="920" y="259"/>
                </a:lnTo>
                <a:lnTo>
                  <a:pt x="923" y="260"/>
                </a:lnTo>
                <a:lnTo>
                  <a:pt x="923" y="260"/>
                </a:lnTo>
                <a:lnTo>
                  <a:pt x="924" y="261"/>
                </a:lnTo>
                <a:lnTo>
                  <a:pt x="924" y="261"/>
                </a:lnTo>
                <a:lnTo>
                  <a:pt x="926" y="261"/>
                </a:lnTo>
                <a:lnTo>
                  <a:pt x="926" y="261"/>
                </a:lnTo>
                <a:lnTo>
                  <a:pt x="927" y="263"/>
                </a:lnTo>
                <a:lnTo>
                  <a:pt x="927" y="264"/>
                </a:lnTo>
                <a:lnTo>
                  <a:pt x="927" y="264"/>
                </a:lnTo>
                <a:lnTo>
                  <a:pt x="924" y="264"/>
                </a:lnTo>
                <a:lnTo>
                  <a:pt x="924" y="264"/>
                </a:lnTo>
                <a:lnTo>
                  <a:pt x="923" y="263"/>
                </a:lnTo>
                <a:lnTo>
                  <a:pt x="920" y="264"/>
                </a:lnTo>
                <a:lnTo>
                  <a:pt x="920" y="264"/>
                </a:lnTo>
                <a:lnTo>
                  <a:pt x="922" y="266"/>
                </a:lnTo>
                <a:lnTo>
                  <a:pt x="923" y="267"/>
                </a:lnTo>
                <a:lnTo>
                  <a:pt x="923" y="267"/>
                </a:lnTo>
                <a:lnTo>
                  <a:pt x="923" y="269"/>
                </a:lnTo>
                <a:lnTo>
                  <a:pt x="923" y="270"/>
                </a:lnTo>
                <a:lnTo>
                  <a:pt x="923" y="270"/>
                </a:lnTo>
                <a:lnTo>
                  <a:pt x="923" y="270"/>
                </a:lnTo>
                <a:lnTo>
                  <a:pt x="923" y="270"/>
                </a:lnTo>
                <a:lnTo>
                  <a:pt x="920" y="263"/>
                </a:lnTo>
                <a:lnTo>
                  <a:pt x="920" y="263"/>
                </a:lnTo>
                <a:lnTo>
                  <a:pt x="920" y="263"/>
                </a:lnTo>
                <a:lnTo>
                  <a:pt x="920" y="263"/>
                </a:lnTo>
                <a:lnTo>
                  <a:pt x="920" y="264"/>
                </a:lnTo>
                <a:lnTo>
                  <a:pt x="920" y="264"/>
                </a:lnTo>
                <a:lnTo>
                  <a:pt x="920" y="264"/>
                </a:lnTo>
                <a:lnTo>
                  <a:pt x="920" y="267"/>
                </a:lnTo>
                <a:lnTo>
                  <a:pt x="920" y="267"/>
                </a:lnTo>
                <a:lnTo>
                  <a:pt x="920" y="276"/>
                </a:lnTo>
                <a:lnTo>
                  <a:pt x="920" y="280"/>
                </a:lnTo>
                <a:lnTo>
                  <a:pt x="922" y="284"/>
                </a:lnTo>
                <a:lnTo>
                  <a:pt x="922" y="284"/>
                </a:lnTo>
                <a:lnTo>
                  <a:pt x="919" y="284"/>
                </a:lnTo>
                <a:lnTo>
                  <a:pt x="917" y="283"/>
                </a:lnTo>
                <a:lnTo>
                  <a:pt x="916" y="283"/>
                </a:lnTo>
                <a:lnTo>
                  <a:pt x="913" y="283"/>
                </a:lnTo>
                <a:lnTo>
                  <a:pt x="913" y="283"/>
                </a:lnTo>
                <a:lnTo>
                  <a:pt x="914" y="286"/>
                </a:lnTo>
                <a:lnTo>
                  <a:pt x="914" y="286"/>
                </a:lnTo>
                <a:lnTo>
                  <a:pt x="914" y="287"/>
                </a:lnTo>
                <a:lnTo>
                  <a:pt x="914" y="287"/>
                </a:lnTo>
                <a:lnTo>
                  <a:pt x="914" y="287"/>
                </a:lnTo>
                <a:lnTo>
                  <a:pt x="914" y="287"/>
                </a:lnTo>
                <a:lnTo>
                  <a:pt x="914" y="287"/>
                </a:lnTo>
                <a:lnTo>
                  <a:pt x="914" y="287"/>
                </a:lnTo>
                <a:lnTo>
                  <a:pt x="914" y="287"/>
                </a:lnTo>
                <a:lnTo>
                  <a:pt x="914" y="287"/>
                </a:lnTo>
                <a:lnTo>
                  <a:pt x="909" y="289"/>
                </a:lnTo>
                <a:lnTo>
                  <a:pt x="909" y="289"/>
                </a:lnTo>
                <a:lnTo>
                  <a:pt x="910" y="287"/>
                </a:lnTo>
                <a:lnTo>
                  <a:pt x="910" y="287"/>
                </a:lnTo>
                <a:lnTo>
                  <a:pt x="909" y="287"/>
                </a:lnTo>
                <a:lnTo>
                  <a:pt x="909" y="287"/>
                </a:lnTo>
                <a:lnTo>
                  <a:pt x="909" y="289"/>
                </a:lnTo>
                <a:lnTo>
                  <a:pt x="909" y="289"/>
                </a:lnTo>
                <a:lnTo>
                  <a:pt x="903" y="293"/>
                </a:lnTo>
                <a:lnTo>
                  <a:pt x="903" y="293"/>
                </a:lnTo>
                <a:lnTo>
                  <a:pt x="907" y="291"/>
                </a:lnTo>
                <a:lnTo>
                  <a:pt x="910" y="291"/>
                </a:lnTo>
                <a:lnTo>
                  <a:pt x="910" y="291"/>
                </a:lnTo>
                <a:lnTo>
                  <a:pt x="910" y="293"/>
                </a:lnTo>
                <a:lnTo>
                  <a:pt x="910" y="293"/>
                </a:lnTo>
                <a:lnTo>
                  <a:pt x="906" y="293"/>
                </a:lnTo>
                <a:lnTo>
                  <a:pt x="904" y="294"/>
                </a:lnTo>
                <a:lnTo>
                  <a:pt x="904" y="294"/>
                </a:lnTo>
                <a:lnTo>
                  <a:pt x="906" y="296"/>
                </a:lnTo>
                <a:lnTo>
                  <a:pt x="906" y="297"/>
                </a:lnTo>
                <a:lnTo>
                  <a:pt x="906" y="297"/>
                </a:lnTo>
                <a:lnTo>
                  <a:pt x="907" y="300"/>
                </a:lnTo>
                <a:lnTo>
                  <a:pt x="907" y="300"/>
                </a:lnTo>
                <a:lnTo>
                  <a:pt x="910" y="301"/>
                </a:lnTo>
                <a:lnTo>
                  <a:pt x="910" y="301"/>
                </a:lnTo>
                <a:lnTo>
                  <a:pt x="907" y="301"/>
                </a:lnTo>
                <a:lnTo>
                  <a:pt x="909" y="301"/>
                </a:lnTo>
                <a:lnTo>
                  <a:pt x="909" y="301"/>
                </a:lnTo>
                <a:lnTo>
                  <a:pt x="906" y="303"/>
                </a:lnTo>
                <a:lnTo>
                  <a:pt x="906" y="303"/>
                </a:lnTo>
                <a:lnTo>
                  <a:pt x="904" y="304"/>
                </a:lnTo>
                <a:lnTo>
                  <a:pt x="904" y="306"/>
                </a:lnTo>
                <a:lnTo>
                  <a:pt x="904" y="306"/>
                </a:lnTo>
                <a:lnTo>
                  <a:pt x="907" y="310"/>
                </a:lnTo>
                <a:lnTo>
                  <a:pt x="907" y="310"/>
                </a:lnTo>
                <a:lnTo>
                  <a:pt x="909" y="313"/>
                </a:lnTo>
                <a:lnTo>
                  <a:pt x="909" y="313"/>
                </a:lnTo>
                <a:lnTo>
                  <a:pt x="909" y="314"/>
                </a:lnTo>
                <a:lnTo>
                  <a:pt x="909" y="314"/>
                </a:lnTo>
                <a:lnTo>
                  <a:pt x="909" y="316"/>
                </a:lnTo>
                <a:lnTo>
                  <a:pt x="907" y="317"/>
                </a:lnTo>
                <a:lnTo>
                  <a:pt x="907" y="317"/>
                </a:lnTo>
                <a:lnTo>
                  <a:pt x="913" y="317"/>
                </a:lnTo>
                <a:lnTo>
                  <a:pt x="913" y="318"/>
                </a:lnTo>
                <a:lnTo>
                  <a:pt x="912" y="318"/>
                </a:lnTo>
                <a:lnTo>
                  <a:pt x="912" y="318"/>
                </a:lnTo>
                <a:lnTo>
                  <a:pt x="904" y="318"/>
                </a:lnTo>
                <a:lnTo>
                  <a:pt x="904" y="318"/>
                </a:lnTo>
                <a:lnTo>
                  <a:pt x="906" y="323"/>
                </a:lnTo>
                <a:lnTo>
                  <a:pt x="906" y="323"/>
                </a:lnTo>
                <a:lnTo>
                  <a:pt x="906" y="326"/>
                </a:lnTo>
                <a:lnTo>
                  <a:pt x="906" y="326"/>
                </a:lnTo>
                <a:lnTo>
                  <a:pt x="906" y="327"/>
                </a:lnTo>
                <a:lnTo>
                  <a:pt x="906" y="328"/>
                </a:lnTo>
                <a:lnTo>
                  <a:pt x="906" y="328"/>
                </a:lnTo>
                <a:lnTo>
                  <a:pt x="906" y="331"/>
                </a:lnTo>
                <a:lnTo>
                  <a:pt x="906" y="331"/>
                </a:lnTo>
                <a:lnTo>
                  <a:pt x="904" y="333"/>
                </a:lnTo>
                <a:lnTo>
                  <a:pt x="904" y="333"/>
                </a:lnTo>
                <a:lnTo>
                  <a:pt x="904" y="334"/>
                </a:lnTo>
                <a:lnTo>
                  <a:pt x="904" y="334"/>
                </a:lnTo>
                <a:lnTo>
                  <a:pt x="904" y="340"/>
                </a:lnTo>
                <a:lnTo>
                  <a:pt x="904" y="340"/>
                </a:lnTo>
                <a:lnTo>
                  <a:pt x="906" y="340"/>
                </a:lnTo>
                <a:lnTo>
                  <a:pt x="906" y="340"/>
                </a:lnTo>
                <a:lnTo>
                  <a:pt x="902" y="343"/>
                </a:lnTo>
                <a:lnTo>
                  <a:pt x="902" y="343"/>
                </a:lnTo>
                <a:lnTo>
                  <a:pt x="900" y="346"/>
                </a:lnTo>
                <a:lnTo>
                  <a:pt x="902" y="347"/>
                </a:lnTo>
                <a:lnTo>
                  <a:pt x="902" y="347"/>
                </a:lnTo>
                <a:lnTo>
                  <a:pt x="900" y="350"/>
                </a:lnTo>
                <a:lnTo>
                  <a:pt x="899" y="353"/>
                </a:lnTo>
                <a:lnTo>
                  <a:pt x="897" y="356"/>
                </a:lnTo>
                <a:lnTo>
                  <a:pt x="897" y="356"/>
                </a:lnTo>
                <a:lnTo>
                  <a:pt x="900" y="356"/>
                </a:lnTo>
                <a:lnTo>
                  <a:pt x="902" y="357"/>
                </a:lnTo>
                <a:lnTo>
                  <a:pt x="902" y="357"/>
                </a:lnTo>
                <a:lnTo>
                  <a:pt x="896" y="357"/>
                </a:lnTo>
                <a:lnTo>
                  <a:pt x="896" y="357"/>
                </a:lnTo>
                <a:lnTo>
                  <a:pt x="894" y="357"/>
                </a:lnTo>
                <a:lnTo>
                  <a:pt x="894" y="357"/>
                </a:lnTo>
                <a:lnTo>
                  <a:pt x="893" y="358"/>
                </a:lnTo>
                <a:lnTo>
                  <a:pt x="893" y="358"/>
                </a:lnTo>
                <a:lnTo>
                  <a:pt x="892" y="360"/>
                </a:lnTo>
                <a:lnTo>
                  <a:pt x="892" y="360"/>
                </a:lnTo>
                <a:lnTo>
                  <a:pt x="890" y="363"/>
                </a:lnTo>
                <a:lnTo>
                  <a:pt x="890" y="363"/>
                </a:lnTo>
                <a:lnTo>
                  <a:pt x="886" y="361"/>
                </a:lnTo>
                <a:lnTo>
                  <a:pt x="884" y="361"/>
                </a:lnTo>
                <a:lnTo>
                  <a:pt x="886" y="363"/>
                </a:lnTo>
                <a:lnTo>
                  <a:pt x="889" y="366"/>
                </a:lnTo>
                <a:lnTo>
                  <a:pt x="889" y="366"/>
                </a:lnTo>
                <a:lnTo>
                  <a:pt x="889" y="364"/>
                </a:lnTo>
                <a:lnTo>
                  <a:pt x="887" y="363"/>
                </a:lnTo>
                <a:lnTo>
                  <a:pt x="887" y="363"/>
                </a:lnTo>
                <a:lnTo>
                  <a:pt x="889" y="363"/>
                </a:lnTo>
                <a:lnTo>
                  <a:pt x="893" y="364"/>
                </a:lnTo>
                <a:lnTo>
                  <a:pt x="893" y="364"/>
                </a:lnTo>
                <a:lnTo>
                  <a:pt x="892" y="367"/>
                </a:lnTo>
                <a:lnTo>
                  <a:pt x="890" y="368"/>
                </a:lnTo>
                <a:lnTo>
                  <a:pt x="887" y="366"/>
                </a:lnTo>
                <a:lnTo>
                  <a:pt x="887" y="366"/>
                </a:lnTo>
                <a:lnTo>
                  <a:pt x="887" y="367"/>
                </a:lnTo>
                <a:lnTo>
                  <a:pt x="887" y="368"/>
                </a:lnTo>
                <a:lnTo>
                  <a:pt x="884" y="370"/>
                </a:lnTo>
                <a:lnTo>
                  <a:pt x="884" y="370"/>
                </a:lnTo>
                <a:lnTo>
                  <a:pt x="882" y="370"/>
                </a:lnTo>
                <a:lnTo>
                  <a:pt x="882" y="370"/>
                </a:lnTo>
                <a:lnTo>
                  <a:pt x="882" y="371"/>
                </a:lnTo>
                <a:lnTo>
                  <a:pt x="882" y="373"/>
                </a:lnTo>
                <a:lnTo>
                  <a:pt x="882" y="373"/>
                </a:lnTo>
                <a:lnTo>
                  <a:pt x="876" y="370"/>
                </a:lnTo>
                <a:lnTo>
                  <a:pt x="875" y="370"/>
                </a:lnTo>
                <a:lnTo>
                  <a:pt x="873" y="371"/>
                </a:lnTo>
                <a:lnTo>
                  <a:pt x="873" y="371"/>
                </a:lnTo>
                <a:lnTo>
                  <a:pt x="873" y="373"/>
                </a:lnTo>
                <a:lnTo>
                  <a:pt x="870" y="371"/>
                </a:lnTo>
                <a:lnTo>
                  <a:pt x="870" y="371"/>
                </a:lnTo>
                <a:lnTo>
                  <a:pt x="872" y="373"/>
                </a:lnTo>
                <a:lnTo>
                  <a:pt x="872" y="374"/>
                </a:lnTo>
                <a:lnTo>
                  <a:pt x="872" y="374"/>
                </a:lnTo>
                <a:lnTo>
                  <a:pt x="866" y="371"/>
                </a:lnTo>
                <a:lnTo>
                  <a:pt x="866" y="371"/>
                </a:lnTo>
                <a:lnTo>
                  <a:pt x="866" y="370"/>
                </a:lnTo>
                <a:lnTo>
                  <a:pt x="866" y="368"/>
                </a:lnTo>
                <a:lnTo>
                  <a:pt x="866" y="368"/>
                </a:lnTo>
                <a:lnTo>
                  <a:pt x="866" y="367"/>
                </a:lnTo>
                <a:lnTo>
                  <a:pt x="865" y="366"/>
                </a:lnTo>
                <a:lnTo>
                  <a:pt x="865" y="366"/>
                </a:lnTo>
                <a:lnTo>
                  <a:pt x="865" y="366"/>
                </a:lnTo>
                <a:lnTo>
                  <a:pt x="862" y="364"/>
                </a:lnTo>
                <a:lnTo>
                  <a:pt x="862" y="364"/>
                </a:lnTo>
                <a:lnTo>
                  <a:pt x="863" y="368"/>
                </a:lnTo>
                <a:lnTo>
                  <a:pt x="863" y="368"/>
                </a:lnTo>
                <a:lnTo>
                  <a:pt x="860" y="367"/>
                </a:lnTo>
                <a:lnTo>
                  <a:pt x="860" y="367"/>
                </a:lnTo>
                <a:lnTo>
                  <a:pt x="862" y="370"/>
                </a:lnTo>
                <a:lnTo>
                  <a:pt x="859" y="368"/>
                </a:lnTo>
                <a:lnTo>
                  <a:pt x="859" y="368"/>
                </a:lnTo>
                <a:lnTo>
                  <a:pt x="862" y="370"/>
                </a:lnTo>
                <a:lnTo>
                  <a:pt x="865" y="371"/>
                </a:lnTo>
                <a:lnTo>
                  <a:pt x="865" y="371"/>
                </a:lnTo>
                <a:lnTo>
                  <a:pt x="865" y="373"/>
                </a:lnTo>
                <a:lnTo>
                  <a:pt x="863" y="374"/>
                </a:lnTo>
                <a:lnTo>
                  <a:pt x="863" y="374"/>
                </a:lnTo>
                <a:lnTo>
                  <a:pt x="859" y="373"/>
                </a:lnTo>
                <a:lnTo>
                  <a:pt x="859" y="373"/>
                </a:lnTo>
                <a:lnTo>
                  <a:pt x="856" y="370"/>
                </a:lnTo>
                <a:lnTo>
                  <a:pt x="856" y="370"/>
                </a:lnTo>
                <a:lnTo>
                  <a:pt x="856" y="370"/>
                </a:lnTo>
                <a:lnTo>
                  <a:pt x="855" y="370"/>
                </a:lnTo>
                <a:lnTo>
                  <a:pt x="855" y="371"/>
                </a:lnTo>
                <a:lnTo>
                  <a:pt x="857" y="374"/>
                </a:lnTo>
                <a:lnTo>
                  <a:pt x="857" y="374"/>
                </a:lnTo>
                <a:lnTo>
                  <a:pt x="857" y="373"/>
                </a:lnTo>
                <a:lnTo>
                  <a:pt x="857" y="373"/>
                </a:lnTo>
                <a:lnTo>
                  <a:pt x="859" y="374"/>
                </a:lnTo>
                <a:lnTo>
                  <a:pt x="859" y="374"/>
                </a:lnTo>
                <a:lnTo>
                  <a:pt x="860" y="376"/>
                </a:lnTo>
                <a:lnTo>
                  <a:pt x="859" y="376"/>
                </a:lnTo>
                <a:lnTo>
                  <a:pt x="855" y="374"/>
                </a:lnTo>
                <a:lnTo>
                  <a:pt x="855" y="374"/>
                </a:lnTo>
                <a:lnTo>
                  <a:pt x="856" y="374"/>
                </a:lnTo>
                <a:lnTo>
                  <a:pt x="855" y="373"/>
                </a:lnTo>
                <a:lnTo>
                  <a:pt x="855" y="373"/>
                </a:lnTo>
                <a:lnTo>
                  <a:pt x="853" y="373"/>
                </a:lnTo>
                <a:lnTo>
                  <a:pt x="855" y="374"/>
                </a:lnTo>
                <a:lnTo>
                  <a:pt x="856" y="377"/>
                </a:lnTo>
                <a:lnTo>
                  <a:pt x="856" y="377"/>
                </a:lnTo>
                <a:lnTo>
                  <a:pt x="852" y="374"/>
                </a:lnTo>
                <a:lnTo>
                  <a:pt x="852" y="374"/>
                </a:lnTo>
                <a:lnTo>
                  <a:pt x="850" y="373"/>
                </a:lnTo>
                <a:lnTo>
                  <a:pt x="850" y="373"/>
                </a:lnTo>
                <a:lnTo>
                  <a:pt x="847" y="373"/>
                </a:lnTo>
                <a:lnTo>
                  <a:pt x="847" y="373"/>
                </a:lnTo>
                <a:lnTo>
                  <a:pt x="846" y="373"/>
                </a:lnTo>
                <a:lnTo>
                  <a:pt x="845" y="373"/>
                </a:lnTo>
                <a:lnTo>
                  <a:pt x="845" y="373"/>
                </a:lnTo>
                <a:lnTo>
                  <a:pt x="846" y="377"/>
                </a:lnTo>
                <a:lnTo>
                  <a:pt x="846" y="378"/>
                </a:lnTo>
                <a:lnTo>
                  <a:pt x="846" y="378"/>
                </a:lnTo>
                <a:lnTo>
                  <a:pt x="843" y="374"/>
                </a:lnTo>
                <a:lnTo>
                  <a:pt x="843" y="374"/>
                </a:lnTo>
                <a:lnTo>
                  <a:pt x="840" y="373"/>
                </a:lnTo>
                <a:lnTo>
                  <a:pt x="839" y="368"/>
                </a:lnTo>
                <a:lnTo>
                  <a:pt x="839" y="368"/>
                </a:lnTo>
                <a:lnTo>
                  <a:pt x="837" y="370"/>
                </a:lnTo>
                <a:lnTo>
                  <a:pt x="836" y="370"/>
                </a:lnTo>
                <a:lnTo>
                  <a:pt x="833" y="368"/>
                </a:lnTo>
                <a:lnTo>
                  <a:pt x="833" y="368"/>
                </a:lnTo>
                <a:lnTo>
                  <a:pt x="835" y="371"/>
                </a:lnTo>
                <a:lnTo>
                  <a:pt x="835" y="371"/>
                </a:lnTo>
                <a:lnTo>
                  <a:pt x="833" y="371"/>
                </a:lnTo>
                <a:lnTo>
                  <a:pt x="830" y="367"/>
                </a:lnTo>
                <a:lnTo>
                  <a:pt x="830" y="367"/>
                </a:lnTo>
                <a:lnTo>
                  <a:pt x="830" y="364"/>
                </a:lnTo>
                <a:lnTo>
                  <a:pt x="830" y="364"/>
                </a:lnTo>
                <a:lnTo>
                  <a:pt x="830" y="364"/>
                </a:lnTo>
                <a:lnTo>
                  <a:pt x="832" y="366"/>
                </a:lnTo>
                <a:lnTo>
                  <a:pt x="832" y="366"/>
                </a:lnTo>
                <a:lnTo>
                  <a:pt x="832" y="363"/>
                </a:lnTo>
                <a:lnTo>
                  <a:pt x="832" y="363"/>
                </a:lnTo>
                <a:lnTo>
                  <a:pt x="832" y="363"/>
                </a:lnTo>
                <a:lnTo>
                  <a:pt x="832" y="361"/>
                </a:lnTo>
                <a:lnTo>
                  <a:pt x="830" y="358"/>
                </a:lnTo>
                <a:lnTo>
                  <a:pt x="830" y="358"/>
                </a:lnTo>
                <a:lnTo>
                  <a:pt x="833" y="361"/>
                </a:lnTo>
                <a:lnTo>
                  <a:pt x="833" y="361"/>
                </a:lnTo>
                <a:lnTo>
                  <a:pt x="827" y="353"/>
                </a:lnTo>
                <a:lnTo>
                  <a:pt x="827" y="353"/>
                </a:lnTo>
                <a:lnTo>
                  <a:pt x="830" y="357"/>
                </a:lnTo>
                <a:lnTo>
                  <a:pt x="830" y="356"/>
                </a:lnTo>
                <a:lnTo>
                  <a:pt x="830" y="356"/>
                </a:lnTo>
                <a:lnTo>
                  <a:pt x="829" y="354"/>
                </a:lnTo>
                <a:lnTo>
                  <a:pt x="832" y="356"/>
                </a:lnTo>
                <a:lnTo>
                  <a:pt x="832" y="356"/>
                </a:lnTo>
                <a:lnTo>
                  <a:pt x="829" y="353"/>
                </a:lnTo>
                <a:lnTo>
                  <a:pt x="829" y="353"/>
                </a:lnTo>
                <a:lnTo>
                  <a:pt x="833" y="356"/>
                </a:lnTo>
                <a:lnTo>
                  <a:pt x="833" y="356"/>
                </a:lnTo>
                <a:lnTo>
                  <a:pt x="832" y="354"/>
                </a:lnTo>
                <a:lnTo>
                  <a:pt x="832" y="354"/>
                </a:lnTo>
                <a:lnTo>
                  <a:pt x="832" y="353"/>
                </a:lnTo>
                <a:lnTo>
                  <a:pt x="832" y="353"/>
                </a:lnTo>
                <a:lnTo>
                  <a:pt x="832" y="351"/>
                </a:lnTo>
                <a:lnTo>
                  <a:pt x="832" y="351"/>
                </a:lnTo>
                <a:lnTo>
                  <a:pt x="833" y="350"/>
                </a:lnTo>
                <a:lnTo>
                  <a:pt x="833" y="350"/>
                </a:lnTo>
                <a:lnTo>
                  <a:pt x="835" y="350"/>
                </a:lnTo>
                <a:lnTo>
                  <a:pt x="835" y="350"/>
                </a:lnTo>
                <a:lnTo>
                  <a:pt x="836" y="348"/>
                </a:lnTo>
                <a:lnTo>
                  <a:pt x="836" y="348"/>
                </a:lnTo>
                <a:lnTo>
                  <a:pt x="837" y="348"/>
                </a:lnTo>
                <a:lnTo>
                  <a:pt x="837" y="348"/>
                </a:lnTo>
                <a:lnTo>
                  <a:pt x="837" y="347"/>
                </a:lnTo>
                <a:lnTo>
                  <a:pt x="837" y="347"/>
                </a:lnTo>
                <a:lnTo>
                  <a:pt x="835" y="347"/>
                </a:lnTo>
                <a:lnTo>
                  <a:pt x="835" y="347"/>
                </a:lnTo>
                <a:lnTo>
                  <a:pt x="832" y="344"/>
                </a:lnTo>
                <a:lnTo>
                  <a:pt x="832" y="344"/>
                </a:lnTo>
                <a:lnTo>
                  <a:pt x="833" y="346"/>
                </a:lnTo>
                <a:lnTo>
                  <a:pt x="832" y="344"/>
                </a:lnTo>
                <a:lnTo>
                  <a:pt x="832" y="344"/>
                </a:lnTo>
                <a:lnTo>
                  <a:pt x="829" y="343"/>
                </a:lnTo>
                <a:lnTo>
                  <a:pt x="829" y="343"/>
                </a:lnTo>
                <a:lnTo>
                  <a:pt x="829" y="341"/>
                </a:lnTo>
                <a:lnTo>
                  <a:pt x="830" y="343"/>
                </a:lnTo>
                <a:lnTo>
                  <a:pt x="830" y="343"/>
                </a:lnTo>
                <a:lnTo>
                  <a:pt x="832" y="343"/>
                </a:lnTo>
                <a:lnTo>
                  <a:pt x="832" y="343"/>
                </a:lnTo>
                <a:lnTo>
                  <a:pt x="829" y="341"/>
                </a:lnTo>
                <a:lnTo>
                  <a:pt x="826" y="340"/>
                </a:lnTo>
                <a:lnTo>
                  <a:pt x="826" y="340"/>
                </a:lnTo>
                <a:lnTo>
                  <a:pt x="826" y="340"/>
                </a:lnTo>
                <a:lnTo>
                  <a:pt x="822" y="337"/>
                </a:lnTo>
                <a:lnTo>
                  <a:pt x="822" y="337"/>
                </a:lnTo>
                <a:lnTo>
                  <a:pt x="827" y="341"/>
                </a:lnTo>
                <a:lnTo>
                  <a:pt x="827" y="341"/>
                </a:lnTo>
                <a:lnTo>
                  <a:pt x="823" y="338"/>
                </a:lnTo>
                <a:lnTo>
                  <a:pt x="823" y="338"/>
                </a:lnTo>
                <a:lnTo>
                  <a:pt x="829" y="344"/>
                </a:lnTo>
                <a:lnTo>
                  <a:pt x="829" y="344"/>
                </a:lnTo>
                <a:lnTo>
                  <a:pt x="829" y="346"/>
                </a:lnTo>
                <a:lnTo>
                  <a:pt x="829" y="346"/>
                </a:lnTo>
                <a:lnTo>
                  <a:pt x="829" y="346"/>
                </a:lnTo>
                <a:lnTo>
                  <a:pt x="827" y="346"/>
                </a:lnTo>
                <a:lnTo>
                  <a:pt x="827" y="346"/>
                </a:lnTo>
                <a:lnTo>
                  <a:pt x="827" y="347"/>
                </a:lnTo>
                <a:lnTo>
                  <a:pt x="827" y="347"/>
                </a:lnTo>
                <a:lnTo>
                  <a:pt x="827" y="350"/>
                </a:lnTo>
                <a:lnTo>
                  <a:pt x="827" y="350"/>
                </a:lnTo>
                <a:lnTo>
                  <a:pt x="825" y="347"/>
                </a:lnTo>
                <a:lnTo>
                  <a:pt x="827" y="350"/>
                </a:lnTo>
                <a:lnTo>
                  <a:pt x="827" y="350"/>
                </a:lnTo>
                <a:lnTo>
                  <a:pt x="820" y="344"/>
                </a:lnTo>
                <a:lnTo>
                  <a:pt x="820" y="344"/>
                </a:lnTo>
                <a:lnTo>
                  <a:pt x="823" y="347"/>
                </a:lnTo>
                <a:lnTo>
                  <a:pt x="823" y="348"/>
                </a:lnTo>
                <a:lnTo>
                  <a:pt x="823" y="348"/>
                </a:lnTo>
                <a:lnTo>
                  <a:pt x="822" y="348"/>
                </a:lnTo>
                <a:lnTo>
                  <a:pt x="823" y="351"/>
                </a:lnTo>
                <a:lnTo>
                  <a:pt x="823" y="351"/>
                </a:lnTo>
                <a:lnTo>
                  <a:pt x="820" y="348"/>
                </a:lnTo>
                <a:lnTo>
                  <a:pt x="820" y="348"/>
                </a:lnTo>
                <a:lnTo>
                  <a:pt x="820" y="350"/>
                </a:lnTo>
                <a:lnTo>
                  <a:pt x="820" y="350"/>
                </a:lnTo>
                <a:lnTo>
                  <a:pt x="822" y="353"/>
                </a:lnTo>
                <a:lnTo>
                  <a:pt x="822" y="353"/>
                </a:lnTo>
                <a:lnTo>
                  <a:pt x="823" y="356"/>
                </a:lnTo>
                <a:lnTo>
                  <a:pt x="823" y="356"/>
                </a:lnTo>
                <a:lnTo>
                  <a:pt x="825" y="357"/>
                </a:lnTo>
                <a:lnTo>
                  <a:pt x="822" y="356"/>
                </a:lnTo>
                <a:lnTo>
                  <a:pt x="822" y="356"/>
                </a:lnTo>
                <a:lnTo>
                  <a:pt x="822" y="354"/>
                </a:lnTo>
                <a:lnTo>
                  <a:pt x="822" y="354"/>
                </a:lnTo>
                <a:lnTo>
                  <a:pt x="823" y="356"/>
                </a:lnTo>
                <a:lnTo>
                  <a:pt x="823" y="356"/>
                </a:lnTo>
                <a:lnTo>
                  <a:pt x="820" y="353"/>
                </a:lnTo>
                <a:lnTo>
                  <a:pt x="819" y="353"/>
                </a:lnTo>
                <a:lnTo>
                  <a:pt x="819" y="353"/>
                </a:lnTo>
                <a:lnTo>
                  <a:pt x="819" y="353"/>
                </a:lnTo>
                <a:lnTo>
                  <a:pt x="817" y="353"/>
                </a:lnTo>
                <a:lnTo>
                  <a:pt x="817" y="353"/>
                </a:lnTo>
                <a:lnTo>
                  <a:pt x="820" y="357"/>
                </a:lnTo>
                <a:lnTo>
                  <a:pt x="820" y="357"/>
                </a:lnTo>
                <a:lnTo>
                  <a:pt x="817" y="356"/>
                </a:lnTo>
                <a:lnTo>
                  <a:pt x="817" y="356"/>
                </a:lnTo>
                <a:lnTo>
                  <a:pt x="817" y="356"/>
                </a:lnTo>
                <a:lnTo>
                  <a:pt x="819" y="360"/>
                </a:lnTo>
                <a:lnTo>
                  <a:pt x="819" y="361"/>
                </a:lnTo>
                <a:lnTo>
                  <a:pt x="819" y="361"/>
                </a:lnTo>
                <a:lnTo>
                  <a:pt x="823" y="367"/>
                </a:lnTo>
                <a:lnTo>
                  <a:pt x="825" y="368"/>
                </a:lnTo>
                <a:lnTo>
                  <a:pt x="825" y="368"/>
                </a:lnTo>
                <a:lnTo>
                  <a:pt x="825" y="367"/>
                </a:lnTo>
                <a:lnTo>
                  <a:pt x="825" y="367"/>
                </a:lnTo>
                <a:lnTo>
                  <a:pt x="825" y="366"/>
                </a:lnTo>
                <a:lnTo>
                  <a:pt x="825" y="366"/>
                </a:lnTo>
                <a:lnTo>
                  <a:pt x="830" y="376"/>
                </a:lnTo>
                <a:lnTo>
                  <a:pt x="830" y="376"/>
                </a:lnTo>
                <a:lnTo>
                  <a:pt x="827" y="373"/>
                </a:lnTo>
                <a:lnTo>
                  <a:pt x="827" y="373"/>
                </a:lnTo>
                <a:lnTo>
                  <a:pt x="826" y="373"/>
                </a:lnTo>
                <a:lnTo>
                  <a:pt x="826" y="373"/>
                </a:lnTo>
                <a:lnTo>
                  <a:pt x="826" y="373"/>
                </a:lnTo>
                <a:lnTo>
                  <a:pt x="825" y="374"/>
                </a:lnTo>
                <a:lnTo>
                  <a:pt x="825" y="374"/>
                </a:lnTo>
                <a:lnTo>
                  <a:pt x="826" y="374"/>
                </a:lnTo>
                <a:lnTo>
                  <a:pt x="827" y="377"/>
                </a:lnTo>
                <a:lnTo>
                  <a:pt x="827" y="377"/>
                </a:lnTo>
                <a:lnTo>
                  <a:pt x="827" y="380"/>
                </a:lnTo>
                <a:lnTo>
                  <a:pt x="827" y="380"/>
                </a:lnTo>
                <a:lnTo>
                  <a:pt x="827" y="380"/>
                </a:lnTo>
                <a:lnTo>
                  <a:pt x="826" y="378"/>
                </a:lnTo>
                <a:lnTo>
                  <a:pt x="826" y="378"/>
                </a:lnTo>
                <a:lnTo>
                  <a:pt x="826" y="378"/>
                </a:lnTo>
                <a:lnTo>
                  <a:pt x="826" y="377"/>
                </a:lnTo>
                <a:lnTo>
                  <a:pt x="827" y="377"/>
                </a:lnTo>
                <a:lnTo>
                  <a:pt x="827" y="377"/>
                </a:lnTo>
                <a:lnTo>
                  <a:pt x="820" y="368"/>
                </a:lnTo>
                <a:lnTo>
                  <a:pt x="820" y="368"/>
                </a:lnTo>
                <a:lnTo>
                  <a:pt x="825" y="376"/>
                </a:lnTo>
                <a:lnTo>
                  <a:pt x="825" y="376"/>
                </a:lnTo>
                <a:lnTo>
                  <a:pt x="825" y="377"/>
                </a:lnTo>
                <a:lnTo>
                  <a:pt x="825" y="377"/>
                </a:lnTo>
                <a:lnTo>
                  <a:pt x="823" y="374"/>
                </a:lnTo>
                <a:lnTo>
                  <a:pt x="820" y="371"/>
                </a:lnTo>
                <a:lnTo>
                  <a:pt x="820" y="371"/>
                </a:lnTo>
                <a:lnTo>
                  <a:pt x="820" y="373"/>
                </a:lnTo>
                <a:lnTo>
                  <a:pt x="820" y="373"/>
                </a:lnTo>
                <a:lnTo>
                  <a:pt x="819" y="373"/>
                </a:lnTo>
                <a:lnTo>
                  <a:pt x="819" y="373"/>
                </a:lnTo>
                <a:lnTo>
                  <a:pt x="817" y="370"/>
                </a:lnTo>
                <a:lnTo>
                  <a:pt x="815" y="366"/>
                </a:lnTo>
                <a:lnTo>
                  <a:pt x="815" y="366"/>
                </a:lnTo>
                <a:lnTo>
                  <a:pt x="815" y="367"/>
                </a:lnTo>
                <a:lnTo>
                  <a:pt x="815" y="367"/>
                </a:lnTo>
                <a:lnTo>
                  <a:pt x="815" y="368"/>
                </a:lnTo>
                <a:lnTo>
                  <a:pt x="815" y="368"/>
                </a:lnTo>
                <a:lnTo>
                  <a:pt x="815" y="371"/>
                </a:lnTo>
                <a:lnTo>
                  <a:pt x="815" y="371"/>
                </a:lnTo>
                <a:lnTo>
                  <a:pt x="813" y="373"/>
                </a:lnTo>
                <a:lnTo>
                  <a:pt x="813" y="373"/>
                </a:lnTo>
                <a:lnTo>
                  <a:pt x="813" y="373"/>
                </a:lnTo>
                <a:lnTo>
                  <a:pt x="813" y="373"/>
                </a:lnTo>
                <a:lnTo>
                  <a:pt x="813" y="373"/>
                </a:lnTo>
                <a:lnTo>
                  <a:pt x="822" y="370"/>
                </a:lnTo>
                <a:lnTo>
                  <a:pt x="822" y="370"/>
                </a:lnTo>
                <a:lnTo>
                  <a:pt x="822" y="370"/>
                </a:lnTo>
                <a:lnTo>
                  <a:pt x="822" y="370"/>
                </a:lnTo>
                <a:lnTo>
                  <a:pt x="820" y="370"/>
                </a:lnTo>
                <a:lnTo>
                  <a:pt x="820" y="370"/>
                </a:lnTo>
                <a:lnTo>
                  <a:pt x="819" y="371"/>
                </a:lnTo>
                <a:lnTo>
                  <a:pt x="819" y="371"/>
                </a:lnTo>
                <a:lnTo>
                  <a:pt x="813" y="371"/>
                </a:lnTo>
                <a:lnTo>
                  <a:pt x="813" y="371"/>
                </a:lnTo>
                <a:lnTo>
                  <a:pt x="813" y="368"/>
                </a:lnTo>
                <a:lnTo>
                  <a:pt x="810" y="366"/>
                </a:lnTo>
                <a:lnTo>
                  <a:pt x="810" y="366"/>
                </a:lnTo>
                <a:lnTo>
                  <a:pt x="810" y="368"/>
                </a:lnTo>
                <a:lnTo>
                  <a:pt x="810" y="370"/>
                </a:lnTo>
                <a:lnTo>
                  <a:pt x="809" y="374"/>
                </a:lnTo>
                <a:lnTo>
                  <a:pt x="809" y="374"/>
                </a:lnTo>
                <a:lnTo>
                  <a:pt x="807" y="371"/>
                </a:lnTo>
                <a:lnTo>
                  <a:pt x="806" y="371"/>
                </a:lnTo>
                <a:lnTo>
                  <a:pt x="805" y="373"/>
                </a:lnTo>
                <a:lnTo>
                  <a:pt x="805" y="371"/>
                </a:lnTo>
                <a:lnTo>
                  <a:pt x="805" y="371"/>
                </a:lnTo>
                <a:lnTo>
                  <a:pt x="805" y="368"/>
                </a:lnTo>
                <a:lnTo>
                  <a:pt x="805" y="366"/>
                </a:lnTo>
                <a:lnTo>
                  <a:pt x="805" y="366"/>
                </a:lnTo>
                <a:lnTo>
                  <a:pt x="802" y="367"/>
                </a:lnTo>
                <a:lnTo>
                  <a:pt x="799" y="367"/>
                </a:lnTo>
                <a:lnTo>
                  <a:pt x="799" y="367"/>
                </a:lnTo>
                <a:lnTo>
                  <a:pt x="800" y="368"/>
                </a:lnTo>
                <a:lnTo>
                  <a:pt x="802" y="370"/>
                </a:lnTo>
                <a:lnTo>
                  <a:pt x="803" y="370"/>
                </a:lnTo>
                <a:lnTo>
                  <a:pt x="805" y="373"/>
                </a:lnTo>
                <a:lnTo>
                  <a:pt x="805" y="373"/>
                </a:lnTo>
                <a:lnTo>
                  <a:pt x="803" y="374"/>
                </a:lnTo>
                <a:lnTo>
                  <a:pt x="802" y="376"/>
                </a:lnTo>
                <a:lnTo>
                  <a:pt x="802" y="376"/>
                </a:lnTo>
                <a:lnTo>
                  <a:pt x="802" y="376"/>
                </a:lnTo>
                <a:lnTo>
                  <a:pt x="802" y="376"/>
                </a:lnTo>
                <a:lnTo>
                  <a:pt x="802" y="376"/>
                </a:lnTo>
                <a:lnTo>
                  <a:pt x="802" y="377"/>
                </a:lnTo>
                <a:lnTo>
                  <a:pt x="802" y="377"/>
                </a:lnTo>
                <a:lnTo>
                  <a:pt x="803" y="377"/>
                </a:lnTo>
                <a:lnTo>
                  <a:pt x="803" y="377"/>
                </a:lnTo>
                <a:lnTo>
                  <a:pt x="803" y="376"/>
                </a:lnTo>
                <a:lnTo>
                  <a:pt x="805" y="376"/>
                </a:lnTo>
                <a:lnTo>
                  <a:pt x="805" y="376"/>
                </a:lnTo>
                <a:lnTo>
                  <a:pt x="806" y="377"/>
                </a:lnTo>
                <a:lnTo>
                  <a:pt x="806" y="374"/>
                </a:lnTo>
                <a:lnTo>
                  <a:pt x="806" y="374"/>
                </a:lnTo>
                <a:lnTo>
                  <a:pt x="805" y="368"/>
                </a:lnTo>
                <a:lnTo>
                  <a:pt x="805" y="368"/>
                </a:lnTo>
                <a:lnTo>
                  <a:pt x="806" y="370"/>
                </a:lnTo>
                <a:lnTo>
                  <a:pt x="806" y="373"/>
                </a:lnTo>
                <a:lnTo>
                  <a:pt x="806" y="373"/>
                </a:lnTo>
                <a:lnTo>
                  <a:pt x="806" y="377"/>
                </a:lnTo>
                <a:lnTo>
                  <a:pt x="806" y="377"/>
                </a:lnTo>
                <a:lnTo>
                  <a:pt x="806" y="371"/>
                </a:lnTo>
                <a:lnTo>
                  <a:pt x="806" y="371"/>
                </a:lnTo>
                <a:lnTo>
                  <a:pt x="806" y="377"/>
                </a:lnTo>
                <a:lnTo>
                  <a:pt x="805" y="376"/>
                </a:lnTo>
                <a:lnTo>
                  <a:pt x="805" y="376"/>
                </a:lnTo>
                <a:lnTo>
                  <a:pt x="803" y="371"/>
                </a:lnTo>
                <a:lnTo>
                  <a:pt x="803" y="371"/>
                </a:lnTo>
                <a:lnTo>
                  <a:pt x="803" y="374"/>
                </a:lnTo>
                <a:lnTo>
                  <a:pt x="803" y="374"/>
                </a:lnTo>
                <a:lnTo>
                  <a:pt x="802" y="373"/>
                </a:lnTo>
                <a:lnTo>
                  <a:pt x="802" y="373"/>
                </a:lnTo>
                <a:lnTo>
                  <a:pt x="800" y="374"/>
                </a:lnTo>
                <a:lnTo>
                  <a:pt x="800" y="374"/>
                </a:lnTo>
                <a:lnTo>
                  <a:pt x="799" y="376"/>
                </a:lnTo>
                <a:lnTo>
                  <a:pt x="799" y="376"/>
                </a:lnTo>
                <a:lnTo>
                  <a:pt x="797" y="376"/>
                </a:lnTo>
                <a:lnTo>
                  <a:pt x="797" y="376"/>
                </a:lnTo>
                <a:lnTo>
                  <a:pt x="797" y="376"/>
                </a:lnTo>
                <a:lnTo>
                  <a:pt x="797" y="376"/>
                </a:lnTo>
                <a:lnTo>
                  <a:pt x="797" y="373"/>
                </a:lnTo>
                <a:lnTo>
                  <a:pt x="797" y="373"/>
                </a:lnTo>
                <a:lnTo>
                  <a:pt x="796" y="377"/>
                </a:lnTo>
                <a:lnTo>
                  <a:pt x="796" y="377"/>
                </a:lnTo>
                <a:lnTo>
                  <a:pt x="795" y="378"/>
                </a:lnTo>
                <a:lnTo>
                  <a:pt x="795" y="378"/>
                </a:lnTo>
                <a:lnTo>
                  <a:pt x="795" y="381"/>
                </a:lnTo>
                <a:lnTo>
                  <a:pt x="795" y="381"/>
                </a:lnTo>
                <a:lnTo>
                  <a:pt x="793" y="383"/>
                </a:lnTo>
                <a:lnTo>
                  <a:pt x="792" y="383"/>
                </a:lnTo>
                <a:lnTo>
                  <a:pt x="792" y="383"/>
                </a:lnTo>
                <a:lnTo>
                  <a:pt x="792" y="374"/>
                </a:lnTo>
                <a:lnTo>
                  <a:pt x="792" y="374"/>
                </a:lnTo>
                <a:lnTo>
                  <a:pt x="792" y="373"/>
                </a:lnTo>
                <a:lnTo>
                  <a:pt x="792" y="373"/>
                </a:lnTo>
                <a:lnTo>
                  <a:pt x="792" y="371"/>
                </a:lnTo>
                <a:lnTo>
                  <a:pt x="792" y="371"/>
                </a:lnTo>
                <a:lnTo>
                  <a:pt x="792" y="370"/>
                </a:lnTo>
                <a:lnTo>
                  <a:pt x="792" y="371"/>
                </a:lnTo>
                <a:lnTo>
                  <a:pt x="790" y="374"/>
                </a:lnTo>
                <a:lnTo>
                  <a:pt x="790" y="374"/>
                </a:lnTo>
                <a:lnTo>
                  <a:pt x="790" y="368"/>
                </a:lnTo>
                <a:lnTo>
                  <a:pt x="790" y="368"/>
                </a:lnTo>
                <a:lnTo>
                  <a:pt x="789" y="371"/>
                </a:lnTo>
                <a:lnTo>
                  <a:pt x="789" y="371"/>
                </a:lnTo>
                <a:lnTo>
                  <a:pt x="789" y="370"/>
                </a:lnTo>
                <a:lnTo>
                  <a:pt x="789" y="370"/>
                </a:lnTo>
                <a:lnTo>
                  <a:pt x="789" y="366"/>
                </a:lnTo>
                <a:lnTo>
                  <a:pt x="789" y="366"/>
                </a:lnTo>
                <a:lnTo>
                  <a:pt x="788" y="367"/>
                </a:lnTo>
                <a:lnTo>
                  <a:pt x="788" y="367"/>
                </a:lnTo>
                <a:lnTo>
                  <a:pt x="789" y="360"/>
                </a:lnTo>
                <a:lnTo>
                  <a:pt x="789" y="360"/>
                </a:lnTo>
                <a:lnTo>
                  <a:pt x="788" y="366"/>
                </a:lnTo>
                <a:lnTo>
                  <a:pt x="788" y="366"/>
                </a:lnTo>
                <a:lnTo>
                  <a:pt x="786" y="367"/>
                </a:lnTo>
                <a:lnTo>
                  <a:pt x="786" y="367"/>
                </a:lnTo>
                <a:lnTo>
                  <a:pt x="786" y="367"/>
                </a:lnTo>
                <a:lnTo>
                  <a:pt x="785" y="366"/>
                </a:lnTo>
                <a:lnTo>
                  <a:pt x="783" y="366"/>
                </a:lnTo>
                <a:lnTo>
                  <a:pt x="783" y="367"/>
                </a:lnTo>
                <a:lnTo>
                  <a:pt x="783" y="367"/>
                </a:lnTo>
                <a:lnTo>
                  <a:pt x="783" y="366"/>
                </a:lnTo>
                <a:lnTo>
                  <a:pt x="785" y="361"/>
                </a:lnTo>
                <a:lnTo>
                  <a:pt x="785" y="361"/>
                </a:lnTo>
                <a:lnTo>
                  <a:pt x="783" y="364"/>
                </a:lnTo>
                <a:lnTo>
                  <a:pt x="783" y="364"/>
                </a:lnTo>
                <a:lnTo>
                  <a:pt x="782" y="364"/>
                </a:lnTo>
                <a:lnTo>
                  <a:pt x="782" y="364"/>
                </a:lnTo>
                <a:lnTo>
                  <a:pt x="780" y="363"/>
                </a:lnTo>
                <a:lnTo>
                  <a:pt x="778" y="364"/>
                </a:lnTo>
                <a:lnTo>
                  <a:pt x="778" y="364"/>
                </a:lnTo>
                <a:lnTo>
                  <a:pt x="779" y="361"/>
                </a:lnTo>
                <a:lnTo>
                  <a:pt x="779" y="358"/>
                </a:lnTo>
                <a:lnTo>
                  <a:pt x="779" y="358"/>
                </a:lnTo>
                <a:lnTo>
                  <a:pt x="782" y="354"/>
                </a:lnTo>
                <a:lnTo>
                  <a:pt x="783" y="354"/>
                </a:lnTo>
                <a:lnTo>
                  <a:pt x="783" y="354"/>
                </a:lnTo>
                <a:lnTo>
                  <a:pt x="783" y="353"/>
                </a:lnTo>
                <a:lnTo>
                  <a:pt x="785" y="350"/>
                </a:lnTo>
                <a:lnTo>
                  <a:pt x="785" y="350"/>
                </a:lnTo>
                <a:lnTo>
                  <a:pt x="788" y="341"/>
                </a:lnTo>
                <a:lnTo>
                  <a:pt x="788" y="341"/>
                </a:lnTo>
                <a:lnTo>
                  <a:pt x="785" y="348"/>
                </a:lnTo>
                <a:lnTo>
                  <a:pt x="783" y="351"/>
                </a:lnTo>
                <a:lnTo>
                  <a:pt x="783" y="351"/>
                </a:lnTo>
                <a:lnTo>
                  <a:pt x="783" y="351"/>
                </a:lnTo>
                <a:lnTo>
                  <a:pt x="782" y="353"/>
                </a:lnTo>
                <a:lnTo>
                  <a:pt x="782" y="353"/>
                </a:lnTo>
                <a:lnTo>
                  <a:pt x="783" y="347"/>
                </a:lnTo>
                <a:lnTo>
                  <a:pt x="783" y="347"/>
                </a:lnTo>
                <a:lnTo>
                  <a:pt x="782" y="351"/>
                </a:lnTo>
                <a:lnTo>
                  <a:pt x="780" y="353"/>
                </a:lnTo>
                <a:lnTo>
                  <a:pt x="780" y="353"/>
                </a:lnTo>
                <a:lnTo>
                  <a:pt x="779" y="351"/>
                </a:lnTo>
                <a:lnTo>
                  <a:pt x="779" y="351"/>
                </a:lnTo>
                <a:lnTo>
                  <a:pt x="780" y="348"/>
                </a:lnTo>
                <a:lnTo>
                  <a:pt x="780" y="348"/>
                </a:lnTo>
                <a:lnTo>
                  <a:pt x="779" y="350"/>
                </a:lnTo>
                <a:lnTo>
                  <a:pt x="779" y="350"/>
                </a:lnTo>
                <a:lnTo>
                  <a:pt x="779" y="350"/>
                </a:lnTo>
                <a:lnTo>
                  <a:pt x="778" y="350"/>
                </a:lnTo>
                <a:lnTo>
                  <a:pt x="778" y="350"/>
                </a:lnTo>
                <a:lnTo>
                  <a:pt x="778" y="350"/>
                </a:lnTo>
                <a:lnTo>
                  <a:pt x="782" y="341"/>
                </a:lnTo>
                <a:lnTo>
                  <a:pt x="782" y="341"/>
                </a:lnTo>
                <a:lnTo>
                  <a:pt x="779" y="348"/>
                </a:lnTo>
                <a:lnTo>
                  <a:pt x="779" y="348"/>
                </a:lnTo>
                <a:lnTo>
                  <a:pt x="782" y="341"/>
                </a:lnTo>
                <a:lnTo>
                  <a:pt x="782" y="341"/>
                </a:lnTo>
                <a:lnTo>
                  <a:pt x="783" y="341"/>
                </a:lnTo>
                <a:lnTo>
                  <a:pt x="783" y="340"/>
                </a:lnTo>
                <a:lnTo>
                  <a:pt x="783" y="340"/>
                </a:lnTo>
                <a:lnTo>
                  <a:pt x="786" y="334"/>
                </a:lnTo>
                <a:lnTo>
                  <a:pt x="786" y="334"/>
                </a:lnTo>
                <a:lnTo>
                  <a:pt x="783" y="338"/>
                </a:lnTo>
                <a:lnTo>
                  <a:pt x="783" y="338"/>
                </a:lnTo>
                <a:lnTo>
                  <a:pt x="785" y="334"/>
                </a:lnTo>
                <a:lnTo>
                  <a:pt x="783" y="338"/>
                </a:lnTo>
                <a:lnTo>
                  <a:pt x="783" y="338"/>
                </a:lnTo>
                <a:lnTo>
                  <a:pt x="785" y="334"/>
                </a:lnTo>
                <a:lnTo>
                  <a:pt x="786" y="330"/>
                </a:lnTo>
                <a:lnTo>
                  <a:pt x="786" y="330"/>
                </a:lnTo>
                <a:lnTo>
                  <a:pt x="788" y="328"/>
                </a:lnTo>
                <a:lnTo>
                  <a:pt x="788" y="328"/>
                </a:lnTo>
                <a:lnTo>
                  <a:pt x="789" y="326"/>
                </a:lnTo>
                <a:lnTo>
                  <a:pt x="789" y="326"/>
                </a:lnTo>
                <a:lnTo>
                  <a:pt x="789" y="324"/>
                </a:lnTo>
                <a:lnTo>
                  <a:pt x="789" y="324"/>
                </a:lnTo>
                <a:lnTo>
                  <a:pt x="790" y="321"/>
                </a:lnTo>
                <a:lnTo>
                  <a:pt x="790" y="321"/>
                </a:lnTo>
                <a:lnTo>
                  <a:pt x="790" y="321"/>
                </a:lnTo>
                <a:lnTo>
                  <a:pt x="790" y="321"/>
                </a:lnTo>
                <a:lnTo>
                  <a:pt x="790" y="321"/>
                </a:lnTo>
                <a:lnTo>
                  <a:pt x="790" y="321"/>
                </a:lnTo>
                <a:lnTo>
                  <a:pt x="792" y="317"/>
                </a:lnTo>
                <a:lnTo>
                  <a:pt x="792" y="317"/>
                </a:lnTo>
                <a:lnTo>
                  <a:pt x="792" y="317"/>
                </a:lnTo>
                <a:lnTo>
                  <a:pt x="792" y="317"/>
                </a:lnTo>
                <a:lnTo>
                  <a:pt x="792" y="317"/>
                </a:lnTo>
                <a:lnTo>
                  <a:pt x="792" y="317"/>
                </a:lnTo>
                <a:lnTo>
                  <a:pt x="792" y="316"/>
                </a:lnTo>
                <a:lnTo>
                  <a:pt x="792" y="316"/>
                </a:lnTo>
                <a:lnTo>
                  <a:pt x="793" y="314"/>
                </a:lnTo>
                <a:lnTo>
                  <a:pt x="795" y="313"/>
                </a:lnTo>
                <a:lnTo>
                  <a:pt x="795" y="313"/>
                </a:lnTo>
                <a:lnTo>
                  <a:pt x="795" y="313"/>
                </a:lnTo>
                <a:lnTo>
                  <a:pt x="795" y="313"/>
                </a:lnTo>
                <a:lnTo>
                  <a:pt x="793" y="314"/>
                </a:lnTo>
                <a:lnTo>
                  <a:pt x="793" y="314"/>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3" y="314"/>
                </a:lnTo>
                <a:lnTo>
                  <a:pt x="793" y="314"/>
                </a:lnTo>
                <a:lnTo>
                  <a:pt x="793" y="314"/>
                </a:lnTo>
                <a:lnTo>
                  <a:pt x="793" y="314"/>
                </a:lnTo>
                <a:lnTo>
                  <a:pt x="793" y="313"/>
                </a:lnTo>
                <a:lnTo>
                  <a:pt x="793" y="313"/>
                </a:lnTo>
                <a:lnTo>
                  <a:pt x="793" y="313"/>
                </a:lnTo>
                <a:lnTo>
                  <a:pt x="793" y="313"/>
                </a:lnTo>
                <a:lnTo>
                  <a:pt x="792" y="316"/>
                </a:lnTo>
                <a:lnTo>
                  <a:pt x="792" y="316"/>
                </a:lnTo>
                <a:lnTo>
                  <a:pt x="793" y="313"/>
                </a:lnTo>
                <a:lnTo>
                  <a:pt x="793" y="313"/>
                </a:lnTo>
                <a:lnTo>
                  <a:pt x="793" y="313"/>
                </a:lnTo>
                <a:lnTo>
                  <a:pt x="793" y="313"/>
                </a:lnTo>
                <a:lnTo>
                  <a:pt x="793" y="313"/>
                </a:lnTo>
                <a:lnTo>
                  <a:pt x="793" y="314"/>
                </a:lnTo>
                <a:lnTo>
                  <a:pt x="793" y="314"/>
                </a:lnTo>
                <a:lnTo>
                  <a:pt x="793" y="314"/>
                </a:lnTo>
                <a:lnTo>
                  <a:pt x="793" y="314"/>
                </a:lnTo>
                <a:lnTo>
                  <a:pt x="793" y="314"/>
                </a:lnTo>
                <a:lnTo>
                  <a:pt x="793" y="314"/>
                </a:lnTo>
                <a:lnTo>
                  <a:pt x="793" y="314"/>
                </a:lnTo>
                <a:lnTo>
                  <a:pt x="793" y="314"/>
                </a:lnTo>
                <a:lnTo>
                  <a:pt x="780" y="330"/>
                </a:lnTo>
                <a:lnTo>
                  <a:pt x="780" y="330"/>
                </a:lnTo>
                <a:lnTo>
                  <a:pt x="782" y="327"/>
                </a:lnTo>
                <a:lnTo>
                  <a:pt x="778" y="334"/>
                </a:lnTo>
                <a:lnTo>
                  <a:pt x="778" y="334"/>
                </a:lnTo>
                <a:lnTo>
                  <a:pt x="780" y="331"/>
                </a:lnTo>
                <a:lnTo>
                  <a:pt x="779" y="334"/>
                </a:lnTo>
                <a:lnTo>
                  <a:pt x="779" y="334"/>
                </a:lnTo>
                <a:lnTo>
                  <a:pt x="782" y="331"/>
                </a:lnTo>
                <a:lnTo>
                  <a:pt x="780" y="333"/>
                </a:lnTo>
                <a:lnTo>
                  <a:pt x="780" y="333"/>
                </a:lnTo>
                <a:lnTo>
                  <a:pt x="779" y="334"/>
                </a:lnTo>
                <a:lnTo>
                  <a:pt x="779" y="336"/>
                </a:lnTo>
                <a:lnTo>
                  <a:pt x="779" y="336"/>
                </a:lnTo>
                <a:lnTo>
                  <a:pt x="776" y="343"/>
                </a:lnTo>
                <a:lnTo>
                  <a:pt x="776" y="343"/>
                </a:lnTo>
                <a:lnTo>
                  <a:pt x="773" y="344"/>
                </a:lnTo>
                <a:lnTo>
                  <a:pt x="773" y="344"/>
                </a:lnTo>
                <a:lnTo>
                  <a:pt x="778" y="337"/>
                </a:lnTo>
                <a:lnTo>
                  <a:pt x="778" y="337"/>
                </a:lnTo>
                <a:lnTo>
                  <a:pt x="776" y="340"/>
                </a:lnTo>
                <a:lnTo>
                  <a:pt x="776" y="340"/>
                </a:lnTo>
                <a:lnTo>
                  <a:pt x="778" y="337"/>
                </a:lnTo>
                <a:lnTo>
                  <a:pt x="778" y="337"/>
                </a:lnTo>
                <a:lnTo>
                  <a:pt x="775" y="341"/>
                </a:lnTo>
                <a:lnTo>
                  <a:pt x="775" y="341"/>
                </a:lnTo>
                <a:lnTo>
                  <a:pt x="770" y="347"/>
                </a:lnTo>
                <a:lnTo>
                  <a:pt x="770" y="347"/>
                </a:lnTo>
                <a:lnTo>
                  <a:pt x="773" y="341"/>
                </a:lnTo>
                <a:lnTo>
                  <a:pt x="772" y="343"/>
                </a:lnTo>
                <a:lnTo>
                  <a:pt x="772" y="343"/>
                </a:lnTo>
                <a:lnTo>
                  <a:pt x="776" y="336"/>
                </a:lnTo>
                <a:lnTo>
                  <a:pt x="776" y="336"/>
                </a:lnTo>
                <a:lnTo>
                  <a:pt x="772" y="338"/>
                </a:lnTo>
                <a:lnTo>
                  <a:pt x="772" y="338"/>
                </a:lnTo>
                <a:lnTo>
                  <a:pt x="776" y="334"/>
                </a:lnTo>
                <a:lnTo>
                  <a:pt x="776" y="334"/>
                </a:lnTo>
                <a:lnTo>
                  <a:pt x="772" y="337"/>
                </a:lnTo>
                <a:lnTo>
                  <a:pt x="773" y="337"/>
                </a:lnTo>
                <a:lnTo>
                  <a:pt x="773" y="337"/>
                </a:lnTo>
                <a:lnTo>
                  <a:pt x="775" y="334"/>
                </a:lnTo>
                <a:lnTo>
                  <a:pt x="775" y="334"/>
                </a:lnTo>
                <a:lnTo>
                  <a:pt x="772" y="337"/>
                </a:lnTo>
                <a:lnTo>
                  <a:pt x="772" y="337"/>
                </a:lnTo>
                <a:lnTo>
                  <a:pt x="770" y="338"/>
                </a:lnTo>
                <a:lnTo>
                  <a:pt x="770" y="338"/>
                </a:lnTo>
                <a:lnTo>
                  <a:pt x="775" y="333"/>
                </a:lnTo>
                <a:lnTo>
                  <a:pt x="775" y="333"/>
                </a:lnTo>
                <a:lnTo>
                  <a:pt x="770" y="337"/>
                </a:lnTo>
                <a:lnTo>
                  <a:pt x="770" y="337"/>
                </a:lnTo>
                <a:lnTo>
                  <a:pt x="770" y="336"/>
                </a:lnTo>
                <a:lnTo>
                  <a:pt x="770" y="336"/>
                </a:lnTo>
                <a:lnTo>
                  <a:pt x="768" y="337"/>
                </a:lnTo>
                <a:lnTo>
                  <a:pt x="768" y="337"/>
                </a:lnTo>
                <a:lnTo>
                  <a:pt x="775" y="331"/>
                </a:lnTo>
                <a:lnTo>
                  <a:pt x="775" y="331"/>
                </a:lnTo>
                <a:lnTo>
                  <a:pt x="770" y="336"/>
                </a:lnTo>
                <a:lnTo>
                  <a:pt x="770" y="336"/>
                </a:lnTo>
                <a:lnTo>
                  <a:pt x="770" y="334"/>
                </a:lnTo>
                <a:lnTo>
                  <a:pt x="770" y="336"/>
                </a:lnTo>
                <a:lnTo>
                  <a:pt x="770" y="336"/>
                </a:lnTo>
                <a:lnTo>
                  <a:pt x="770" y="336"/>
                </a:lnTo>
                <a:lnTo>
                  <a:pt x="770" y="334"/>
                </a:lnTo>
                <a:lnTo>
                  <a:pt x="770" y="334"/>
                </a:lnTo>
                <a:lnTo>
                  <a:pt x="768" y="337"/>
                </a:lnTo>
                <a:lnTo>
                  <a:pt x="768" y="337"/>
                </a:lnTo>
                <a:lnTo>
                  <a:pt x="772" y="333"/>
                </a:lnTo>
                <a:lnTo>
                  <a:pt x="772" y="333"/>
                </a:lnTo>
                <a:lnTo>
                  <a:pt x="769" y="336"/>
                </a:lnTo>
                <a:lnTo>
                  <a:pt x="769" y="336"/>
                </a:lnTo>
                <a:lnTo>
                  <a:pt x="775" y="331"/>
                </a:lnTo>
                <a:lnTo>
                  <a:pt x="775" y="331"/>
                </a:lnTo>
                <a:lnTo>
                  <a:pt x="780" y="326"/>
                </a:lnTo>
                <a:lnTo>
                  <a:pt x="782" y="324"/>
                </a:lnTo>
                <a:lnTo>
                  <a:pt x="779" y="327"/>
                </a:lnTo>
                <a:lnTo>
                  <a:pt x="779" y="327"/>
                </a:lnTo>
                <a:lnTo>
                  <a:pt x="780" y="326"/>
                </a:lnTo>
                <a:lnTo>
                  <a:pt x="780" y="326"/>
                </a:lnTo>
                <a:lnTo>
                  <a:pt x="782" y="324"/>
                </a:lnTo>
                <a:lnTo>
                  <a:pt x="782" y="324"/>
                </a:lnTo>
                <a:lnTo>
                  <a:pt x="785" y="321"/>
                </a:lnTo>
                <a:lnTo>
                  <a:pt x="785" y="321"/>
                </a:lnTo>
                <a:lnTo>
                  <a:pt x="788" y="318"/>
                </a:lnTo>
                <a:lnTo>
                  <a:pt x="788" y="318"/>
                </a:lnTo>
                <a:lnTo>
                  <a:pt x="789" y="318"/>
                </a:lnTo>
                <a:lnTo>
                  <a:pt x="789" y="318"/>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6"/>
                </a:lnTo>
                <a:lnTo>
                  <a:pt x="790"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4"/>
                </a:lnTo>
                <a:lnTo>
                  <a:pt x="792" y="314"/>
                </a:lnTo>
                <a:lnTo>
                  <a:pt x="793" y="314"/>
                </a:lnTo>
                <a:lnTo>
                  <a:pt x="793" y="314"/>
                </a:lnTo>
                <a:lnTo>
                  <a:pt x="793" y="314"/>
                </a:lnTo>
                <a:lnTo>
                  <a:pt x="793" y="314"/>
                </a:lnTo>
                <a:lnTo>
                  <a:pt x="793" y="314"/>
                </a:lnTo>
                <a:lnTo>
                  <a:pt x="793" y="314"/>
                </a:lnTo>
                <a:lnTo>
                  <a:pt x="793" y="314"/>
                </a:lnTo>
                <a:lnTo>
                  <a:pt x="793" y="314"/>
                </a:lnTo>
                <a:lnTo>
                  <a:pt x="793" y="314"/>
                </a:lnTo>
                <a:lnTo>
                  <a:pt x="793" y="313"/>
                </a:lnTo>
                <a:lnTo>
                  <a:pt x="793"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3" y="313"/>
                </a:lnTo>
                <a:lnTo>
                  <a:pt x="793" y="313"/>
                </a:lnTo>
                <a:lnTo>
                  <a:pt x="793" y="313"/>
                </a:lnTo>
                <a:lnTo>
                  <a:pt x="793" y="313"/>
                </a:lnTo>
                <a:lnTo>
                  <a:pt x="793" y="314"/>
                </a:lnTo>
                <a:lnTo>
                  <a:pt x="793" y="314"/>
                </a:lnTo>
                <a:lnTo>
                  <a:pt x="793" y="314"/>
                </a:lnTo>
                <a:lnTo>
                  <a:pt x="793" y="314"/>
                </a:lnTo>
                <a:lnTo>
                  <a:pt x="793" y="314"/>
                </a:lnTo>
                <a:lnTo>
                  <a:pt x="793" y="314"/>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6"/>
                </a:lnTo>
                <a:lnTo>
                  <a:pt x="790" y="316"/>
                </a:lnTo>
                <a:lnTo>
                  <a:pt x="790" y="317"/>
                </a:lnTo>
                <a:lnTo>
                  <a:pt x="790" y="317"/>
                </a:lnTo>
                <a:lnTo>
                  <a:pt x="790" y="316"/>
                </a:lnTo>
                <a:lnTo>
                  <a:pt x="790"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0" y="316"/>
                </a:lnTo>
                <a:lnTo>
                  <a:pt x="790" y="316"/>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2" y="317"/>
                </a:lnTo>
                <a:lnTo>
                  <a:pt x="792" y="317"/>
                </a:lnTo>
                <a:lnTo>
                  <a:pt x="790" y="317"/>
                </a:lnTo>
                <a:lnTo>
                  <a:pt x="790" y="317"/>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3" y="316"/>
                </a:lnTo>
                <a:lnTo>
                  <a:pt x="793" y="316"/>
                </a:lnTo>
                <a:lnTo>
                  <a:pt x="793" y="316"/>
                </a:lnTo>
                <a:lnTo>
                  <a:pt x="793" y="316"/>
                </a:lnTo>
                <a:lnTo>
                  <a:pt x="793" y="316"/>
                </a:lnTo>
                <a:lnTo>
                  <a:pt x="793" y="316"/>
                </a:lnTo>
                <a:lnTo>
                  <a:pt x="793" y="316"/>
                </a:lnTo>
                <a:lnTo>
                  <a:pt x="793" y="316"/>
                </a:lnTo>
                <a:lnTo>
                  <a:pt x="795" y="314"/>
                </a:lnTo>
                <a:lnTo>
                  <a:pt x="795" y="314"/>
                </a:lnTo>
                <a:lnTo>
                  <a:pt x="793" y="316"/>
                </a:lnTo>
                <a:lnTo>
                  <a:pt x="793" y="316"/>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6" y="314"/>
                </a:lnTo>
                <a:lnTo>
                  <a:pt x="796" y="314"/>
                </a:lnTo>
                <a:lnTo>
                  <a:pt x="796" y="314"/>
                </a:lnTo>
                <a:lnTo>
                  <a:pt x="796" y="314"/>
                </a:lnTo>
                <a:lnTo>
                  <a:pt x="797" y="313"/>
                </a:lnTo>
                <a:lnTo>
                  <a:pt x="797" y="313"/>
                </a:lnTo>
                <a:lnTo>
                  <a:pt x="797" y="313"/>
                </a:lnTo>
                <a:lnTo>
                  <a:pt x="797" y="313"/>
                </a:lnTo>
                <a:lnTo>
                  <a:pt x="799" y="313"/>
                </a:lnTo>
                <a:lnTo>
                  <a:pt x="799" y="313"/>
                </a:lnTo>
                <a:lnTo>
                  <a:pt x="799" y="313"/>
                </a:lnTo>
                <a:lnTo>
                  <a:pt x="799" y="313"/>
                </a:lnTo>
                <a:lnTo>
                  <a:pt x="800" y="311"/>
                </a:lnTo>
                <a:lnTo>
                  <a:pt x="802" y="311"/>
                </a:lnTo>
                <a:lnTo>
                  <a:pt x="802" y="311"/>
                </a:lnTo>
                <a:lnTo>
                  <a:pt x="802" y="311"/>
                </a:lnTo>
                <a:lnTo>
                  <a:pt x="802" y="311"/>
                </a:lnTo>
                <a:lnTo>
                  <a:pt x="802" y="311"/>
                </a:lnTo>
                <a:lnTo>
                  <a:pt x="805" y="321"/>
                </a:lnTo>
                <a:lnTo>
                  <a:pt x="805" y="321"/>
                </a:lnTo>
                <a:lnTo>
                  <a:pt x="805" y="321"/>
                </a:lnTo>
                <a:lnTo>
                  <a:pt x="805" y="321"/>
                </a:lnTo>
                <a:lnTo>
                  <a:pt x="805" y="321"/>
                </a:lnTo>
                <a:lnTo>
                  <a:pt x="803" y="318"/>
                </a:lnTo>
                <a:lnTo>
                  <a:pt x="803" y="318"/>
                </a:lnTo>
                <a:lnTo>
                  <a:pt x="803" y="320"/>
                </a:lnTo>
                <a:lnTo>
                  <a:pt x="803" y="320"/>
                </a:lnTo>
                <a:lnTo>
                  <a:pt x="805" y="321"/>
                </a:lnTo>
                <a:lnTo>
                  <a:pt x="805" y="321"/>
                </a:lnTo>
                <a:lnTo>
                  <a:pt x="805" y="321"/>
                </a:lnTo>
                <a:lnTo>
                  <a:pt x="805" y="321"/>
                </a:lnTo>
                <a:lnTo>
                  <a:pt x="805" y="321"/>
                </a:lnTo>
                <a:lnTo>
                  <a:pt x="805" y="321"/>
                </a:lnTo>
                <a:lnTo>
                  <a:pt x="805" y="321"/>
                </a:lnTo>
                <a:lnTo>
                  <a:pt x="805" y="321"/>
                </a:lnTo>
                <a:lnTo>
                  <a:pt x="802" y="311"/>
                </a:lnTo>
                <a:lnTo>
                  <a:pt x="802" y="311"/>
                </a:lnTo>
                <a:lnTo>
                  <a:pt x="802" y="311"/>
                </a:lnTo>
                <a:lnTo>
                  <a:pt x="802" y="311"/>
                </a:lnTo>
                <a:lnTo>
                  <a:pt x="805" y="321"/>
                </a:lnTo>
                <a:lnTo>
                  <a:pt x="805" y="321"/>
                </a:lnTo>
                <a:lnTo>
                  <a:pt x="805" y="321"/>
                </a:lnTo>
                <a:lnTo>
                  <a:pt x="805" y="321"/>
                </a:lnTo>
                <a:lnTo>
                  <a:pt x="805" y="321"/>
                </a:lnTo>
                <a:lnTo>
                  <a:pt x="805" y="321"/>
                </a:lnTo>
                <a:lnTo>
                  <a:pt x="805" y="321"/>
                </a:lnTo>
                <a:lnTo>
                  <a:pt x="805" y="321"/>
                </a:lnTo>
                <a:lnTo>
                  <a:pt x="805" y="320"/>
                </a:lnTo>
                <a:lnTo>
                  <a:pt x="805" y="320"/>
                </a:lnTo>
                <a:lnTo>
                  <a:pt x="803" y="318"/>
                </a:lnTo>
                <a:lnTo>
                  <a:pt x="803" y="318"/>
                </a:lnTo>
                <a:lnTo>
                  <a:pt x="802" y="317"/>
                </a:lnTo>
                <a:lnTo>
                  <a:pt x="802" y="317"/>
                </a:lnTo>
                <a:lnTo>
                  <a:pt x="797" y="308"/>
                </a:lnTo>
                <a:lnTo>
                  <a:pt x="797" y="308"/>
                </a:lnTo>
                <a:lnTo>
                  <a:pt x="795" y="304"/>
                </a:lnTo>
                <a:lnTo>
                  <a:pt x="795" y="304"/>
                </a:lnTo>
                <a:lnTo>
                  <a:pt x="795" y="303"/>
                </a:lnTo>
                <a:lnTo>
                  <a:pt x="795" y="304"/>
                </a:lnTo>
                <a:lnTo>
                  <a:pt x="795" y="304"/>
                </a:lnTo>
                <a:lnTo>
                  <a:pt x="795" y="306"/>
                </a:lnTo>
                <a:lnTo>
                  <a:pt x="795" y="306"/>
                </a:lnTo>
                <a:lnTo>
                  <a:pt x="795" y="307"/>
                </a:lnTo>
                <a:lnTo>
                  <a:pt x="795" y="307"/>
                </a:lnTo>
                <a:lnTo>
                  <a:pt x="795" y="307"/>
                </a:lnTo>
                <a:lnTo>
                  <a:pt x="795" y="307"/>
                </a:lnTo>
                <a:lnTo>
                  <a:pt x="795" y="310"/>
                </a:lnTo>
                <a:lnTo>
                  <a:pt x="795" y="310"/>
                </a:lnTo>
                <a:lnTo>
                  <a:pt x="795" y="311"/>
                </a:lnTo>
                <a:lnTo>
                  <a:pt x="795" y="311"/>
                </a:lnTo>
                <a:lnTo>
                  <a:pt x="795" y="313"/>
                </a:lnTo>
                <a:lnTo>
                  <a:pt x="795" y="313"/>
                </a:lnTo>
                <a:lnTo>
                  <a:pt x="795" y="313"/>
                </a:lnTo>
                <a:lnTo>
                  <a:pt x="795" y="314"/>
                </a:lnTo>
                <a:lnTo>
                  <a:pt x="795" y="314"/>
                </a:lnTo>
                <a:lnTo>
                  <a:pt x="795" y="314"/>
                </a:lnTo>
                <a:lnTo>
                  <a:pt x="795" y="314"/>
                </a:lnTo>
                <a:lnTo>
                  <a:pt x="793" y="314"/>
                </a:lnTo>
                <a:lnTo>
                  <a:pt x="793" y="314"/>
                </a:lnTo>
                <a:lnTo>
                  <a:pt x="793" y="314"/>
                </a:lnTo>
                <a:lnTo>
                  <a:pt x="793" y="314"/>
                </a:lnTo>
                <a:lnTo>
                  <a:pt x="792" y="314"/>
                </a:lnTo>
                <a:lnTo>
                  <a:pt x="792"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2" y="314"/>
                </a:lnTo>
                <a:lnTo>
                  <a:pt x="792" y="314"/>
                </a:lnTo>
                <a:lnTo>
                  <a:pt x="792" y="314"/>
                </a:lnTo>
                <a:lnTo>
                  <a:pt x="792" y="314"/>
                </a:lnTo>
                <a:lnTo>
                  <a:pt x="792" y="314"/>
                </a:lnTo>
                <a:lnTo>
                  <a:pt x="792" y="314"/>
                </a:lnTo>
                <a:lnTo>
                  <a:pt x="792" y="314"/>
                </a:lnTo>
                <a:lnTo>
                  <a:pt x="792" y="314"/>
                </a:lnTo>
                <a:lnTo>
                  <a:pt x="793" y="316"/>
                </a:lnTo>
                <a:lnTo>
                  <a:pt x="793" y="316"/>
                </a:lnTo>
                <a:lnTo>
                  <a:pt x="793" y="316"/>
                </a:lnTo>
                <a:lnTo>
                  <a:pt x="793" y="316"/>
                </a:lnTo>
                <a:lnTo>
                  <a:pt x="793" y="316"/>
                </a:lnTo>
                <a:lnTo>
                  <a:pt x="793" y="316"/>
                </a:lnTo>
                <a:lnTo>
                  <a:pt x="793" y="316"/>
                </a:lnTo>
                <a:lnTo>
                  <a:pt x="793"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6" y="316"/>
                </a:lnTo>
                <a:lnTo>
                  <a:pt x="796" y="316"/>
                </a:lnTo>
                <a:lnTo>
                  <a:pt x="796" y="316"/>
                </a:lnTo>
                <a:lnTo>
                  <a:pt x="796" y="316"/>
                </a:lnTo>
                <a:lnTo>
                  <a:pt x="796" y="316"/>
                </a:lnTo>
                <a:lnTo>
                  <a:pt x="796" y="316"/>
                </a:lnTo>
                <a:lnTo>
                  <a:pt x="796" y="316"/>
                </a:lnTo>
                <a:lnTo>
                  <a:pt x="795" y="316"/>
                </a:lnTo>
                <a:lnTo>
                  <a:pt x="795" y="316"/>
                </a:lnTo>
                <a:lnTo>
                  <a:pt x="796" y="316"/>
                </a:lnTo>
                <a:lnTo>
                  <a:pt x="796" y="316"/>
                </a:lnTo>
                <a:lnTo>
                  <a:pt x="796" y="316"/>
                </a:lnTo>
                <a:lnTo>
                  <a:pt x="796" y="316"/>
                </a:lnTo>
                <a:lnTo>
                  <a:pt x="796" y="316"/>
                </a:lnTo>
                <a:lnTo>
                  <a:pt x="796" y="316"/>
                </a:lnTo>
                <a:lnTo>
                  <a:pt x="796" y="316"/>
                </a:lnTo>
                <a:lnTo>
                  <a:pt x="796" y="316"/>
                </a:lnTo>
                <a:lnTo>
                  <a:pt x="795" y="316"/>
                </a:lnTo>
                <a:lnTo>
                  <a:pt x="795" y="316"/>
                </a:lnTo>
                <a:lnTo>
                  <a:pt x="795" y="316"/>
                </a:lnTo>
                <a:lnTo>
                  <a:pt x="795" y="316"/>
                </a:lnTo>
                <a:lnTo>
                  <a:pt x="795" y="316"/>
                </a:lnTo>
                <a:lnTo>
                  <a:pt x="795" y="316"/>
                </a:lnTo>
                <a:lnTo>
                  <a:pt x="795" y="316"/>
                </a:lnTo>
                <a:lnTo>
                  <a:pt x="795" y="316"/>
                </a:lnTo>
                <a:lnTo>
                  <a:pt x="795" y="316"/>
                </a:lnTo>
                <a:lnTo>
                  <a:pt x="789" y="311"/>
                </a:lnTo>
                <a:lnTo>
                  <a:pt x="789" y="311"/>
                </a:lnTo>
                <a:lnTo>
                  <a:pt x="778" y="304"/>
                </a:lnTo>
                <a:lnTo>
                  <a:pt x="778" y="304"/>
                </a:lnTo>
                <a:lnTo>
                  <a:pt x="775" y="303"/>
                </a:lnTo>
                <a:lnTo>
                  <a:pt x="775" y="303"/>
                </a:lnTo>
                <a:lnTo>
                  <a:pt x="768" y="297"/>
                </a:lnTo>
                <a:lnTo>
                  <a:pt x="768" y="297"/>
                </a:lnTo>
                <a:lnTo>
                  <a:pt x="765" y="296"/>
                </a:lnTo>
                <a:lnTo>
                  <a:pt x="765" y="296"/>
                </a:lnTo>
                <a:lnTo>
                  <a:pt x="726" y="273"/>
                </a:lnTo>
                <a:lnTo>
                  <a:pt x="726" y="273"/>
                </a:lnTo>
                <a:lnTo>
                  <a:pt x="685" y="253"/>
                </a:lnTo>
                <a:lnTo>
                  <a:pt x="685" y="253"/>
                </a:lnTo>
                <a:lnTo>
                  <a:pt x="671" y="249"/>
                </a:lnTo>
                <a:lnTo>
                  <a:pt x="671" y="249"/>
                </a:lnTo>
                <a:lnTo>
                  <a:pt x="663" y="246"/>
                </a:lnTo>
                <a:lnTo>
                  <a:pt x="656" y="244"/>
                </a:lnTo>
                <a:lnTo>
                  <a:pt x="656" y="244"/>
                </a:lnTo>
                <a:lnTo>
                  <a:pt x="652" y="241"/>
                </a:lnTo>
                <a:lnTo>
                  <a:pt x="646" y="240"/>
                </a:lnTo>
                <a:lnTo>
                  <a:pt x="642" y="239"/>
                </a:lnTo>
                <a:lnTo>
                  <a:pt x="638" y="236"/>
                </a:lnTo>
                <a:lnTo>
                  <a:pt x="638" y="236"/>
                </a:lnTo>
                <a:lnTo>
                  <a:pt x="636" y="237"/>
                </a:lnTo>
                <a:lnTo>
                  <a:pt x="633" y="236"/>
                </a:lnTo>
                <a:lnTo>
                  <a:pt x="633" y="236"/>
                </a:lnTo>
                <a:lnTo>
                  <a:pt x="633" y="234"/>
                </a:lnTo>
                <a:lnTo>
                  <a:pt x="632" y="233"/>
                </a:lnTo>
                <a:lnTo>
                  <a:pt x="632" y="233"/>
                </a:lnTo>
                <a:lnTo>
                  <a:pt x="631" y="234"/>
                </a:lnTo>
                <a:lnTo>
                  <a:pt x="628" y="233"/>
                </a:lnTo>
                <a:lnTo>
                  <a:pt x="623" y="230"/>
                </a:lnTo>
                <a:lnTo>
                  <a:pt x="623" y="230"/>
                </a:lnTo>
                <a:lnTo>
                  <a:pt x="615" y="227"/>
                </a:lnTo>
                <a:lnTo>
                  <a:pt x="606" y="226"/>
                </a:lnTo>
                <a:lnTo>
                  <a:pt x="598" y="224"/>
                </a:lnTo>
                <a:lnTo>
                  <a:pt x="588" y="221"/>
                </a:lnTo>
                <a:lnTo>
                  <a:pt x="588" y="221"/>
                </a:lnTo>
                <a:lnTo>
                  <a:pt x="588" y="219"/>
                </a:lnTo>
                <a:lnTo>
                  <a:pt x="589" y="217"/>
                </a:lnTo>
                <a:lnTo>
                  <a:pt x="589" y="217"/>
                </a:lnTo>
                <a:lnTo>
                  <a:pt x="595" y="214"/>
                </a:lnTo>
                <a:lnTo>
                  <a:pt x="595" y="214"/>
                </a:lnTo>
                <a:lnTo>
                  <a:pt x="601" y="213"/>
                </a:lnTo>
                <a:lnTo>
                  <a:pt x="602" y="211"/>
                </a:lnTo>
                <a:lnTo>
                  <a:pt x="601" y="209"/>
                </a:lnTo>
                <a:lnTo>
                  <a:pt x="601" y="209"/>
                </a:lnTo>
                <a:lnTo>
                  <a:pt x="606" y="209"/>
                </a:lnTo>
                <a:lnTo>
                  <a:pt x="611" y="209"/>
                </a:lnTo>
                <a:lnTo>
                  <a:pt x="616" y="211"/>
                </a:lnTo>
                <a:lnTo>
                  <a:pt x="616" y="211"/>
                </a:lnTo>
                <a:lnTo>
                  <a:pt x="616" y="213"/>
                </a:lnTo>
                <a:lnTo>
                  <a:pt x="619" y="217"/>
                </a:lnTo>
                <a:lnTo>
                  <a:pt x="619" y="217"/>
                </a:lnTo>
                <a:lnTo>
                  <a:pt x="629" y="216"/>
                </a:lnTo>
                <a:lnTo>
                  <a:pt x="629" y="216"/>
                </a:lnTo>
                <a:lnTo>
                  <a:pt x="633" y="216"/>
                </a:lnTo>
                <a:lnTo>
                  <a:pt x="633" y="216"/>
                </a:lnTo>
                <a:lnTo>
                  <a:pt x="636" y="213"/>
                </a:lnTo>
                <a:lnTo>
                  <a:pt x="636" y="213"/>
                </a:lnTo>
                <a:lnTo>
                  <a:pt x="643" y="216"/>
                </a:lnTo>
                <a:lnTo>
                  <a:pt x="648" y="216"/>
                </a:lnTo>
                <a:lnTo>
                  <a:pt x="648" y="216"/>
                </a:lnTo>
                <a:lnTo>
                  <a:pt x="649" y="214"/>
                </a:lnTo>
                <a:lnTo>
                  <a:pt x="653" y="213"/>
                </a:lnTo>
                <a:lnTo>
                  <a:pt x="653" y="213"/>
                </a:lnTo>
                <a:lnTo>
                  <a:pt x="655" y="214"/>
                </a:lnTo>
                <a:lnTo>
                  <a:pt x="658" y="217"/>
                </a:lnTo>
                <a:lnTo>
                  <a:pt x="658" y="217"/>
                </a:lnTo>
                <a:lnTo>
                  <a:pt x="659" y="214"/>
                </a:lnTo>
                <a:lnTo>
                  <a:pt x="659" y="214"/>
                </a:lnTo>
                <a:lnTo>
                  <a:pt x="662" y="211"/>
                </a:lnTo>
                <a:lnTo>
                  <a:pt x="662" y="211"/>
                </a:lnTo>
                <a:lnTo>
                  <a:pt x="666" y="210"/>
                </a:lnTo>
                <a:lnTo>
                  <a:pt x="666" y="210"/>
                </a:lnTo>
                <a:lnTo>
                  <a:pt x="671" y="210"/>
                </a:lnTo>
                <a:lnTo>
                  <a:pt x="671" y="210"/>
                </a:lnTo>
                <a:lnTo>
                  <a:pt x="681" y="214"/>
                </a:lnTo>
                <a:lnTo>
                  <a:pt x="686" y="216"/>
                </a:lnTo>
                <a:lnTo>
                  <a:pt x="686" y="216"/>
                </a:lnTo>
                <a:lnTo>
                  <a:pt x="693" y="219"/>
                </a:lnTo>
                <a:lnTo>
                  <a:pt x="702" y="224"/>
                </a:lnTo>
                <a:lnTo>
                  <a:pt x="702" y="224"/>
                </a:lnTo>
                <a:lnTo>
                  <a:pt x="705" y="224"/>
                </a:lnTo>
                <a:lnTo>
                  <a:pt x="710" y="229"/>
                </a:lnTo>
                <a:lnTo>
                  <a:pt x="710" y="229"/>
                </a:lnTo>
                <a:lnTo>
                  <a:pt x="718" y="237"/>
                </a:lnTo>
                <a:lnTo>
                  <a:pt x="726" y="246"/>
                </a:lnTo>
                <a:lnTo>
                  <a:pt x="726" y="246"/>
                </a:lnTo>
                <a:lnTo>
                  <a:pt x="733" y="251"/>
                </a:lnTo>
                <a:lnTo>
                  <a:pt x="739" y="254"/>
                </a:lnTo>
                <a:lnTo>
                  <a:pt x="739" y="254"/>
                </a:lnTo>
                <a:lnTo>
                  <a:pt x="735" y="249"/>
                </a:lnTo>
                <a:lnTo>
                  <a:pt x="733" y="247"/>
                </a:lnTo>
                <a:lnTo>
                  <a:pt x="736" y="249"/>
                </a:lnTo>
                <a:lnTo>
                  <a:pt x="736" y="249"/>
                </a:lnTo>
                <a:lnTo>
                  <a:pt x="739" y="253"/>
                </a:lnTo>
                <a:lnTo>
                  <a:pt x="739" y="253"/>
                </a:lnTo>
                <a:lnTo>
                  <a:pt x="758" y="273"/>
                </a:lnTo>
                <a:lnTo>
                  <a:pt x="758" y="273"/>
                </a:lnTo>
                <a:lnTo>
                  <a:pt x="758" y="271"/>
                </a:lnTo>
                <a:lnTo>
                  <a:pt x="762" y="276"/>
                </a:lnTo>
                <a:lnTo>
                  <a:pt x="762" y="276"/>
                </a:lnTo>
                <a:lnTo>
                  <a:pt x="760" y="274"/>
                </a:lnTo>
                <a:lnTo>
                  <a:pt x="760" y="276"/>
                </a:lnTo>
                <a:lnTo>
                  <a:pt x="760" y="276"/>
                </a:lnTo>
                <a:lnTo>
                  <a:pt x="766" y="280"/>
                </a:lnTo>
                <a:lnTo>
                  <a:pt x="766" y="280"/>
                </a:lnTo>
                <a:lnTo>
                  <a:pt x="763" y="277"/>
                </a:lnTo>
                <a:lnTo>
                  <a:pt x="766" y="280"/>
                </a:lnTo>
                <a:lnTo>
                  <a:pt x="766" y="280"/>
                </a:lnTo>
                <a:lnTo>
                  <a:pt x="758" y="270"/>
                </a:lnTo>
                <a:lnTo>
                  <a:pt x="758" y="270"/>
                </a:lnTo>
                <a:lnTo>
                  <a:pt x="762" y="271"/>
                </a:lnTo>
                <a:lnTo>
                  <a:pt x="768" y="279"/>
                </a:lnTo>
                <a:lnTo>
                  <a:pt x="768" y="279"/>
                </a:lnTo>
                <a:lnTo>
                  <a:pt x="770" y="283"/>
                </a:lnTo>
                <a:lnTo>
                  <a:pt x="769" y="279"/>
                </a:lnTo>
                <a:lnTo>
                  <a:pt x="769" y="279"/>
                </a:lnTo>
                <a:lnTo>
                  <a:pt x="768" y="277"/>
                </a:lnTo>
                <a:lnTo>
                  <a:pt x="768" y="279"/>
                </a:lnTo>
                <a:lnTo>
                  <a:pt x="768" y="279"/>
                </a:lnTo>
                <a:lnTo>
                  <a:pt x="756" y="264"/>
                </a:lnTo>
                <a:lnTo>
                  <a:pt x="756" y="264"/>
                </a:lnTo>
                <a:lnTo>
                  <a:pt x="745" y="254"/>
                </a:lnTo>
                <a:lnTo>
                  <a:pt x="745" y="254"/>
                </a:lnTo>
                <a:lnTo>
                  <a:pt x="742" y="249"/>
                </a:lnTo>
                <a:lnTo>
                  <a:pt x="742" y="249"/>
                </a:lnTo>
                <a:lnTo>
                  <a:pt x="743" y="253"/>
                </a:lnTo>
                <a:lnTo>
                  <a:pt x="743" y="253"/>
                </a:lnTo>
                <a:lnTo>
                  <a:pt x="740" y="250"/>
                </a:lnTo>
                <a:lnTo>
                  <a:pt x="739" y="250"/>
                </a:lnTo>
                <a:lnTo>
                  <a:pt x="739" y="251"/>
                </a:lnTo>
                <a:lnTo>
                  <a:pt x="739" y="251"/>
                </a:lnTo>
                <a:lnTo>
                  <a:pt x="735" y="246"/>
                </a:lnTo>
                <a:lnTo>
                  <a:pt x="730" y="241"/>
                </a:lnTo>
                <a:lnTo>
                  <a:pt x="730" y="241"/>
                </a:lnTo>
                <a:lnTo>
                  <a:pt x="729" y="239"/>
                </a:lnTo>
                <a:lnTo>
                  <a:pt x="725" y="234"/>
                </a:lnTo>
                <a:lnTo>
                  <a:pt x="725" y="234"/>
                </a:lnTo>
                <a:lnTo>
                  <a:pt x="723" y="233"/>
                </a:lnTo>
                <a:lnTo>
                  <a:pt x="723" y="231"/>
                </a:lnTo>
                <a:lnTo>
                  <a:pt x="723" y="231"/>
                </a:lnTo>
                <a:lnTo>
                  <a:pt x="730" y="233"/>
                </a:lnTo>
                <a:lnTo>
                  <a:pt x="730" y="233"/>
                </a:lnTo>
                <a:lnTo>
                  <a:pt x="732" y="233"/>
                </a:lnTo>
                <a:lnTo>
                  <a:pt x="732" y="233"/>
                </a:lnTo>
                <a:lnTo>
                  <a:pt x="735" y="233"/>
                </a:lnTo>
                <a:lnTo>
                  <a:pt x="735" y="233"/>
                </a:lnTo>
                <a:lnTo>
                  <a:pt x="730" y="229"/>
                </a:lnTo>
                <a:lnTo>
                  <a:pt x="726" y="226"/>
                </a:lnTo>
                <a:lnTo>
                  <a:pt x="726" y="226"/>
                </a:lnTo>
                <a:lnTo>
                  <a:pt x="719" y="221"/>
                </a:lnTo>
                <a:lnTo>
                  <a:pt x="719" y="221"/>
                </a:lnTo>
                <a:lnTo>
                  <a:pt x="709" y="210"/>
                </a:lnTo>
                <a:lnTo>
                  <a:pt x="709" y="210"/>
                </a:lnTo>
                <a:lnTo>
                  <a:pt x="699" y="201"/>
                </a:lnTo>
                <a:lnTo>
                  <a:pt x="699" y="201"/>
                </a:lnTo>
                <a:lnTo>
                  <a:pt x="699" y="201"/>
                </a:lnTo>
                <a:lnTo>
                  <a:pt x="699" y="203"/>
                </a:lnTo>
                <a:lnTo>
                  <a:pt x="700" y="204"/>
                </a:lnTo>
                <a:lnTo>
                  <a:pt x="700" y="204"/>
                </a:lnTo>
                <a:lnTo>
                  <a:pt x="700" y="204"/>
                </a:lnTo>
                <a:lnTo>
                  <a:pt x="683" y="190"/>
                </a:lnTo>
                <a:lnTo>
                  <a:pt x="683" y="190"/>
                </a:lnTo>
                <a:lnTo>
                  <a:pt x="675" y="181"/>
                </a:lnTo>
                <a:lnTo>
                  <a:pt x="666" y="171"/>
                </a:lnTo>
                <a:lnTo>
                  <a:pt x="666" y="171"/>
                </a:lnTo>
                <a:lnTo>
                  <a:pt x="668" y="170"/>
                </a:lnTo>
                <a:lnTo>
                  <a:pt x="666" y="167"/>
                </a:lnTo>
                <a:lnTo>
                  <a:pt x="665" y="161"/>
                </a:lnTo>
                <a:lnTo>
                  <a:pt x="665" y="161"/>
                </a:lnTo>
                <a:lnTo>
                  <a:pt x="663" y="156"/>
                </a:lnTo>
                <a:lnTo>
                  <a:pt x="663" y="156"/>
                </a:lnTo>
                <a:lnTo>
                  <a:pt x="663" y="153"/>
                </a:lnTo>
                <a:lnTo>
                  <a:pt x="665" y="151"/>
                </a:lnTo>
                <a:lnTo>
                  <a:pt x="665" y="151"/>
                </a:lnTo>
                <a:lnTo>
                  <a:pt x="661" y="144"/>
                </a:lnTo>
                <a:lnTo>
                  <a:pt x="658" y="139"/>
                </a:lnTo>
                <a:lnTo>
                  <a:pt x="658" y="139"/>
                </a:lnTo>
                <a:lnTo>
                  <a:pt x="655" y="136"/>
                </a:lnTo>
                <a:lnTo>
                  <a:pt x="652" y="134"/>
                </a:lnTo>
                <a:lnTo>
                  <a:pt x="652" y="134"/>
                </a:lnTo>
                <a:lnTo>
                  <a:pt x="651" y="130"/>
                </a:lnTo>
                <a:lnTo>
                  <a:pt x="651" y="126"/>
                </a:lnTo>
                <a:lnTo>
                  <a:pt x="651" y="126"/>
                </a:lnTo>
                <a:lnTo>
                  <a:pt x="642" y="117"/>
                </a:lnTo>
                <a:lnTo>
                  <a:pt x="638" y="113"/>
                </a:lnTo>
                <a:lnTo>
                  <a:pt x="632" y="112"/>
                </a:lnTo>
                <a:lnTo>
                  <a:pt x="625" y="106"/>
                </a:lnTo>
                <a:lnTo>
                  <a:pt x="625" y="106"/>
                </a:lnTo>
                <a:lnTo>
                  <a:pt x="628" y="100"/>
                </a:lnTo>
                <a:lnTo>
                  <a:pt x="631" y="96"/>
                </a:lnTo>
                <a:lnTo>
                  <a:pt x="631" y="96"/>
                </a:lnTo>
                <a:lnTo>
                  <a:pt x="633" y="92"/>
                </a:lnTo>
                <a:lnTo>
                  <a:pt x="635" y="86"/>
                </a:lnTo>
                <a:lnTo>
                  <a:pt x="635" y="86"/>
                </a:lnTo>
                <a:lnTo>
                  <a:pt x="632" y="84"/>
                </a:lnTo>
                <a:lnTo>
                  <a:pt x="628" y="82"/>
                </a:lnTo>
                <a:lnTo>
                  <a:pt x="625" y="77"/>
                </a:lnTo>
                <a:lnTo>
                  <a:pt x="623" y="74"/>
                </a:lnTo>
                <a:lnTo>
                  <a:pt x="623" y="74"/>
                </a:lnTo>
                <a:lnTo>
                  <a:pt x="619" y="72"/>
                </a:lnTo>
                <a:lnTo>
                  <a:pt x="613" y="67"/>
                </a:lnTo>
                <a:lnTo>
                  <a:pt x="613" y="67"/>
                </a:lnTo>
                <a:lnTo>
                  <a:pt x="609" y="63"/>
                </a:lnTo>
                <a:lnTo>
                  <a:pt x="604" y="62"/>
                </a:lnTo>
                <a:lnTo>
                  <a:pt x="604" y="62"/>
                </a:lnTo>
                <a:lnTo>
                  <a:pt x="604" y="66"/>
                </a:lnTo>
                <a:lnTo>
                  <a:pt x="605" y="70"/>
                </a:lnTo>
                <a:lnTo>
                  <a:pt x="608" y="80"/>
                </a:lnTo>
                <a:lnTo>
                  <a:pt x="608" y="80"/>
                </a:lnTo>
                <a:lnTo>
                  <a:pt x="612" y="89"/>
                </a:lnTo>
                <a:lnTo>
                  <a:pt x="612" y="89"/>
                </a:lnTo>
                <a:lnTo>
                  <a:pt x="612" y="93"/>
                </a:lnTo>
                <a:lnTo>
                  <a:pt x="613" y="97"/>
                </a:lnTo>
                <a:lnTo>
                  <a:pt x="613" y="97"/>
                </a:lnTo>
                <a:lnTo>
                  <a:pt x="606" y="93"/>
                </a:lnTo>
                <a:lnTo>
                  <a:pt x="599" y="90"/>
                </a:lnTo>
                <a:lnTo>
                  <a:pt x="599" y="90"/>
                </a:lnTo>
                <a:lnTo>
                  <a:pt x="594" y="90"/>
                </a:lnTo>
                <a:lnTo>
                  <a:pt x="588" y="92"/>
                </a:lnTo>
                <a:lnTo>
                  <a:pt x="588" y="92"/>
                </a:lnTo>
                <a:lnTo>
                  <a:pt x="578" y="97"/>
                </a:lnTo>
                <a:lnTo>
                  <a:pt x="578" y="97"/>
                </a:lnTo>
                <a:lnTo>
                  <a:pt x="575" y="99"/>
                </a:lnTo>
                <a:lnTo>
                  <a:pt x="571" y="100"/>
                </a:lnTo>
                <a:lnTo>
                  <a:pt x="571" y="100"/>
                </a:lnTo>
                <a:lnTo>
                  <a:pt x="574" y="102"/>
                </a:lnTo>
                <a:lnTo>
                  <a:pt x="576" y="103"/>
                </a:lnTo>
                <a:lnTo>
                  <a:pt x="576" y="103"/>
                </a:lnTo>
                <a:lnTo>
                  <a:pt x="575" y="104"/>
                </a:lnTo>
                <a:lnTo>
                  <a:pt x="572" y="106"/>
                </a:lnTo>
                <a:lnTo>
                  <a:pt x="568" y="106"/>
                </a:lnTo>
                <a:lnTo>
                  <a:pt x="568" y="106"/>
                </a:lnTo>
                <a:lnTo>
                  <a:pt x="571" y="109"/>
                </a:lnTo>
                <a:lnTo>
                  <a:pt x="571" y="110"/>
                </a:lnTo>
                <a:lnTo>
                  <a:pt x="571" y="110"/>
                </a:lnTo>
                <a:lnTo>
                  <a:pt x="569" y="112"/>
                </a:lnTo>
                <a:lnTo>
                  <a:pt x="571" y="114"/>
                </a:lnTo>
                <a:lnTo>
                  <a:pt x="571" y="114"/>
                </a:lnTo>
                <a:lnTo>
                  <a:pt x="572" y="114"/>
                </a:lnTo>
                <a:lnTo>
                  <a:pt x="576" y="116"/>
                </a:lnTo>
                <a:lnTo>
                  <a:pt x="576" y="116"/>
                </a:lnTo>
                <a:lnTo>
                  <a:pt x="574" y="120"/>
                </a:lnTo>
                <a:lnTo>
                  <a:pt x="572" y="123"/>
                </a:lnTo>
                <a:lnTo>
                  <a:pt x="571" y="130"/>
                </a:lnTo>
                <a:lnTo>
                  <a:pt x="571" y="130"/>
                </a:lnTo>
                <a:lnTo>
                  <a:pt x="569" y="139"/>
                </a:lnTo>
                <a:lnTo>
                  <a:pt x="568" y="146"/>
                </a:lnTo>
                <a:lnTo>
                  <a:pt x="568" y="146"/>
                </a:lnTo>
                <a:lnTo>
                  <a:pt x="571" y="147"/>
                </a:lnTo>
                <a:lnTo>
                  <a:pt x="571" y="149"/>
                </a:lnTo>
                <a:lnTo>
                  <a:pt x="571" y="149"/>
                </a:lnTo>
                <a:lnTo>
                  <a:pt x="566" y="159"/>
                </a:lnTo>
                <a:lnTo>
                  <a:pt x="566" y="159"/>
                </a:lnTo>
                <a:lnTo>
                  <a:pt x="565" y="160"/>
                </a:lnTo>
                <a:lnTo>
                  <a:pt x="565" y="160"/>
                </a:lnTo>
                <a:lnTo>
                  <a:pt x="565" y="163"/>
                </a:lnTo>
                <a:lnTo>
                  <a:pt x="565" y="163"/>
                </a:lnTo>
                <a:lnTo>
                  <a:pt x="564" y="167"/>
                </a:lnTo>
                <a:lnTo>
                  <a:pt x="564" y="167"/>
                </a:lnTo>
                <a:lnTo>
                  <a:pt x="562" y="171"/>
                </a:lnTo>
                <a:lnTo>
                  <a:pt x="562" y="171"/>
                </a:lnTo>
                <a:lnTo>
                  <a:pt x="562" y="174"/>
                </a:lnTo>
                <a:lnTo>
                  <a:pt x="562" y="174"/>
                </a:lnTo>
                <a:lnTo>
                  <a:pt x="562" y="176"/>
                </a:lnTo>
                <a:lnTo>
                  <a:pt x="562" y="176"/>
                </a:lnTo>
                <a:lnTo>
                  <a:pt x="561" y="186"/>
                </a:lnTo>
                <a:lnTo>
                  <a:pt x="561" y="186"/>
                </a:lnTo>
                <a:lnTo>
                  <a:pt x="564" y="187"/>
                </a:lnTo>
                <a:lnTo>
                  <a:pt x="565" y="189"/>
                </a:lnTo>
                <a:lnTo>
                  <a:pt x="565" y="189"/>
                </a:lnTo>
                <a:lnTo>
                  <a:pt x="562" y="190"/>
                </a:lnTo>
                <a:lnTo>
                  <a:pt x="561" y="191"/>
                </a:lnTo>
                <a:lnTo>
                  <a:pt x="558" y="194"/>
                </a:lnTo>
                <a:lnTo>
                  <a:pt x="558" y="194"/>
                </a:lnTo>
                <a:lnTo>
                  <a:pt x="561" y="196"/>
                </a:lnTo>
                <a:lnTo>
                  <a:pt x="561" y="196"/>
                </a:lnTo>
                <a:lnTo>
                  <a:pt x="558" y="201"/>
                </a:lnTo>
                <a:lnTo>
                  <a:pt x="558" y="201"/>
                </a:lnTo>
                <a:lnTo>
                  <a:pt x="555" y="209"/>
                </a:lnTo>
                <a:lnTo>
                  <a:pt x="555" y="209"/>
                </a:lnTo>
                <a:lnTo>
                  <a:pt x="552" y="211"/>
                </a:lnTo>
                <a:lnTo>
                  <a:pt x="552" y="211"/>
                </a:lnTo>
                <a:lnTo>
                  <a:pt x="548" y="213"/>
                </a:lnTo>
                <a:lnTo>
                  <a:pt x="548" y="213"/>
                </a:lnTo>
                <a:lnTo>
                  <a:pt x="544" y="213"/>
                </a:lnTo>
                <a:lnTo>
                  <a:pt x="535" y="211"/>
                </a:lnTo>
                <a:lnTo>
                  <a:pt x="535" y="211"/>
                </a:lnTo>
                <a:lnTo>
                  <a:pt x="536" y="211"/>
                </a:lnTo>
                <a:lnTo>
                  <a:pt x="535" y="210"/>
                </a:lnTo>
                <a:lnTo>
                  <a:pt x="535" y="210"/>
                </a:lnTo>
                <a:lnTo>
                  <a:pt x="529" y="210"/>
                </a:lnTo>
                <a:lnTo>
                  <a:pt x="525" y="210"/>
                </a:lnTo>
                <a:lnTo>
                  <a:pt x="521" y="207"/>
                </a:lnTo>
                <a:lnTo>
                  <a:pt x="521" y="207"/>
                </a:lnTo>
                <a:lnTo>
                  <a:pt x="521" y="209"/>
                </a:lnTo>
                <a:lnTo>
                  <a:pt x="519" y="210"/>
                </a:lnTo>
                <a:lnTo>
                  <a:pt x="515" y="210"/>
                </a:lnTo>
                <a:lnTo>
                  <a:pt x="511" y="210"/>
                </a:lnTo>
                <a:lnTo>
                  <a:pt x="507" y="207"/>
                </a:lnTo>
                <a:lnTo>
                  <a:pt x="507" y="207"/>
                </a:lnTo>
                <a:lnTo>
                  <a:pt x="504" y="207"/>
                </a:lnTo>
                <a:lnTo>
                  <a:pt x="501" y="206"/>
                </a:lnTo>
                <a:lnTo>
                  <a:pt x="501" y="206"/>
                </a:lnTo>
                <a:lnTo>
                  <a:pt x="499" y="207"/>
                </a:lnTo>
                <a:lnTo>
                  <a:pt x="501" y="209"/>
                </a:lnTo>
                <a:lnTo>
                  <a:pt x="501" y="209"/>
                </a:lnTo>
                <a:lnTo>
                  <a:pt x="497" y="209"/>
                </a:lnTo>
                <a:lnTo>
                  <a:pt x="497" y="209"/>
                </a:lnTo>
                <a:lnTo>
                  <a:pt x="497" y="207"/>
                </a:lnTo>
                <a:lnTo>
                  <a:pt x="494" y="206"/>
                </a:lnTo>
                <a:lnTo>
                  <a:pt x="494" y="206"/>
                </a:lnTo>
                <a:lnTo>
                  <a:pt x="494" y="207"/>
                </a:lnTo>
                <a:lnTo>
                  <a:pt x="494" y="207"/>
                </a:lnTo>
                <a:lnTo>
                  <a:pt x="491" y="207"/>
                </a:lnTo>
                <a:lnTo>
                  <a:pt x="487" y="206"/>
                </a:lnTo>
                <a:lnTo>
                  <a:pt x="482" y="204"/>
                </a:lnTo>
                <a:lnTo>
                  <a:pt x="482" y="204"/>
                </a:lnTo>
                <a:lnTo>
                  <a:pt x="484" y="207"/>
                </a:lnTo>
                <a:lnTo>
                  <a:pt x="487" y="209"/>
                </a:lnTo>
                <a:lnTo>
                  <a:pt x="489" y="211"/>
                </a:lnTo>
                <a:lnTo>
                  <a:pt x="489" y="211"/>
                </a:lnTo>
                <a:lnTo>
                  <a:pt x="488" y="213"/>
                </a:lnTo>
                <a:lnTo>
                  <a:pt x="488" y="213"/>
                </a:lnTo>
                <a:lnTo>
                  <a:pt x="487" y="211"/>
                </a:lnTo>
                <a:lnTo>
                  <a:pt x="484" y="211"/>
                </a:lnTo>
                <a:lnTo>
                  <a:pt x="478" y="210"/>
                </a:lnTo>
                <a:lnTo>
                  <a:pt x="478" y="210"/>
                </a:lnTo>
                <a:lnTo>
                  <a:pt x="479" y="209"/>
                </a:lnTo>
                <a:lnTo>
                  <a:pt x="481" y="207"/>
                </a:lnTo>
                <a:lnTo>
                  <a:pt x="479" y="207"/>
                </a:lnTo>
                <a:lnTo>
                  <a:pt x="479" y="207"/>
                </a:lnTo>
                <a:lnTo>
                  <a:pt x="478" y="207"/>
                </a:lnTo>
                <a:lnTo>
                  <a:pt x="475" y="207"/>
                </a:lnTo>
                <a:lnTo>
                  <a:pt x="471" y="206"/>
                </a:lnTo>
                <a:lnTo>
                  <a:pt x="471" y="206"/>
                </a:lnTo>
                <a:lnTo>
                  <a:pt x="471" y="209"/>
                </a:lnTo>
                <a:lnTo>
                  <a:pt x="471" y="210"/>
                </a:lnTo>
                <a:lnTo>
                  <a:pt x="471" y="210"/>
                </a:lnTo>
                <a:lnTo>
                  <a:pt x="469" y="209"/>
                </a:lnTo>
                <a:lnTo>
                  <a:pt x="468" y="210"/>
                </a:lnTo>
                <a:lnTo>
                  <a:pt x="467" y="211"/>
                </a:lnTo>
                <a:lnTo>
                  <a:pt x="462" y="210"/>
                </a:lnTo>
                <a:lnTo>
                  <a:pt x="462" y="210"/>
                </a:lnTo>
                <a:lnTo>
                  <a:pt x="467" y="207"/>
                </a:lnTo>
                <a:lnTo>
                  <a:pt x="467" y="203"/>
                </a:lnTo>
                <a:lnTo>
                  <a:pt x="467" y="194"/>
                </a:lnTo>
                <a:lnTo>
                  <a:pt x="467" y="194"/>
                </a:lnTo>
                <a:lnTo>
                  <a:pt x="469" y="194"/>
                </a:lnTo>
                <a:lnTo>
                  <a:pt x="472" y="193"/>
                </a:lnTo>
                <a:lnTo>
                  <a:pt x="477" y="190"/>
                </a:lnTo>
                <a:lnTo>
                  <a:pt x="481" y="187"/>
                </a:lnTo>
                <a:lnTo>
                  <a:pt x="484" y="187"/>
                </a:lnTo>
                <a:lnTo>
                  <a:pt x="488" y="187"/>
                </a:lnTo>
                <a:lnTo>
                  <a:pt x="488" y="187"/>
                </a:lnTo>
                <a:lnTo>
                  <a:pt x="489" y="190"/>
                </a:lnTo>
                <a:lnTo>
                  <a:pt x="489" y="190"/>
                </a:lnTo>
                <a:lnTo>
                  <a:pt x="494" y="190"/>
                </a:lnTo>
                <a:lnTo>
                  <a:pt x="498" y="190"/>
                </a:lnTo>
                <a:lnTo>
                  <a:pt x="498" y="190"/>
                </a:lnTo>
                <a:lnTo>
                  <a:pt x="499" y="189"/>
                </a:lnTo>
                <a:lnTo>
                  <a:pt x="502" y="187"/>
                </a:lnTo>
                <a:lnTo>
                  <a:pt x="512" y="187"/>
                </a:lnTo>
                <a:lnTo>
                  <a:pt x="512" y="187"/>
                </a:lnTo>
                <a:lnTo>
                  <a:pt x="521" y="187"/>
                </a:lnTo>
                <a:lnTo>
                  <a:pt x="521" y="187"/>
                </a:lnTo>
                <a:lnTo>
                  <a:pt x="525" y="186"/>
                </a:lnTo>
                <a:lnTo>
                  <a:pt x="528" y="184"/>
                </a:lnTo>
                <a:lnTo>
                  <a:pt x="528" y="184"/>
                </a:lnTo>
                <a:lnTo>
                  <a:pt x="524" y="181"/>
                </a:lnTo>
                <a:lnTo>
                  <a:pt x="522" y="179"/>
                </a:lnTo>
                <a:lnTo>
                  <a:pt x="524" y="176"/>
                </a:lnTo>
                <a:lnTo>
                  <a:pt x="525" y="174"/>
                </a:lnTo>
                <a:lnTo>
                  <a:pt x="525" y="174"/>
                </a:lnTo>
                <a:lnTo>
                  <a:pt x="522" y="173"/>
                </a:lnTo>
                <a:lnTo>
                  <a:pt x="521" y="170"/>
                </a:lnTo>
                <a:lnTo>
                  <a:pt x="522" y="169"/>
                </a:lnTo>
                <a:lnTo>
                  <a:pt x="524" y="167"/>
                </a:lnTo>
                <a:lnTo>
                  <a:pt x="524" y="167"/>
                </a:lnTo>
                <a:lnTo>
                  <a:pt x="515" y="163"/>
                </a:lnTo>
                <a:lnTo>
                  <a:pt x="511" y="159"/>
                </a:lnTo>
                <a:lnTo>
                  <a:pt x="511" y="159"/>
                </a:lnTo>
                <a:lnTo>
                  <a:pt x="507" y="154"/>
                </a:lnTo>
                <a:lnTo>
                  <a:pt x="504" y="151"/>
                </a:lnTo>
                <a:lnTo>
                  <a:pt x="501" y="150"/>
                </a:lnTo>
                <a:lnTo>
                  <a:pt x="501" y="150"/>
                </a:lnTo>
                <a:lnTo>
                  <a:pt x="502" y="150"/>
                </a:lnTo>
                <a:lnTo>
                  <a:pt x="502" y="149"/>
                </a:lnTo>
                <a:lnTo>
                  <a:pt x="501" y="147"/>
                </a:lnTo>
                <a:lnTo>
                  <a:pt x="501" y="147"/>
                </a:lnTo>
                <a:lnTo>
                  <a:pt x="499" y="147"/>
                </a:lnTo>
                <a:lnTo>
                  <a:pt x="498" y="149"/>
                </a:lnTo>
                <a:lnTo>
                  <a:pt x="497" y="149"/>
                </a:lnTo>
                <a:lnTo>
                  <a:pt x="495" y="147"/>
                </a:lnTo>
                <a:lnTo>
                  <a:pt x="495" y="147"/>
                </a:lnTo>
                <a:lnTo>
                  <a:pt x="494" y="146"/>
                </a:lnTo>
                <a:lnTo>
                  <a:pt x="494" y="146"/>
                </a:lnTo>
                <a:lnTo>
                  <a:pt x="495" y="144"/>
                </a:lnTo>
                <a:lnTo>
                  <a:pt x="495" y="144"/>
                </a:lnTo>
                <a:lnTo>
                  <a:pt x="489" y="142"/>
                </a:lnTo>
                <a:lnTo>
                  <a:pt x="485" y="140"/>
                </a:lnTo>
                <a:lnTo>
                  <a:pt x="478" y="142"/>
                </a:lnTo>
                <a:lnTo>
                  <a:pt x="478" y="142"/>
                </a:lnTo>
                <a:lnTo>
                  <a:pt x="472" y="143"/>
                </a:lnTo>
                <a:lnTo>
                  <a:pt x="468" y="144"/>
                </a:lnTo>
                <a:lnTo>
                  <a:pt x="465" y="143"/>
                </a:lnTo>
                <a:lnTo>
                  <a:pt x="465" y="143"/>
                </a:lnTo>
                <a:lnTo>
                  <a:pt x="465" y="139"/>
                </a:lnTo>
                <a:lnTo>
                  <a:pt x="468" y="134"/>
                </a:lnTo>
                <a:lnTo>
                  <a:pt x="471" y="132"/>
                </a:lnTo>
                <a:lnTo>
                  <a:pt x="475" y="130"/>
                </a:lnTo>
                <a:lnTo>
                  <a:pt x="475" y="130"/>
                </a:lnTo>
                <a:lnTo>
                  <a:pt x="484" y="126"/>
                </a:lnTo>
                <a:lnTo>
                  <a:pt x="484" y="126"/>
                </a:lnTo>
                <a:lnTo>
                  <a:pt x="487" y="123"/>
                </a:lnTo>
                <a:lnTo>
                  <a:pt x="488" y="120"/>
                </a:lnTo>
                <a:lnTo>
                  <a:pt x="488" y="120"/>
                </a:lnTo>
                <a:lnTo>
                  <a:pt x="494" y="123"/>
                </a:lnTo>
                <a:lnTo>
                  <a:pt x="494" y="123"/>
                </a:lnTo>
                <a:lnTo>
                  <a:pt x="497" y="120"/>
                </a:lnTo>
                <a:lnTo>
                  <a:pt x="497" y="117"/>
                </a:lnTo>
                <a:lnTo>
                  <a:pt x="492" y="110"/>
                </a:lnTo>
                <a:lnTo>
                  <a:pt x="492" y="110"/>
                </a:lnTo>
                <a:lnTo>
                  <a:pt x="488" y="103"/>
                </a:lnTo>
                <a:lnTo>
                  <a:pt x="488" y="99"/>
                </a:lnTo>
                <a:lnTo>
                  <a:pt x="489" y="97"/>
                </a:lnTo>
                <a:lnTo>
                  <a:pt x="489" y="97"/>
                </a:lnTo>
                <a:lnTo>
                  <a:pt x="487" y="90"/>
                </a:lnTo>
                <a:lnTo>
                  <a:pt x="485" y="83"/>
                </a:lnTo>
                <a:lnTo>
                  <a:pt x="485" y="83"/>
                </a:lnTo>
                <a:lnTo>
                  <a:pt x="484" y="76"/>
                </a:lnTo>
                <a:lnTo>
                  <a:pt x="485" y="69"/>
                </a:lnTo>
                <a:lnTo>
                  <a:pt x="485" y="69"/>
                </a:lnTo>
                <a:lnTo>
                  <a:pt x="484" y="67"/>
                </a:lnTo>
                <a:lnTo>
                  <a:pt x="484" y="64"/>
                </a:lnTo>
                <a:lnTo>
                  <a:pt x="484" y="60"/>
                </a:lnTo>
                <a:lnTo>
                  <a:pt x="481" y="57"/>
                </a:lnTo>
                <a:lnTo>
                  <a:pt x="481" y="57"/>
                </a:lnTo>
                <a:lnTo>
                  <a:pt x="484" y="53"/>
                </a:lnTo>
                <a:lnTo>
                  <a:pt x="482" y="49"/>
                </a:lnTo>
                <a:lnTo>
                  <a:pt x="478" y="44"/>
                </a:lnTo>
                <a:lnTo>
                  <a:pt x="474" y="42"/>
                </a:lnTo>
                <a:lnTo>
                  <a:pt x="474" y="42"/>
                </a:lnTo>
                <a:lnTo>
                  <a:pt x="461" y="36"/>
                </a:lnTo>
                <a:lnTo>
                  <a:pt x="455" y="33"/>
                </a:lnTo>
                <a:lnTo>
                  <a:pt x="452" y="29"/>
                </a:lnTo>
                <a:lnTo>
                  <a:pt x="452" y="29"/>
                </a:lnTo>
                <a:lnTo>
                  <a:pt x="442" y="29"/>
                </a:lnTo>
                <a:lnTo>
                  <a:pt x="437" y="27"/>
                </a:lnTo>
                <a:lnTo>
                  <a:pt x="431" y="26"/>
                </a:lnTo>
                <a:lnTo>
                  <a:pt x="431" y="26"/>
                </a:lnTo>
                <a:lnTo>
                  <a:pt x="432" y="23"/>
                </a:lnTo>
                <a:lnTo>
                  <a:pt x="432" y="22"/>
                </a:lnTo>
                <a:lnTo>
                  <a:pt x="428" y="22"/>
                </a:lnTo>
                <a:lnTo>
                  <a:pt x="431" y="17"/>
                </a:lnTo>
                <a:lnTo>
                  <a:pt x="431" y="17"/>
                </a:lnTo>
                <a:lnTo>
                  <a:pt x="427" y="14"/>
                </a:lnTo>
                <a:lnTo>
                  <a:pt x="424" y="12"/>
                </a:lnTo>
                <a:lnTo>
                  <a:pt x="422" y="9"/>
                </a:lnTo>
                <a:lnTo>
                  <a:pt x="418" y="9"/>
                </a:lnTo>
                <a:lnTo>
                  <a:pt x="418" y="9"/>
                </a:lnTo>
                <a:lnTo>
                  <a:pt x="417" y="13"/>
                </a:lnTo>
                <a:lnTo>
                  <a:pt x="414" y="16"/>
                </a:lnTo>
                <a:lnTo>
                  <a:pt x="411" y="19"/>
                </a:lnTo>
                <a:lnTo>
                  <a:pt x="408" y="22"/>
                </a:lnTo>
                <a:lnTo>
                  <a:pt x="408" y="22"/>
                </a:lnTo>
                <a:lnTo>
                  <a:pt x="404" y="23"/>
                </a:lnTo>
                <a:lnTo>
                  <a:pt x="404" y="23"/>
                </a:lnTo>
                <a:lnTo>
                  <a:pt x="400" y="23"/>
                </a:lnTo>
                <a:lnTo>
                  <a:pt x="400" y="23"/>
                </a:lnTo>
                <a:lnTo>
                  <a:pt x="390" y="22"/>
                </a:lnTo>
                <a:lnTo>
                  <a:pt x="390" y="22"/>
                </a:lnTo>
                <a:lnTo>
                  <a:pt x="390" y="20"/>
                </a:lnTo>
                <a:lnTo>
                  <a:pt x="388" y="19"/>
                </a:lnTo>
                <a:lnTo>
                  <a:pt x="388" y="19"/>
                </a:lnTo>
                <a:lnTo>
                  <a:pt x="388" y="17"/>
                </a:lnTo>
                <a:lnTo>
                  <a:pt x="388" y="17"/>
                </a:lnTo>
                <a:lnTo>
                  <a:pt x="385" y="14"/>
                </a:lnTo>
                <a:lnTo>
                  <a:pt x="382" y="16"/>
                </a:lnTo>
                <a:lnTo>
                  <a:pt x="380" y="17"/>
                </a:lnTo>
                <a:lnTo>
                  <a:pt x="377" y="16"/>
                </a:lnTo>
                <a:lnTo>
                  <a:pt x="377" y="16"/>
                </a:lnTo>
                <a:lnTo>
                  <a:pt x="380" y="14"/>
                </a:lnTo>
                <a:lnTo>
                  <a:pt x="382" y="14"/>
                </a:lnTo>
                <a:lnTo>
                  <a:pt x="390" y="14"/>
                </a:lnTo>
                <a:lnTo>
                  <a:pt x="395" y="14"/>
                </a:lnTo>
                <a:lnTo>
                  <a:pt x="401" y="13"/>
                </a:lnTo>
                <a:lnTo>
                  <a:pt x="401" y="13"/>
                </a:lnTo>
                <a:lnTo>
                  <a:pt x="400" y="12"/>
                </a:lnTo>
                <a:lnTo>
                  <a:pt x="398" y="10"/>
                </a:lnTo>
                <a:lnTo>
                  <a:pt x="397" y="9"/>
                </a:lnTo>
                <a:lnTo>
                  <a:pt x="395" y="7"/>
                </a:lnTo>
                <a:lnTo>
                  <a:pt x="395" y="7"/>
                </a:lnTo>
                <a:lnTo>
                  <a:pt x="395" y="9"/>
                </a:lnTo>
                <a:lnTo>
                  <a:pt x="394" y="12"/>
                </a:lnTo>
                <a:lnTo>
                  <a:pt x="394" y="12"/>
                </a:lnTo>
                <a:lnTo>
                  <a:pt x="392" y="10"/>
                </a:lnTo>
                <a:lnTo>
                  <a:pt x="391" y="10"/>
                </a:lnTo>
                <a:lnTo>
                  <a:pt x="388" y="9"/>
                </a:lnTo>
                <a:lnTo>
                  <a:pt x="385" y="9"/>
                </a:lnTo>
                <a:lnTo>
                  <a:pt x="385" y="9"/>
                </a:lnTo>
                <a:lnTo>
                  <a:pt x="382" y="10"/>
                </a:lnTo>
                <a:lnTo>
                  <a:pt x="381" y="12"/>
                </a:lnTo>
                <a:lnTo>
                  <a:pt x="378" y="12"/>
                </a:lnTo>
                <a:lnTo>
                  <a:pt x="375" y="13"/>
                </a:lnTo>
                <a:lnTo>
                  <a:pt x="375" y="13"/>
                </a:lnTo>
                <a:lnTo>
                  <a:pt x="377" y="16"/>
                </a:lnTo>
                <a:lnTo>
                  <a:pt x="375" y="19"/>
                </a:lnTo>
                <a:lnTo>
                  <a:pt x="374" y="22"/>
                </a:lnTo>
                <a:lnTo>
                  <a:pt x="371" y="22"/>
                </a:lnTo>
                <a:lnTo>
                  <a:pt x="371" y="22"/>
                </a:lnTo>
                <a:lnTo>
                  <a:pt x="372" y="19"/>
                </a:lnTo>
                <a:lnTo>
                  <a:pt x="371" y="19"/>
                </a:lnTo>
                <a:lnTo>
                  <a:pt x="370" y="17"/>
                </a:lnTo>
                <a:lnTo>
                  <a:pt x="368" y="17"/>
                </a:lnTo>
                <a:lnTo>
                  <a:pt x="368" y="14"/>
                </a:lnTo>
                <a:lnTo>
                  <a:pt x="368" y="14"/>
                </a:lnTo>
                <a:lnTo>
                  <a:pt x="358" y="23"/>
                </a:lnTo>
                <a:lnTo>
                  <a:pt x="355" y="26"/>
                </a:lnTo>
                <a:lnTo>
                  <a:pt x="352" y="29"/>
                </a:lnTo>
                <a:lnTo>
                  <a:pt x="352" y="29"/>
                </a:lnTo>
                <a:lnTo>
                  <a:pt x="352" y="26"/>
                </a:lnTo>
                <a:lnTo>
                  <a:pt x="351" y="22"/>
                </a:lnTo>
                <a:lnTo>
                  <a:pt x="350" y="19"/>
                </a:lnTo>
                <a:lnTo>
                  <a:pt x="345" y="16"/>
                </a:lnTo>
                <a:lnTo>
                  <a:pt x="345" y="16"/>
                </a:lnTo>
                <a:lnTo>
                  <a:pt x="344" y="17"/>
                </a:lnTo>
                <a:lnTo>
                  <a:pt x="342" y="17"/>
                </a:lnTo>
                <a:lnTo>
                  <a:pt x="340" y="16"/>
                </a:lnTo>
                <a:lnTo>
                  <a:pt x="340" y="16"/>
                </a:lnTo>
                <a:lnTo>
                  <a:pt x="335" y="20"/>
                </a:lnTo>
                <a:lnTo>
                  <a:pt x="330" y="23"/>
                </a:lnTo>
                <a:lnTo>
                  <a:pt x="318" y="29"/>
                </a:lnTo>
                <a:lnTo>
                  <a:pt x="318" y="29"/>
                </a:lnTo>
                <a:lnTo>
                  <a:pt x="308" y="34"/>
                </a:lnTo>
                <a:lnTo>
                  <a:pt x="303" y="39"/>
                </a:lnTo>
                <a:lnTo>
                  <a:pt x="298" y="44"/>
                </a:lnTo>
                <a:lnTo>
                  <a:pt x="298" y="44"/>
                </a:lnTo>
                <a:lnTo>
                  <a:pt x="297" y="40"/>
                </a:lnTo>
                <a:lnTo>
                  <a:pt x="297" y="37"/>
                </a:lnTo>
                <a:lnTo>
                  <a:pt x="300" y="30"/>
                </a:lnTo>
                <a:lnTo>
                  <a:pt x="300" y="30"/>
                </a:lnTo>
                <a:lnTo>
                  <a:pt x="304" y="22"/>
                </a:lnTo>
                <a:lnTo>
                  <a:pt x="304" y="22"/>
                </a:lnTo>
                <a:lnTo>
                  <a:pt x="305" y="17"/>
                </a:lnTo>
                <a:lnTo>
                  <a:pt x="305" y="17"/>
                </a:lnTo>
                <a:lnTo>
                  <a:pt x="308" y="13"/>
                </a:lnTo>
                <a:lnTo>
                  <a:pt x="308" y="13"/>
                </a:lnTo>
                <a:lnTo>
                  <a:pt x="304" y="6"/>
                </a:lnTo>
                <a:lnTo>
                  <a:pt x="301" y="3"/>
                </a:lnTo>
                <a:lnTo>
                  <a:pt x="297" y="0"/>
                </a:lnTo>
                <a:lnTo>
                  <a:pt x="297" y="0"/>
                </a:lnTo>
                <a:lnTo>
                  <a:pt x="294" y="4"/>
                </a:lnTo>
                <a:lnTo>
                  <a:pt x="290" y="10"/>
                </a:lnTo>
                <a:lnTo>
                  <a:pt x="290" y="10"/>
                </a:lnTo>
                <a:lnTo>
                  <a:pt x="281" y="20"/>
                </a:lnTo>
                <a:lnTo>
                  <a:pt x="281" y="20"/>
                </a:lnTo>
                <a:lnTo>
                  <a:pt x="277" y="24"/>
                </a:lnTo>
                <a:lnTo>
                  <a:pt x="274" y="32"/>
                </a:lnTo>
                <a:lnTo>
                  <a:pt x="274" y="32"/>
                </a:lnTo>
                <a:lnTo>
                  <a:pt x="271" y="37"/>
                </a:lnTo>
                <a:lnTo>
                  <a:pt x="271" y="44"/>
                </a:lnTo>
                <a:lnTo>
                  <a:pt x="271" y="44"/>
                </a:lnTo>
                <a:lnTo>
                  <a:pt x="267" y="47"/>
                </a:lnTo>
                <a:lnTo>
                  <a:pt x="264" y="52"/>
                </a:lnTo>
                <a:lnTo>
                  <a:pt x="264" y="52"/>
                </a:lnTo>
                <a:lnTo>
                  <a:pt x="261" y="57"/>
                </a:lnTo>
                <a:lnTo>
                  <a:pt x="261" y="57"/>
                </a:lnTo>
                <a:lnTo>
                  <a:pt x="260" y="63"/>
                </a:lnTo>
                <a:lnTo>
                  <a:pt x="260" y="63"/>
                </a:lnTo>
                <a:lnTo>
                  <a:pt x="257" y="77"/>
                </a:lnTo>
                <a:lnTo>
                  <a:pt x="257" y="77"/>
                </a:lnTo>
                <a:lnTo>
                  <a:pt x="255" y="84"/>
                </a:lnTo>
                <a:lnTo>
                  <a:pt x="255" y="84"/>
                </a:lnTo>
                <a:lnTo>
                  <a:pt x="253" y="90"/>
                </a:lnTo>
                <a:lnTo>
                  <a:pt x="253" y="90"/>
                </a:lnTo>
                <a:lnTo>
                  <a:pt x="250" y="96"/>
                </a:lnTo>
                <a:lnTo>
                  <a:pt x="248" y="103"/>
                </a:lnTo>
                <a:lnTo>
                  <a:pt x="248" y="110"/>
                </a:lnTo>
                <a:lnTo>
                  <a:pt x="250" y="114"/>
                </a:lnTo>
                <a:lnTo>
                  <a:pt x="253" y="117"/>
                </a:lnTo>
                <a:lnTo>
                  <a:pt x="253" y="117"/>
                </a:lnTo>
                <a:lnTo>
                  <a:pt x="248" y="132"/>
                </a:lnTo>
                <a:lnTo>
                  <a:pt x="244" y="147"/>
                </a:lnTo>
                <a:lnTo>
                  <a:pt x="238" y="181"/>
                </a:lnTo>
                <a:lnTo>
                  <a:pt x="238" y="181"/>
                </a:lnTo>
                <a:lnTo>
                  <a:pt x="237" y="181"/>
                </a:lnTo>
                <a:lnTo>
                  <a:pt x="234" y="180"/>
                </a:lnTo>
                <a:lnTo>
                  <a:pt x="233" y="180"/>
                </a:lnTo>
                <a:lnTo>
                  <a:pt x="233" y="181"/>
                </a:lnTo>
                <a:lnTo>
                  <a:pt x="233" y="181"/>
                </a:lnTo>
                <a:lnTo>
                  <a:pt x="234" y="186"/>
                </a:lnTo>
                <a:lnTo>
                  <a:pt x="236" y="190"/>
                </a:lnTo>
                <a:lnTo>
                  <a:pt x="234" y="199"/>
                </a:lnTo>
                <a:lnTo>
                  <a:pt x="234" y="199"/>
                </a:lnTo>
                <a:lnTo>
                  <a:pt x="234" y="207"/>
                </a:lnTo>
                <a:lnTo>
                  <a:pt x="234" y="210"/>
                </a:lnTo>
                <a:lnTo>
                  <a:pt x="234" y="214"/>
                </a:lnTo>
                <a:lnTo>
                  <a:pt x="234" y="214"/>
                </a:lnTo>
                <a:lnTo>
                  <a:pt x="238" y="197"/>
                </a:lnTo>
                <a:lnTo>
                  <a:pt x="238" y="197"/>
                </a:lnTo>
                <a:lnTo>
                  <a:pt x="244" y="181"/>
                </a:lnTo>
                <a:lnTo>
                  <a:pt x="244" y="181"/>
                </a:lnTo>
                <a:lnTo>
                  <a:pt x="254" y="149"/>
                </a:lnTo>
                <a:lnTo>
                  <a:pt x="254" y="149"/>
                </a:lnTo>
                <a:lnTo>
                  <a:pt x="257" y="149"/>
                </a:lnTo>
                <a:lnTo>
                  <a:pt x="260" y="147"/>
                </a:lnTo>
                <a:lnTo>
                  <a:pt x="260" y="147"/>
                </a:lnTo>
                <a:lnTo>
                  <a:pt x="258" y="153"/>
                </a:lnTo>
                <a:lnTo>
                  <a:pt x="258" y="159"/>
                </a:lnTo>
                <a:lnTo>
                  <a:pt x="261" y="170"/>
                </a:lnTo>
                <a:lnTo>
                  <a:pt x="261" y="170"/>
                </a:lnTo>
                <a:lnTo>
                  <a:pt x="263" y="179"/>
                </a:lnTo>
                <a:lnTo>
                  <a:pt x="263" y="180"/>
                </a:lnTo>
                <a:lnTo>
                  <a:pt x="260" y="180"/>
                </a:lnTo>
                <a:lnTo>
                  <a:pt x="260" y="180"/>
                </a:lnTo>
                <a:lnTo>
                  <a:pt x="258" y="181"/>
                </a:lnTo>
                <a:lnTo>
                  <a:pt x="257" y="184"/>
                </a:lnTo>
                <a:lnTo>
                  <a:pt x="254" y="187"/>
                </a:lnTo>
                <a:lnTo>
                  <a:pt x="253" y="191"/>
                </a:lnTo>
                <a:lnTo>
                  <a:pt x="253" y="191"/>
                </a:lnTo>
                <a:lnTo>
                  <a:pt x="257" y="193"/>
                </a:lnTo>
                <a:lnTo>
                  <a:pt x="258" y="196"/>
                </a:lnTo>
                <a:lnTo>
                  <a:pt x="258" y="199"/>
                </a:lnTo>
                <a:lnTo>
                  <a:pt x="257" y="201"/>
                </a:lnTo>
                <a:lnTo>
                  <a:pt x="257" y="201"/>
                </a:lnTo>
                <a:lnTo>
                  <a:pt x="253" y="207"/>
                </a:lnTo>
                <a:lnTo>
                  <a:pt x="251" y="210"/>
                </a:lnTo>
                <a:lnTo>
                  <a:pt x="251" y="214"/>
                </a:lnTo>
                <a:lnTo>
                  <a:pt x="251" y="214"/>
                </a:lnTo>
                <a:lnTo>
                  <a:pt x="253" y="214"/>
                </a:lnTo>
                <a:lnTo>
                  <a:pt x="253" y="217"/>
                </a:lnTo>
                <a:lnTo>
                  <a:pt x="254" y="219"/>
                </a:lnTo>
                <a:lnTo>
                  <a:pt x="257" y="219"/>
                </a:lnTo>
                <a:lnTo>
                  <a:pt x="257" y="219"/>
                </a:lnTo>
                <a:lnTo>
                  <a:pt x="260" y="219"/>
                </a:lnTo>
                <a:lnTo>
                  <a:pt x="261" y="217"/>
                </a:lnTo>
                <a:lnTo>
                  <a:pt x="264" y="216"/>
                </a:lnTo>
                <a:lnTo>
                  <a:pt x="267" y="216"/>
                </a:lnTo>
                <a:lnTo>
                  <a:pt x="267" y="216"/>
                </a:lnTo>
                <a:lnTo>
                  <a:pt x="270" y="219"/>
                </a:lnTo>
                <a:lnTo>
                  <a:pt x="271" y="223"/>
                </a:lnTo>
                <a:lnTo>
                  <a:pt x="271" y="226"/>
                </a:lnTo>
                <a:lnTo>
                  <a:pt x="270" y="229"/>
                </a:lnTo>
                <a:lnTo>
                  <a:pt x="270" y="229"/>
                </a:lnTo>
                <a:lnTo>
                  <a:pt x="268" y="236"/>
                </a:lnTo>
                <a:lnTo>
                  <a:pt x="267" y="244"/>
                </a:lnTo>
                <a:lnTo>
                  <a:pt x="267" y="244"/>
                </a:lnTo>
                <a:lnTo>
                  <a:pt x="264" y="246"/>
                </a:lnTo>
                <a:lnTo>
                  <a:pt x="263" y="244"/>
                </a:lnTo>
                <a:lnTo>
                  <a:pt x="263" y="244"/>
                </a:lnTo>
                <a:lnTo>
                  <a:pt x="264" y="251"/>
                </a:lnTo>
                <a:lnTo>
                  <a:pt x="263" y="254"/>
                </a:lnTo>
                <a:lnTo>
                  <a:pt x="260" y="256"/>
                </a:lnTo>
                <a:lnTo>
                  <a:pt x="258" y="256"/>
                </a:lnTo>
                <a:lnTo>
                  <a:pt x="258" y="256"/>
                </a:lnTo>
                <a:lnTo>
                  <a:pt x="257" y="251"/>
                </a:lnTo>
                <a:lnTo>
                  <a:pt x="258" y="251"/>
                </a:lnTo>
                <a:lnTo>
                  <a:pt x="258" y="251"/>
                </a:lnTo>
                <a:lnTo>
                  <a:pt x="260" y="249"/>
                </a:lnTo>
                <a:lnTo>
                  <a:pt x="260" y="249"/>
                </a:lnTo>
                <a:lnTo>
                  <a:pt x="257" y="247"/>
                </a:lnTo>
                <a:lnTo>
                  <a:pt x="254" y="247"/>
                </a:lnTo>
                <a:lnTo>
                  <a:pt x="251" y="250"/>
                </a:lnTo>
                <a:lnTo>
                  <a:pt x="248" y="251"/>
                </a:lnTo>
                <a:lnTo>
                  <a:pt x="248" y="251"/>
                </a:lnTo>
                <a:lnTo>
                  <a:pt x="245" y="249"/>
                </a:lnTo>
                <a:lnTo>
                  <a:pt x="243" y="247"/>
                </a:lnTo>
                <a:lnTo>
                  <a:pt x="238" y="244"/>
                </a:lnTo>
                <a:lnTo>
                  <a:pt x="237" y="241"/>
                </a:lnTo>
                <a:lnTo>
                  <a:pt x="237" y="241"/>
                </a:lnTo>
                <a:lnTo>
                  <a:pt x="236" y="244"/>
                </a:lnTo>
                <a:lnTo>
                  <a:pt x="233" y="246"/>
                </a:lnTo>
                <a:lnTo>
                  <a:pt x="233" y="246"/>
                </a:lnTo>
                <a:lnTo>
                  <a:pt x="231" y="244"/>
                </a:lnTo>
                <a:lnTo>
                  <a:pt x="230" y="243"/>
                </a:lnTo>
                <a:lnTo>
                  <a:pt x="228" y="241"/>
                </a:lnTo>
                <a:lnTo>
                  <a:pt x="226" y="240"/>
                </a:lnTo>
                <a:lnTo>
                  <a:pt x="226" y="240"/>
                </a:lnTo>
                <a:lnTo>
                  <a:pt x="227" y="244"/>
                </a:lnTo>
                <a:lnTo>
                  <a:pt x="226" y="249"/>
                </a:lnTo>
                <a:lnTo>
                  <a:pt x="226" y="249"/>
                </a:lnTo>
                <a:lnTo>
                  <a:pt x="224" y="253"/>
                </a:lnTo>
                <a:lnTo>
                  <a:pt x="221" y="257"/>
                </a:lnTo>
                <a:lnTo>
                  <a:pt x="221" y="257"/>
                </a:lnTo>
                <a:lnTo>
                  <a:pt x="224" y="259"/>
                </a:lnTo>
                <a:lnTo>
                  <a:pt x="226" y="260"/>
                </a:lnTo>
                <a:lnTo>
                  <a:pt x="227" y="263"/>
                </a:lnTo>
                <a:lnTo>
                  <a:pt x="226" y="266"/>
                </a:lnTo>
                <a:lnTo>
                  <a:pt x="226" y="269"/>
                </a:lnTo>
                <a:lnTo>
                  <a:pt x="226" y="269"/>
                </a:lnTo>
                <a:lnTo>
                  <a:pt x="223" y="267"/>
                </a:lnTo>
                <a:lnTo>
                  <a:pt x="221" y="264"/>
                </a:lnTo>
                <a:lnTo>
                  <a:pt x="221" y="261"/>
                </a:lnTo>
                <a:lnTo>
                  <a:pt x="223" y="259"/>
                </a:lnTo>
                <a:lnTo>
                  <a:pt x="223" y="259"/>
                </a:lnTo>
                <a:lnTo>
                  <a:pt x="220" y="259"/>
                </a:lnTo>
                <a:lnTo>
                  <a:pt x="218" y="257"/>
                </a:lnTo>
                <a:lnTo>
                  <a:pt x="217" y="254"/>
                </a:lnTo>
                <a:lnTo>
                  <a:pt x="217" y="254"/>
                </a:lnTo>
                <a:lnTo>
                  <a:pt x="216" y="254"/>
                </a:lnTo>
                <a:lnTo>
                  <a:pt x="216" y="254"/>
                </a:lnTo>
                <a:lnTo>
                  <a:pt x="216" y="257"/>
                </a:lnTo>
                <a:lnTo>
                  <a:pt x="216" y="260"/>
                </a:lnTo>
                <a:lnTo>
                  <a:pt x="220" y="269"/>
                </a:lnTo>
                <a:lnTo>
                  <a:pt x="220" y="269"/>
                </a:lnTo>
                <a:lnTo>
                  <a:pt x="221" y="273"/>
                </a:lnTo>
                <a:lnTo>
                  <a:pt x="221" y="277"/>
                </a:lnTo>
                <a:lnTo>
                  <a:pt x="221" y="277"/>
                </a:lnTo>
                <a:lnTo>
                  <a:pt x="220" y="280"/>
                </a:lnTo>
                <a:lnTo>
                  <a:pt x="217" y="283"/>
                </a:lnTo>
                <a:lnTo>
                  <a:pt x="217" y="283"/>
                </a:lnTo>
                <a:lnTo>
                  <a:pt x="217" y="274"/>
                </a:lnTo>
                <a:lnTo>
                  <a:pt x="214" y="270"/>
                </a:lnTo>
                <a:lnTo>
                  <a:pt x="214" y="270"/>
                </a:lnTo>
                <a:lnTo>
                  <a:pt x="211" y="264"/>
                </a:lnTo>
                <a:lnTo>
                  <a:pt x="208" y="260"/>
                </a:lnTo>
                <a:lnTo>
                  <a:pt x="208" y="260"/>
                </a:lnTo>
                <a:lnTo>
                  <a:pt x="201" y="259"/>
                </a:lnTo>
                <a:lnTo>
                  <a:pt x="197" y="259"/>
                </a:lnTo>
                <a:lnTo>
                  <a:pt x="194" y="261"/>
                </a:lnTo>
                <a:lnTo>
                  <a:pt x="191" y="264"/>
                </a:lnTo>
                <a:lnTo>
                  <a:pt x="191" y="264"/>
                </a:lnTo>
                <a:lnTo>
                  <a:pt x="188" y="273"/>
                </a:lnTo>
                <a:lnTo>
                  <a:pt x="187" y="276"/>
                </a:lnTo>
                <a:lnTo>
                  <a:pt x="184" y="280"/>
                </a:lnTo>
                <a:lnTo>
                  <a:pt x="184" y="280"/>
                </a:lnTo>
                <a:lnTo>
                  <a:pt x="184" y="290"/>
                </a:lnTo>
                <a:lnTo>
                  <a:pt x="183" y="303"/>
                </a:lnTo>
                <a:lnTo>
                  <a:pt x="183" y="303"/>
                </a:lnTo>
                <a:lnTo>
                  <a:pt x="181" y="313"/>
                </a:lnTo>
                <a:lnTo>
                  <a:pt x="181" y="318"/>
                </a:lnTo>
                <a:lnTo>
                  <a:pt x="183" y="323"/>
                </a:lnTo>
                <a:lnTo>
                  <a:pt x="183" y="323"/>
                </a:lnTo>
                <a:lnTo>
                  <a:pt x="184" y="317"/>
                </a:lnTo>
                <a:lnTo>
                  <a:pt x="184" y="313"/>
                </a:lnTo>
                <a:lnTo>
                  <a:pt x="186" y="308"/>
                </a:lnTo>
                <a:lnTo>
                  <a:pt x="188" y="307"/>
                </a:lnTo>
                <a:lnTo>
                  <a:pt x="190" y="306"/>
                </a:lnTo>
                <a:lnTo>
                  <a:pt x="190" y="306"/>
                </a:lnTo>
                <a:lnTo>
                  <a:pt x="193" y="307"/>
                </a:lnTo>
                <a:lnTo>
                  <a:pt x="193" y="308"/>
                </a:lnTo>
                <a:lnTo>
                  <a:pt x="193" y="311"/>
                </a:lnTo>
                <a:lnTo>
                  <a:pt x="191" y="314"/>
                </a:lnTo>
                <a:lnTo>
                  <a:pt x="193" y="316"/>
                </a:lnTo>
                <a:lnTo>
                  <a:pt x="194" y="316"/>
                </a:lnTo>
                <a:lnTo>
                  <a:pt x="194" y="316"/>
                </a:lnTo>
                <a:lnTo>
                  <a:pt x="194" y="311"/>
                </a:lnTo>
                <a:lnTo>
                  <a:pt x="194" y="308"/>
                </a:lnTo>
                <a:lnTo>
                  <a:pt x="196" y="306"/>
                </a:lnTo>
                <a:lnTo>
                  <a:pt x="198" y="304"/>
                </a:lnTo>
                <a:lnTo>
                  <a:pt x="198" y="304"/>
                </a:lnTo>
                <a:lnTo>
                  <a:pt x="198" y="306"/>
                </a:lnTo>
                <a:lnTo>
                  <a:pt x="200" y="306"/>
                </a:lnTo>
                <a:lnTo>
                  <a:pt x="201" y="307"/>
                </a:lnTo>
                <a:lnTo>
                  <a:pt x="201" y="307"/>
                </a:lnTo>
                <a:lnTo>
                  <a:pt x="200" y="311"/>
                </a:lnTo>
                <a:lnTo>
                  <a:pt x="197" y="316"/>
                </a:lnTo>
                <a:lnTo>
                  <a:pt x="194" y="318"/>
                </a:lnTo>
                <a:lnTo>
                  <a:pt x="191" y="318"/>
                </a:lnTo>
                <a:lnTo>
                  <a:pt x="191" y="318"/>
                </a:lnTo>
                <a:lnTo>
                  <a:pt x="193" y="320"/>
                </a:lnTo>
                <a:lnTo>
                  <a:pt x="191" y="321"/>
                </a:lnTo>
                <a:lnTo>
                  <a:pt x="190" y="323"/>
                </a:lnTo>
                <a:lnTo>
                  <a:pt x="193" y="323"/>
                </a:lnTo>
                <a:lnTo>
                  <a:pt x="193" y="323"/>
                </a:lnTo>
                <a:lnTo>
                  <a:pt x="194" y="321"/>
                </a:lnTo>
                <a:lnTo>
                  <a:pt x="196" y="321"/>
                </a:lnTo>
                <a:lnTo>
                  <a:pt x="200" y="320"/>
                </a:lnTo>
                <a:lnTo>
                  <a:pt x="200" y="320"/>
                </a:lnTo>
                <a:lnTo>
                  <a:pt x="200" y="316"/>
                </a:lnTo>
                <a:lnTo>
                  <a:pt x="201" y="311"/>
                </a:lnTo>
                <a:lnTo>
                  <a:pt x="204" y="308"/>
                </a:lnTo>
                <a:lnTo>
                  <a:pt x="208" y="307"/>
                </a:lnTo>
                <a:lnTo>
                  <a:pt x="208" y="307"/>
                </a:lnTo>
                <a:lnTo>
                  <a:pt x="210" y="311"/>
                </a:lnTo>
                <a:lnTo>
                  <a:pt x="211" y="314"/>
                </a:lnTo>
                <a:lnTo>
                  <a:pt x="213" y="321"/>
                </a:lnTo>
                <a:lnTo>
                  <a:pt x="213" y="321"/>
                </a:lnTo>
                <a:lnTo>
                  <a:pt x="214" y="328"/>
                </a:lnTo>
                <a:lnTo>
                  <a:pt x="216" y="331"/>
                </a:lnTo>
                <a:lnTo>
                  <a:pt x="218" y="334"/>
                </a:lnTo>
                <a:lnTo>
                  <a:pt x="218" y="334"/>
                </a:lnTo>
                <a:lnTo>
                  <a:pt x="216" y="336"/>
                </a:lnTo>
                <a:lnTo>
                  <a:pt x="214" y="340"/>
                </a:lnTo>
                <a:lnTo>
                  <a:pt x="214" y="344"/>
                </a:lnTo>
                <a:lnTo>
                  <a:pt x="216" y="347"/>
                </a:lnTo>
                <a:lnTo>
                  <a:pt x="216" y="347"/>
                </a:lnTo>
                <a:lnTo>
                  <a:pt x="216" y="346"/>
                </a:lnTo>
                <a:lnTo>
                  <a:pt x="217" y="344"/>
                </a:lnTo>
                <a:lnTo>
                  <a:pt x="221" y="344"/>
                </a:lnTo>
                <a:lnTo>
                  <a:pt x="221" y="344"/>
                </a:lnTo>
                <a:lnTo>
                  <a:pt x="218" y="358"/>
                </a:lnTo>
                <a:lnTo>
                  <a:pt x="217" y="370"/>
                </a:lnTo>
                <a:lnTo>
                  <a:pt x="217" y="370"/>
                </a:lnTo>
                <a:lnTo>
                  <a:pt x="217" y="383"/>
                </a:lnTo>
                <a:lnTo>
                  <a:pt x="217" y="383"/>
                </a:lnTo>
                <a:lnTo>
                  <a:pt x="218" y="396"/>
                </a:lnTo>
                <a:lnTo>
                  <a:pt x="218" y="396"/>
                </a:lnTo>
                <a:lnTo>
                  <a:pt x="216" y="393"/>
                </a:lnTo>
                <a:lnTo>
                  <a:pt x="214" y="390"/>
                </a:lnTo>
                <a:lnTo>
                  <a:pt x="213" y="386"/>
                </a:lnTo>
                <a:lnTo>
                  <a:pt x="211" y="381"/>
                </a:lnTo>
                <a:lnTo>
                  <a:pt x="211" y="381"/>
                </a:lnTo>
                <a:lnTo>
                  <a:pt x="208" y="387"/>
                </a:lnTo>
                <a:lnTo>
                  <a:pt x="207" y="390"/>
                </a:lnTo>
                <a:lnTo>
                  <a:pt x="206" y="391"/>
                </a:lnTo>
                <a:lnTo>
                  <a:pt x="206" y="391"/>
                </a:lnTo>
                <a:lnTo>
                  <a:pt x="200" y="386"/>
                </a:lnTo>
                <a:lnTo>
                  <a:pt x="196" y="384"/>
                </a:lnTo>
                <a:lnTo>
                  <a:pt x="193" y="384"/>
                </a:lnTo>
                <a:lnTo>
                  <a:pt x="193" y="384"/>
                </a:lnTo>
                <a:lnTo>
                  <a:pt x="190" y="378"/>
                </a:lnTo>
                <a:lnTo>
                  <a:pt x="188" y="374"/>
                </a:lnTo>
                <a:lnTo>
                  <a:pt x="187" y="368"/>
                </a:lnTo>
                <a:lnTo>
                  <a:pt x="187" y="363"/>
                </a:lnTo>
                <a:lnTo>
                  <a:pt x="187" y="363"/>
                </a:lnTo>
                <a:lnTo>
                  <a:pt x="184" y="366"/>
                </a:lnTo>
                <a:lnTo>
                  <a:pt x="184" y="370"/>
                </a:lnTo>
                <a:lnTo>
                  <a:pt x="187" y="377"/>
                </a:lnTo>
                <a:lnTo>
                  <a:pt x="187" y="377"/>
                </a:lnTo>
                <a:lnTo>
                  <a:pt x="186" y="378"/>
                </a:lnTo>
                <a:lnTo>
                  <a:pt x="184" y="380"/>
                </a:lnTo>
                <a:lnTo>
                  <a:pt x="184" y="380"/>
                </a:lnTo>
                <a:lnTo>
                  <a:pt x="177" y="377"/>
                </a:lnTo>
                <a:lnTo>
                  <a:pt x="171" y="377"/>
                </a:lnTo>
                <a:lnTo>
                  <a:pt x="164" y="378"/>
                </a:lnTo>
                <a:lnTo>
                  <a:pt x="156" y="381"/>
                </a:lnTo>
                <a:lnTo>
                  <a:pt x="156" y="381"/>
                </a:lnTo>
                <a:lnTo>
                  <a:pt x="153" y="370"/>
                </a:lnTo>
                <a:lnTo>
                  <a:pt x="153" y="370"/>
                </a:lnTo>
                <a:lnTo>
                  <a:pt x="151" y="358"/>
                </a:lnTo>
                <a:lnTo>
                  <a:pt x="151" y="358"/>
                </a:lnTo>
                <a:lnTo>
                  <a:pt x="151" y="347"/>
                </a:lnTo>
                <a:lnTo>
                  <a:pt x="153" y="336"/>
                </a:lnTo>
                <a:lnTo>
                  <a:pt x="153" y="336"/>
                </a:lnTo>
                <a:lnTo>
                  <a:pt x="156" y="313"/>
                </a:lnTo>
                <a:lnTo>
                  <a:pt x="156" y="313"/>
                </a:lnTo>
                <a:lnTo>
                  <a:pt x="154" y="301"/>
                </a:lnTo>
                <a:lnTo>
                  <a:pt x="154" y="301"/>
                </a:lnTo>
                <a:lnTo>
                  <a:pt x="153" y="290"/>
                </a:lnTo>
                <a:lnTo>
                  <a:pt x="153" y="290"/>
                </a:lnTo>
                <a:lnTo>
                  <a:pt x="156" y="281"/>
                </a:lnTo>
                <a:lnTo>
                  <a:pt x="158" y="271"/>
                </a:lnTo>
                <a:lnTo>
                  <a:pt x="158" y="271"/>
                </a:lnTo>
                <a:lnTo>
                  <a:pt x="161" y="261"/>
                </a:lnTo>
                <a:lnTo>
                  <a:pt x="163" y="256"/>
                </a:lnTo>
                <a:lnTo>
                  <a:pt x="163" y="250"/>
                </a:lnTo>
                <a:lnTo>
                  <a:pt x="163" y="250"/>
                </a:lnTo>
                <a:lnTo>
                  <a:pt x="166" y="250"/>
                </a:lnTo>
                <a:lnTo>
                  <a:pt x="167" y="249"/>
                </a:lnTo>
                <a:lnTo>
                  <a:pt x="168" y="249"/>
                </a:lnTo>
                <a:lnTo>
                  <a:pt x="171" y="249"/>
                </a:lnTo>
                <a:lnTo>
                  <a:pt x="171" y="249"/>
                </a:lnTo>
                <a:lnTo>
                  <a:pt x="170" y="243"/>
                </a:lnTo>
                <a:lnTo>
                  <a:pt x="170" y="243"/>
                </a:lnTo>
                <a:lnTo>
                  <a:pt x="170" y="239"/>
                </a:lnTo>
                <a:lnTo>
                  <a:pt x="170" y="239"/>
                </a:lnTo>
                <a:lnTo>
                  <a:pt x="173" y="230"/>
                </a:lnTo>
                <a:lnTo>
                  <a:pt x="173" y="230"/>
                </a:lnTo>
                <a:lnTo>
                  <a:pt x="177" y="221"/>
                </a:lnTo>
                <a:lnTo>
                  <a:pt x="181" y="214"/>
                </a:lnTo>
                <a:lnTo>
                  <a:pt x="181" y="214"/>
                </a:lnTo>
                <a:lnTo>
                  <a:pt x="178" y="213"/>
                </a:lnTo>
                <a:lnTo>
                  <a:pt x="177" y="211"/>
                </a:lnTo>
                <a:lnTo>
                  <a:pt x="180" y="206"/>
                </a:lnTo>
                <a:lnTo>
                  <a:pt x="180" y="206"/>
                </a:lnTo>
                <a:lnTo>
                  <a:pt x="183" y="201"/>
                </a:lnTo>
                <a:lnTo>
                  <a:pt x="183" y="199"/>
                </a:lnTo>
                <a:lnTo>
                  <a:pt x="183" y="196"/>
                </a:lnTo>
                <a:lnTo>
                  <a:pt x="183" y="196"/>
                </a:lnTo>
                <a:lnTo>
                  <a:pt x="186" y="196"/>
                </a:lnTo>
                <a:lnTo>
                  <a:pt x="187" y="197"/>
                </a:lnTo>
                <a:lnTo>
                  <a:pt x="187" y="197"/>
                </a:lnTo>
                <a:lnTo>
                  <a:pt x="186" y="193"/>
                </a:lnTo>
                <a:lnTo>
                  <a:pt x="186" y="189"/>
                </a:lnTo>
                <a:lnTo>
                  <a:pt x="188" y="184"/>
                </a:lnTo>
                <a:lnTo>
                  <a:pt x="191" y="181"/>
                </a:lnTo>
                <a:lnTo>
                  <a:pt x="191" y="181"/>
                </a:lnTo>
                <a:lnTo>
                  <a:pt x="197" y="174"/>
                </a:lnTo>
                <a:lnTo>
                  <a:pt x="198" y="170"/>
                </a:lnTo>
                <a:lnTo>
                  <a:pt x="198" y="166"/>
                </a:lnTo>
                <a:lnTo>
                  <a:pt x="198" y="166"/>
                </a:lnTo>
                <a:lnTo>
                  <a:pt x="198" y="167"/>
                </a:lnTo>
                <a:lnTo>
                  <a:pt x="197" y="167"/>
                </a:lnTo>
                <a:lnTo>
                  <a:pt x="194" y="166"/>
                </a:lnTo>
                <a:lnTo>
                  <a:pt x="193" y="164"/>
                </a:lnTo>
                <a:lnTo>
                  <a:pt x="191" y="164"/>
                </a:lnTo>
                <a:lnTo>
                  <a:pt x="190" y="166"/>
                </a:lnTo>
                <a:lnTo>
                  <a:pt x="190" y="170"/>
                </a:lnTo>
                <a:lnTo>
                  <a:pt x="190" y="170"/>
                </a:lnTo>
                <a:lnTo>
                  <a:pt x="193" y="170"/>
                </a:lnTo>
                <a:lnTo>
                  <a:pt x="194" y="170"/>
                </a:lnTo>
                <a:lnTo>
                  <a:pt x="196" y="169"/>
                </a:lnTo>
                <a:lnTo>
                  <a:pt x="196" y="171"/>
                </a:lnTo>
                <a:lnTo>
                  <a:pt x="196" y="171"/>
                </a:lnTo>
                <a:lnTo>
                  <a:pt x="193" y="170"/>
                </a:lnTo>
                <a:lnTo>
                  <a:pt x="190" y="171"/>
                </a:lnTo>
                <a:lnTo>
                  <a:pt x="186" y="176"/>
                </a:lnTo>
                <a:lnTo>
                  <a:pt x="183" y="180"/>
                </a:lnTo>
                <a:lnTo>
                  <a:pt x="180" y="183"/>
                </a:lnTo>
                <a:lnTo>
                  <a:pt x="177" y="184"/>
                </a:lnTo>
                <a:lnTo>
                  <a:pt x="177" y="184"/>
                </a:lnTo>
                <a:lnTo>
                  <a:pt x="178" y="187"/>
                </a:lnTo>
                <a:lnTo>
                  <a:pt x="180" y="191"/>
                </a:lnTo>
                <a:lnTo>
                  <a:pt x="178" y="197"/>
                </a:lnTo>
                <a:lnTo>
                  <a:pt x="174" y="204"/>
                </a:lnTo>
                <a:lnTo>
                  <a:pt x="171" y="213"/>
                </a:lnTo>
                <a:lnTo>
                  <a:pt x="171" y="213"/>
                </a:lnTo>
                <a:lnTo>
                  <a:pt x="164" y="214"/>
                </a:lnTo>
                <a:lnTo>
                  <a:pt x="163" y="217"/>
                </a:lnTo>
                <a:lnTo>
                  <a:pt x="161" y="219"/>
                </a:lnTo>
                <a:lnTo>
                  <a:pt x="163" y="220"/>
                </a:lnTo>
                <a:lnTo>
                  <a:pt x="163" y="220"/>
                </a:lnTo>
                <a:lnTo>
                  <a:pt x="164" y="217"/>
                </a:lnTo>
                <a:lnTo>
                  <a:pt x="166" y="219"/>
                </a:lnTo>
                <a:lnTo>
                  <a:pt x="171" y="223"/>
                </a:lnTo>
                <a:lnTo>
                  <a:pt x="171" y="223"/>
                </a:lnTo>
                <a:lnTo>
                  <a:pt x="168" y="229"/>
                </a:lnTo>
                <a:lnTo>
                  <a:pt x="167" y="234"/>
                </a:lnTo>
                <a:lnTo>
                  <a:pt x="167" y="234"/>
                </a:lnTo>
                <a:lnTo>
                  <a:pt x="164" y="240"/>
                </a:lnTo>
                <a:lnTo>
                  <a:pt x="161" y="246"/>
                </a:lnTo>
                <a:lnTo>
                  <a:pt x="161" y="246"/>
                </a:lnTo>
                <a:lnTo>
                  <a:pt x="158" y="244"/>
                </a:lnTo>
                <a:lnTo>
                  <a:pt x="157" y="243"/>
                </a:lnTo>
                <a:lnTo>
                  <a:pt x="160" y="237"/>
                </a:lnTo>
                <a:lnTo>
                  <a:pt x="160" y="237"/>
                </a:lnTo>
                <a:lnTo>
                  <a:pt x="154" y="237"/>
                </a:lnTo>
                <a:lnTo>
                  <a:pt x="150" y="236"/>
                </a:lnTo>
                <a:lnTo>
                  <a:pt x="150" y="236"/>
                </a:lnTo>
                <a:lnTo>
                  <a:pt x="148" y="240"/>
                </a:lnTo>
                <a:lnTo>
                  <a:pt x="150" y="243"/>
                </a:lnTo>
                <a:lnTo>
                  <a:pt x="153" y="247"/>
                </a:lnTo>
                <a:lnTo>
                  <a:pt x="153" y="247"/>
                </a:lnTo>
                <a:lnTo>
                  <a:pt x="150" y="247"/>
                </a:lnTo>
                <a:lnTo>
                  <a:pt x="148" y="249"/>
                </a:lnTo>
                <a:lnTo>
                  <a:pt x="147" y="251"/>
                </a:lnTo>
                <a:lnTo>
                  <a:pt x="146" y="256"/>
                </a:lnTo>
                <a:lnTo>
                  <a:pt x="144" y="264"/>
                </a:lnTo>
                <a:lnTo>
                  <a:pt x="144" y="267"/>
                </a:lnTo>
                <a:lnTo>
                  <a:pt x="143" y="270"/>
                </a:lnTo>
                <a:lnTo>
                  <a:pt x="143" y="270"/>
                </a:lnTo>
                <a:lnTo>
                  <a:pt x="144" y="270"/>
                </a:lnTo>
                <a:lnTo>
                  <a:pt x="146" y="271"/>
                </a:lnTo>
                <a:lnTo>
                  <a:pt x="147" y="276"/>
                </a:lnTo>
                <a:lnTo>
                  <a:pt x="147" y="276"/>
                </a:lnTo>
                <a:lnTo>
                  <a:pt x="144" y="274"/>
                </a:lnTo>
                <a:lnTo>
                  <a:pt x="141" y="276"/>
                </a:lnTo>
                <a:lnTo>
                  <a:pt x="141" y="276"/>
                </a:lnTo>
                <a:lnTo>
                  <a:pt x="143" y="297"/>
                </a:lnTo>
                <a:lnTo>
                  <a:pt x="144" y="320"/>
                </a:lnTo>
                <a:lnTo>
                  <a:pt x="144" y="320"/>
                </a:lnTo>
                <a:lnTo>
                  <a:pt x="144" y="330"/>
                </a:lnTo>
                <a:lnTo>
                  <a:pt x="144" y="330"/>
                </a:lnTo>
                <a:lnTo>
                  <a:pt x="146" y="336"/>
                </a:lnTo>
                <a:lnTo>
                  <a:pt x="146" y="340"/>
                </a:lnTo>
                <a:lnTo>
                  <a:pt x="146" y="340"/>
                </a:lnTo>
                <a:lnTo>
                  <a:pt x="146" y="361"/>
                </a:lnTo>
                <a:lnTo>
                  <a:pt x="146" y="361"/>
                </a:lnTo>
                <a:lnTo>
                  <a:pt x="150" y="371"/>
                </a:lnTo>
                <a:lnTo>
                  <a:pt x="153" y="383"/>
                </a:lnTo>
                <a:lnTo>
                  <a:pt x="153" y="388"/>
                </a:lnTo>
                <a:lnTo>
                  <a:pt x="151" y="393"/>
                </a:lnTo>
                <a:lnTo>
                  <a:pt x="148" y="396"/>
                </a:lnTo>
                <a:lnTo>
                  <a:pt x="143" y="397"/>
                </a:lnTo>
                <a:lnTo>
                  <a:pt x="143" y="397"/>
                </a:lnTo>
                <a:lnTo>
                  <a:pt x="143" y="410"/>
                </a:lnTo>
                <a:lnTo>
                  <a:pt x="143" y="423"/>
                </a:lnTo>
                <a:lnTo>
                  <a:pt x="143" y="423"/>
                </a:lnTo>
                <a:lnTo>
                  <a:pt x="146" y="436"/>
                </a:lnTo>
                <a:lnTo>
                  <a:pt x="146" y="436"/>
                </a:lnTo>
                <a:lnTo>
                  <a:pt x="148" y="448"/>
                </a:lnTo>
                <a:lnTo>
                  <a:pt x="148" y="448"/>
                </a:lnTo>
                <a:lnTo>
                  <a:pt x="151" y="461"/>
                </a:lnTo>
                <a:lnTo>
                  <a:pt x="151" y="465"/>
                </a:lnTo>
                <a:lnTo>
                  <a:pt x="153" y="467"/>
                </a:lnTo>
                <a:lnTo>
                  <a:pt x="153" y="468"/>
                </a:lnTo>
                <a:lnTo>
                  <a:pt x="153" y="468"/>
                </a:lnTo>
                <a:lnTo>
                  <a:pt x="154" y="475"/>
                </a:lnTo>
                <a:lnTo>
                  <a:pt x="154" y="475"/>
                </a:lnTo>
                <a:lnTo>
                  <a:pt x="158" y="491"/>
                </a:lnTo>
                <a:lnTo>
                  <a:pt x="158" y="491"/>
                </a:lnTo>
                <a:lnTo>
                  <a:pt x="160" y="500"/>
                </a:lnTo>
                <a:lnTo>
                  <a:pt x="161" y="504"/>
                </a:lnTo>
                <a:lnTo>
                  <a:pt x="161" y="505"/>
                </a:lnTo>
                <a:lnTo>
                  <a:pt x="161" y="505"/>
                </a:lnTo>
                <a:lnTo>
                  <a:pt x="161" y="505"/>
                </a:lnTo>
                <a:lnTo>
                  <a:pt x="161" y="507"/>
                </a:lnTo>
                <a:lnTo>
                  <a:pt x="161" y="507"/>
                </a:lnTo>
                <a:lnTo>
                  <a:pt x="167" y="511"/>
                </a:lnTo>
                <a:lnTo>
                  <a:pt x="171" y="517"/>
                </a:lnTo>
                <a:lnTo>
                  <a:pt x="171" y="517"/>
                </a:lnTo>
                <a:lnTo>
                  <a:pt x="173" y="523"/>
                </a:lnTo>
                <a:lnTo>
                  <a:pt x="173" y="523"/>
                </a:lnTo>
                <a:lnTo>
                  <a:pt x="173" y="524"/>
                </a:lnTo>
                <a:lnTo>
                  <a:pt x="173" y="524"/>
                </a:lnTo>
                <a:lnTo>
                  <a:pt x="173" y="524"/>
                </a:lnTo>
                <a:lnTo>
                  <a:pt x="173" y="524"/>
                </a:lnTo>
                <a:lnTo>
                  <a:pt x="174" y="530"/>
                </a:lnTo>
                <a:lnTo>
                  <a:pt x="174" y="530"/>
                </a:lnTo>
                <a:lnTo>
                  <a:pt x="174" y="530"/>
                </a:lnTo>
                <a:lnTo>
                  <a:pt x="174" y="530"/>
                </a:lnTo>
                <a:lnTo>
                  <a:pt x="174" y="530"/>
                </a:lnTo>
                <a:lnTo>
                  <a:pt x="176" y="533"/>
                </a:lnTo>
                <a:lnTo>
                  <a:pt x="176" y="533"/>
                </a:lnTo>
                <a:lnTo>
                  <a:pt x="176" y="537"/>
                </a:lnTo>
                <a:lnTo>
                  <a:pt x="176" y="537"/>
                </a:lnTo>
                <a:lnTo>
                  <a:pt x="176" y="537"/>
                </a:lnTo>
                <a:lnTo>
                  <a:pt x="178" y="537"/>
                </a:lnTo>
                <a:lnTo>
                  <a:pt x="180" y="540"/>
                </a:lnTo>
                <a:lnTo>
                  <a:pt x="180" y="543"/>
                </a:lnTo>
                <a:lnTo>
                  <a:pt x="180" y="543"/>
                </a:lnTo>
                <a:lnTo>
                  <a:pt x="178" y="545"/>
                </a:lnTo>
                <a:lnTo>
                  <a:pt x="176" y="547"/>
                </a:lnTo>
                <a:lnTo>
                  <a:pt x="174" y="547"/>
                </a:lnTo>
                <a:lnTo>
                  <a:pt x="171" y="544"/>
                </a:lnTo>
                <a:lnTo>
                  <a:pt x="171" y="544"/>
                </a:lnTo>
                <a:lnTo>
                  <a:pt x="166" y="537"/>
                </a:lnTo>
                <a:lnTo>
                  <a:pt x="166" y="537"/>
                </a:lnTo>
                <a:lnTo>
                  <a:pt x="166" y="535"/>
                </a:lnTo>
                <a:lnTo>
                  <a:pt x="164" y="534"/>
                </a:lnTo>
                <a:lnTo>
                  <a:pt x="164" y="534"/>
                </a:lnTo>
                <a:lnTo>
                  <a:pt x="164" y="533"/>
                </a:lnTo>
                <a:lnTo>
                  <a:pt x="163" y="527"/>
                </a:lnTo>
                <a:lnTo>
                  <a:pt x="163" y="527"/>
                </a:lnTo>
                <a:lnTo>
                  <a:pt x="163" y="527"/>
                </a:lnTo>
                <a:lnTo>
                  <a:pt x="163" y="527"/>
                </a:lnTo>
                <a:lnTo>
                  <a:pt x="163" y="527"/>
                </a:lnTo>
                <a:lnTo>
                  <a:pt x="161" y="524"/>
                </a:lnTo>
                <a:lnTo>
                  <a:pt x="161" y="524"/>
                </a:lnTo>
                <a:lnTo>
                  <a:pt x="161" y="525"/>
                </a:lnTo>
                <a:lnTo>
                  <a:pt x="160" y="527"/>
                </a:lnTo>
                <a:lnTo>
                  <a:pt x="157" y="528"/>
                </a:lnTo>
                <a:lnTo>
                  <a:pt x="147" y="528"/>
                </a:lnTo>
                <a:lnTo>
                  <a:pt x="147" y="528"/>
                </a:lnTo>
                <a:lnTo>
                  <a:pt x="143" y="521"/>
                </a:lnTo>
                <a:lnTo>
                  <a:pt x="139" y="514"/>
                </a:lnTo>
                <a:lnTo>
                  <a:pt x="137" y="513"/>
                </a:lnTo>
                <a:lnTo>
                  <a:pt x="137" y="513"/>
                </a:lnTo>
                <a:lnTo>
                  <a:pt x="137" y="513"/>
                </a:lnTo>
                <a:lnTo>
                  <a:pt x="137" y="511"/>
                </a:lnTo>
                <a:lnTo>
                  <a:pt x="136" y="510"/>
                </a:lnTo>
                <a:lnTo>
                  <a:pt x="136" y="510"/>
                </a:lnTo>
                <a:lnTo>
                  <a:pt x="133" y="503"/>
                </a:lnTo>
                <a:lnTo>
                  <a:pt x="133" y="503"/>
                </a:lnTo>
                <a:lnTo>
                  <a:pt x="127" y="490"/>
                </a:lnTo>
                <a:lnTo>
                  <a:pt x="127" y="490"/>
                </a:lnTo>
                <a:lnTo>
                  <a:pt x="127" y="487"/>
                </a:lnTo>
                <a:lnTo>
                  <a:pt x="129" y="484"/>
                </a:lnTo>
                <a:lnTo>
                  <a:pt x="129" y="481"/>
                </a:lnTo>
                <a:lnTo>
                  <a:pt x="129" y="477"/>
                </a:lnTo>
                <a:lnTo>
                  <a:pt x="129" y="477"/>
                </a:lnTo>
                <a:lnTo>
                  <a:pt x="126" y="474"/>
                </a:lnTo>
                <a:lnTo>
                  <a:pt x="126" y="474"/>
                </a:lnTo>
                <a:lnTo>
                  <a:pt x="126" y="473"/>
                </a:lnTo>
                <a:lnTo>
                  <a:pt x="126" y="473"/>
                </a:lnTo>
                <a:lnTo>
                  <a:pt x="124" y="471"/>
                </a:lnTo>
                <a:lnTo>
                  <a:pt x="124" y="471"/>
                </a:lnTo>
                <a:lnTo>
                  <a:pt x="124" y="465"/>
                </a:lnTo>
                <a:lnTo>
                  <a:pt x="124" y="465"/>
                </a:lnTo>
                <a:lnTo>
                  <a:pt x="126" y="458"/>
                </a:lnTo>
                <a:lnTo>
                  <a:pt x="124" y="453"/>
                </a:lnTo>
                <a:lnTo>
                  <a:pt x="124" y="453"/>
                </a:lnTo>
                <a:lnTo>
                  <a:pt x="121" y="450"/>
                </a:lnTo>
                <a:lnTo>
                  <a:pt x="119" y="447"/>
                </a:lnTo>
                <a:lnTo>
                  <a:pt x="116" y="444"/>
                </a:lnTo>
                <a:lnTo>
                  <a:pt x="114" y="441"/>
                </a:lnTo>
                <a:lnTo>
                  <a:pt x="114" y="441"/>
                </a:lnTo>
                <a:lnTo>
                  <a:pt x="114" y="437"/>
                </a:lnTo>
                <a:lnTo>
                  <a:pt x="116" y="433"/>
                </a:lnTo>
                <a:lnTo>
                  <a:pt x="117" y="428"/>
                </a:lnTo>
                <a:lnTo>
                  <a:pt x="117" y="426"/>
                </a:lnTo>
                <a:lnTo>
                  <a:pt x="117" y="426"/>
                </a:lnTo>
                <a:lnTo>
                  <a:pt x="114" y="420"/>
                </a:lnTo>
                <a:lnTo>
                  <a:pt x="113" y="416"/>
                </a:lnTo>
                <a:lnTo>
                  <a:pt x="113" y="416"/>
                </a:lnTo>
                <a:lnTo>
                  <a:pt x="116" y="417"/>
                </a:lnTo>
                <a:lnTo>
                  <a:pt x="116" y="417"/>
                </a:lnTo>
                <a:lnTo>
                  <a:pt x="114" y="414"/>
                </a:lnTo>
                <a:lnTo>
                  <a:pt x="113" y="411"/>
                </a:lnTo>
                <a:lnTo>
                  <a:pt x="110" y="408"/>
                </a:lnTo>
                <a:lnTo>
                  <a:pt x="109" y="406"/>
                </a:lnTo>
                <a:lnTo>
                  <a:pt x="109" y="406"/>
                </a:lnTo>
                <a:lnTo>
                  <a:pt x="111" y="404"/>
                </a:lnTo>
                <a:lnTo>
                  <a:pt x="113" y="403"/>
                </a:lnTo>
                <a:lnTo>
                  <a:pt x="113" y="403"/>
                </a:lnTo>
                <a:lnTo>
                  <a:pt x="114" y="401"/>
                </a:lnTo>
                <a:lnTo>
                  <a:pt x="113" y="398"/>
                </a:lnTo>
                <a:lnTo>
                  <a:pt x="110" y="394"/>
                </a:lnTo>
                <a:lnTo>
                  <a:pt x="107" y="388"/>
                </a:lnTo>
                <a:lnTo>
                  <a:pt x="104" y="384"/>
                </a:lnTo>
                <a:lnTo>
                  <a:pt x="104" y="384"/>
                </a:lnTo>
                <a:lnTo>
                  <a:pt x="106" y="383"/>
                </a:lnTo>
                <a:lnTo>
                  <a:pt x="107" y="383"/>
                </a:lnTo>
                <a:lnTo>
                  <a:pt x="110" y="384"/>
                </a:lnTo>
                <a:lnTo>
                  <a:pt x="111" y="384"/>
                </a:lnTo>
                <a:lnTo>
                  <a:pt x="113" y="381"/>
                </a:lnTo>
                <a:lnTo>
                  <a:pt x="113" y="381"/>
                </a:lnTo>
                <a:lnTo>
                  <a:pt x="109" y="380"/>
                </a:lnTo>
                <a:lnTo>
                  <a:pt x="107" y="377"/>
                </a:lnTo>
                <a:lnTo>
                  <a:pt x="106" y="374"/>
                </a:lnTo>
                <a:lnTo>
                  <a:pt x="103" y="373"/>
                </a:lnTo>
                <a:lnTo>
                  <a:pt x="103" y="373"/>
                </a:lnTo>
                <a:lnTo>
                  <a:pt x="106" y="370"/>
                </a:lnTo>
                <a:lnTo>
                  <a:pt x="107" y="367"/>
                </a:lnTo>
                <a:lnTo>
                  <a:pt x="106" y="361"/>
                </a:lnTo>
                <a:lnTo>
                  <a:pt x="106" y="356"/>
                </a:lnTo>
                <a:lnTo>
                  <a:pt x="107" y="354"/>
                </a:lnTo>
                <a:lnTo>
                  <a:pt x="110" y="354"/>
                </a:lnTo>
                <a:lnTo>
                  <a:pt x="110" y="354"/>
                </a:lnTo>
                <a:lnTo>
                  <a:pt x="104" y="333"/>
                </a:lnTo>
                <a:lnTo>
                  <a:pt x="104" y="333"/>
                </a:lnTo>
                <a:lnTo>
                  <a:pt x="103" y="321"/>
                </a:lnTo>
                <a:lnTo>
                  <a:pt x="101" y="313"/>
                </a:lnTo>
                <a:lnTo>
                  <a:pt x="101" y="313"/>
                </a:lnTo>
                <a:lnTo>
                  <a:pt x="101" y="314"/>
                </a:lnTo>
                <a:lnTo>
                  <a:pt x="100" y="314"/>
                </a:lnTo>
                <a:lnTo>
                  <a:pt x="97" y="314"/>
                </a:lnTo>
                <a:lnTo>
                  <a:pt x="97" y="314"/>
                </a:lnTo>
                <a:lnTo>
                  <a:pt x="97" y="300"/>
                </a:lnTo>
                <a:lnTo>
                  <a:pt x="96" y="296"/>
                </a:lnTo>
                <a:lnTo>
                  <a:pt x="94" y="290"/>
                </a:lnTo>
                <a:lnTo>
                  <a:pt x="94" y="290"/>
                </a:lnTo>
                <a:lnTo>
                  <a:pt x="96" y="291"/>
                </a:lnTo>
                <a:lnTo>
                  <a:pt x="97" y="291"/>
                </a:lnTo>
                <a:lnTo>
                  <a:pt x="97" y="291"/>
                </a:lnTo>
                <a:lnTo>
                  <a:pt x="97" y="266"/>
                </a:lnTo>
                <a:lnTo>
                  <a:pt x="97" y="266"/>
                </a:lnTo>
                <a:lnTo>
                  <a:pt x="97" y="254"/>
                </a:lnTo>
                <a:lnTo>
                  <a:pt x="100" y="244"/>
                </a:lnTo>
                <a:lnTo>
                  <a:pt x="100" y="244"/>
                </a:lnTo>
                <a:lnTo>
                  <a:pt x="96" y="241"/>
                </a:lnTo>
                <a:lnTo>
                  <a:pt x="94" y="239"/>
                </a:lnTo>
                <a:lnTo>
                  <a:pt x="94" y="239"/>
                </a:lnTo>
                <a:lnTo>
                  <a:pt x="96" y="236"/>
                </a:lnTo>
                <a:lnTo>
                  <a:pt x="96" y="234"/>
                </a:lnTo>
                <a:lnTo>
                  <a:pt x="93" y="230"/>
                </a:lnTo>
                <a:lnTo>
                  <a:pt x="93" y="230"/>
                </a:lnTo>
                <a:lnTo>
                  <a:pt x="96" y="229"/>
                </a:lnTo>
                <a:lnTo>
                  <a:pt x="99" y="227"/>
                </a:lnTo>
                <a:lnTo>
                  <a:pt x="100" y="226"/>
                </a:lnTo>
                <a:lnTo>
                  <a:pt x="100" y="223"/>
                </a:lnTo>
                <a:lnTo>
                  <a:pt x="100" y="223"/>
                </a:lnTo>
                <a:lnTo>
                  <a:pt x="99" y="224"/>
                </a:lnTo>
                <a:lnTo>
                  <a:pt x="97" y="224"/>
                </a:lnTo>
                <a:lnTo>
                  <a:pt x="96" y="221"/>
                </a:lnTo>
                <a:lnTo>
                  <a:pt x="96" y="213"/>
                </a:lnTo>
                <a:lnTo>
                  <a:pt x="96" y="213"/>
                </a:lnTo>
                <a:lnTo>
                  <a:pt x="97" y="211"/>
                </a:lnTo>
                <a:lnTo>
                  <a:pt x="99" y="210"/>
                </a:lnTo>
                <a:lnTo>
                  <a:pt x="100" y="209"/>
                </a:lnTo>
                <a:lnTo>
                  <a:pt x="101" y="210"/>
                </a:lnTo>
                <a:lnTo>
                  <a:pt x="101" y="210"/>
                </a:lnTo>
                <a:lnTo>
                  <a:pt x="103" y="210"/>
                </a:lnTo>
                <a:lnTo>
                  <a:pt x="104" y="213"/>
                </a:lnTo>
                <a:lnTo>
                  <a:pt x="104" y="214"/>
                </a:lnTo>
                <a:lnTo>
                  <a:pt x="106" y="216"/>
                </a:lnTo>
                <a:lnTo>
                  <a:pt x="106" y="216"/>
                </a:lnTo>
                <a:lnTo>
                  <a:pt x="106" y="209"/>
                </a:lnTo>
                <a:lnTo>
                  <a:pt x="103" y="204"/>
                </a:lnTo>
                <a:lnTo>
                  <a:pt x="100" y="203"/>
                </a:lnTo>
                <a:lnTo>
                  <a:pt x="94" y="201"/>
                </a:lnTo>
                <a:lnTo>
                  <a:pt x="94" y="201"/>
                </a:lnTo>
                <a:lnTo>
                  <a:pt x="93" y="204"/>
                </a:lnTo>
                <a:lnTo>
                  <a:pt x="91" y="209"/>
                </a:lnTo>
                <a:lnTo>
                  <a:pt x="89" y="217"/>
                </a:lnTo>
                <a:lnTo>
                  <a:pt x="89" y="217"/>
                </a:lnTo>
                <a:lnTo>
                  <a:pt x="90" y="219"/>
                </a:lnTo>
                <a:lnTo>
                  <a:pt x="91" y="221"/>
                </a:lnTo>
                <a:lnTo>
                  <a:pt x="91" y="226"/>
                </a:lnTo>
                <a:lnTo>
                  <a:pt x="91" y="230"/>
                </a:lnTo>
                <a:lnTo>
                  <a:pt x="91" y="230"/>
                </a:lnTo>
                <a:lnTo>
                  <a:pt x="89" y="237"/>
                </a:lnTo>
                <a:lnTo>
                  <a:pt x="86" y="243"/>
                </a:lnTo>
                <a:lnTo>
                  <a:pt x="86" y="243"/>
                </a:lnTo>
                <a:lnTo>
                  <a:pt x="84" y="241"/>
                </a:lnTo>
                <a:lnTo>
                  <a:pt x="84" y="241"/>
                </a:lnTo>
                <a:lnTo>
                  <a:pt x="83" y="240"/>
                </a:lnTo>
                <a:lnTo>
                  <a:pt x="83" y="239"/>
                </a:lnTo>
                <a:lnTo>
                  <a:pt x="83" y="239"/>
                </a:lnTo>
                <a:lnTo>
                  <a:pt x="86" y="239"/>
                </a:lnTo>
                <a:lnTo>
                  <a:pt x="87" y="239"/>
                </a:lnTo>
                <a:lnTo>
                  <a:pt x="87" y="237"/>
                </a:lnTo>
                <a:lnTo>
                  <a:pt x="87" y="237"/>
                </a:lnTo>
                <a:lnTo>
                  <a:pt x="84" y="233"/>
                </a:lnTo>
                <a:lnTo>
                  <a:pt x="83" y="230"/>
                </a:lnTo>
                <a:lnTo>
                  <a:pt x="83" y="221"/>
                </a:lnTo>
                <a:lnTo>
                  <a:pt x="83" y="221"/>
                </a:lnTo>
                <a:lnTo>
                  <a:pt x="89" y="203"/>
                </a:lnTo>
                <a:lnTo>
                  <a:pt x="89" y="203"/>
                </a:lnTo>
                <a:lnTo>
                  <a:pt x="84" y="203"/>
                </a:lnTo>
                <a:lnTo>
                  <a:pt x="83" y="201"/>
                </a:lnTo>
                <a:lnTo>
                  <a:pt x="81" y="199"/>
                </a:lnTo>
                <a:lnTo>
                  <a:pt x="77" y="197"/>
                </a:lnTo>
                <a:lnTo>
                  <a:pt x="77" y="197"/>
                </a:lnTo>
                <a:lnTo>
                  <a:pt x="76" y="219"/>
                </a:lnTo>
                <a:lnTo>
                  <a:pt x="76" y="219"/>
                </a:lnTo>
                <a:lnTo>
                  <a:pt x="73" y="239"/>
                </a:lnTo>
                <a:lnTo>
                  <a:pt x="73" y="239"/>
                </a:lnTo>
                <a:lnTo>
                  <a:pt x="74" y="237"/>
                </a:lnTo>
                <a:lnTo>
                  <a:pt x="76" y="237"/>
                </a:lnTo>
                <a:lnTo>
                  <a:pt x="77" y="239"/>
                </a:lnTo>
                <a:lnTo>
                  <a:pt x="79" y="246"/>
                </a:lnTo>
                <a:lnTo>
                  <a:pt x="79" y="246"/>
                </a:lnTo>
                <a:lnTo>
                  <a:pt x="74" y="254"/>
                </a:lnTo>
                <a:lnTo>
                  <a:pt x="73" y="259"/>
                </a:lnTo>
                <a:lnTo>
                  <a:pt x="73" y="261"/>
                </a:lnTo>
                <a:lnTo>
                  <a:pt x="73" y="261"/>
                </a:lnTo>
                <a:lnTo>
                  <a:pt x="73" y="260"/>
                </a:lnTo>
                <a:lnTo>
                  <a:pt x="74" y="260"/>
                </a:lnTo>
                <a:lnTo>
                  <a:pt x="77" y="260"/>
                </a:lnTo>
                <a:lnTo>
                  <a:pt x="77" y="260"/>
                </a:lnTo>
                <a:lnTo>
                  <a:pt x="76" y="263"/>
                </a:lnTo>
                <a:lnTo>
                  <a:pt x="73" y="266"/>
                </a:lnTo>
                <a:lnTo>
                  <a:pt x="71" y="273"/>
                </a:lnTo>
                <a:lnTo>
                  <a:pt x="71" y="280"/>
                </a:lnTo>
                <a:lnTo>
                  <a:pt x="70" y="289"/>
                </a:lnTo>
                <a:lnTo>
                  <a:pt x="70" y="289"/>
                </a:lnTo>
                <a:lnTo>
                  <a:pt x="70" y="283"/>
                </a:lnTo>
                <a:lnTo>
                  <a:pt x="69" y="280"/>
                </a:lnTo>
                <a:lnTo>
                  <a:pt x="67" y="277"/>
                </a:lnTo>
                <a:lnTo>
                  <a:pt x="66" y="273"/>
                </a:lnTo>
                <a:lnTo>
                  <a:pt x="66" y="273"/>
                </a:lnTo>
                <a:lnTo>
                  <a:pt x="63" y="283"/>
                </a:lnTo>
                <a:lnTo>
                  <a:pt x="64" y="287"/>
                </a:lnTo>
                <a:lnTo>
                  <a:pt x="67" y="291"/>
                </a:lnTo>
                <a:lnTo>
                  <a:pt x="67" y="291"/>
                </a:lnTo>
                <a:lnTo>
                  <a:pt x="61" y="291"/>
                </a:lnTo>
                <a:lnTo>
                  <a:pt x="61" y="291"/>
                </a:lnTo>
                <a:lnTo>
                  <a:pt x="63" y="299"/>
                </a:lnTo>
                <a:lnTo>
                  <a:pt x="63" y="306"/>
                </a:lnTo>
                <a:lnTo>
                  <a:pt x="63" y="306"/>
                </a:lnTo>
                <a:lnTo>
                  <a:pt x="61" y="323"/>
                </a:lnTo>
                <a:lnTo>
                  <a:pt x="61" y="323"/>
                </a:lnTo>
                <a:lnTo>
                  <a:pt x="61" y="340"/>
                </a:lnTo>
                <a:lnTo>
                  <a:pt x="61" y="340"/>
                </a:lnTo>
                <a:lnTo>
                  <a:pt x="61" y="348"/>
                </a:lnTo>
                <a:lnTo>
                  <a:pt x="64" y="356"/>
                </a:lnTo>
                <a:lnTo>
                  <a:pt x="64" y="356"/>
                </a:lnTo>
                <a:lnTo>
                  <a:pt x="60" y="357"/>
                </a:lnTo>
                <a:lnTo>
                  <a:pt x="60" y="357"/>
                </a:lnTo>
                <a:lnTo>
                  <a:pt x="59" y="358"/>
                </a:lnTo>
                <a:lnTo>
                  <a:pt x="59" y="358"/>
                </a:lnTo>
                <a:lnTo>
                  <a:pt x="61" y="366"/>
                </a:lnTo>
                <a:lnTo>
                  <a:pt x="61" y="374"/>
                </a:lnTo>
                <a:lnTo>
                  <a:pt x="61" y="374"/>
                </a:lnTo>
                <a:lnTo>
                  <a:pt x="63" y="390"/>
                </a:lnTo>
                <a:lnTo>
                  <a:pt x="63" y="390"/>
                </a:lnTo>
                <a:lnTo>
                  <a:pt x="63" y="404"/>
                </a:lnTo>
                <a:lnTo>
                  <a:pt x="64" y="410"/>
                </a:lnTo>
                <a:lnTo>
                  <a:pt x="67" y="414"/>
                </a:lnTo>
                <a:lnTo>
                  <a:pt x="67" y="414"/>
                </a:lnTo>
                <a:lnTo>
                  <a:pt x="64" y="414"/>
                </a:lnTo>
                <a:lnTo>
                  <a:pt x="63" y="414"/>
                </a:lnTo>
                <a:lnTo>
                  <a:pt x="60" y="410"/>
                </a:lnTo>
                <a:lnTo>
                  <a:pt x="60" y="410"/>
                </a:lnTo>
                <a:lnTo>
                  <a:pt x="60" y="407"/>
                </a:lnTo>
                <a:lnTo>
                  <a:pt x="60" y="403"/>
                </a:lnTo>
                <a:lnTo>
                  <a:pt x="60" y="403"/>
                </a:lnTo>
                <a:lnTo>
                  <a:pt x="57" y="404"/>
                </a:lnTo>
                <a:lnTo>
                  <a:pt x="56" y="406"/>
                </a:lnTo>
                <a:lnTo>
                  <a:pt x="56" y="407"/>
                </a:lnTo>
                <a:lnTo>
                  <a:pt x="56" y="410"/>
                </a:lnTo>
                <a:lnTo>
                  <a:pt x="61" y="418"/>
                </a:lnTo>
                <a:lnTo>
                  <a:pt x="61" y="418"/>
                </a:lnTo>
                <a:lnTo>
                  <a:pt x="59" y="418"/>
                </a:lnTo>
                <a:lnTo>
                  <a:pt x="59" y="418"/>
                </a:lnTo>
                <a:lnTo>
                  <a:pt x="61" y="424"/>
                </a:lnTo>
                <a:lnTo>
                  <a:pt x="64" y="427"/>
                </a:lnTo>
                <a:lnTo>
                  <a:pt x="69" y="431"/>
                </a:lnTo>
                <a:lnTo>
                  <a:pt x="70" y="436"/>
                </a:lnTo>
                <a:lnTo>
                  <a:pt x="70" y="436"/>
                </a:lnTo>
                <a:lnTo>
                  <a:pt x="71" y="441"/>
                </a:lnTo>
                <a:lnTo>
                  <a:pt x="70" y="447"/>
                </a:lnTo>
                <a:lnTo>
                  <a:pt x="70" y="447"/>
                </a:lnTo>
                <a:lnTo>
                  <a:pt x="69" y="454"/>
                </a:lnTo>
                <a:lnTo>
                  <a:pt x="70" y="461"/>
                </a:lnTo>
                <a:lnTo>
                  <a:pt x="70" y="461"/>
                </a:lnTo>
                <a:lnTo>
                  <a:pt x="73" y="460"/>
                </a:lnTo>
                <a:lnTo>
                  <a:pt x="74" y="461"/>
                </a:lnTo>
                <a:lnTo>
                  <a:pt x="76" y="465"/>
                </a:lnTo>
                <a:lnTo>
                  <a:pt x="77" y="473"/>
                </a:lnTo>
                <a:lnTo>
                  <a:pt x="77" y="475"/>
                </a:lnTo>
                <a:lnTo>
                  <a:pt x="80" y="478"/>
                </a:lnTo>
                <a:lnTo>
                  <a:pt x="80" y="478"/>
                </a:lnTo>
                <a:lnTo>
                  <a:pt x="79" y="473"/>
                </a:lnTo>
                <a:lnTo>
                  <a:pt x="79" y="473"/>
                </a:lnTo>
                <a:lnTo>
                  <a:pt x="80" y="473"/>
                </a:lnTo>
                <a:lnTo>
                  <a:pt x="83" y="480"/>
                </a:lnTo>
                <a:lnTo>
                  <a:pt x="83" y="480"/>
                </a:lnTo>
                <a:lnTo>
                  <a:pt x="83" y="481"/>
                </a:lnTo>
                <a:lnTo>
                  <a:pt x="83" y="481"/>
                </a:lnTo>
                <a:lnTo>
                  <a:pt x="84" y="484"/>
                </a:lnTo>
                <a:lnTo>
                  <a:pt x="84" y="484"/>
                </a:lnTo>
                <a:lnTo>
                  <a:pt x="84" y="487"/>
                </a:lnTo>
                <a:lnTo>
                  <a:pt x="84" y="487"/>
                </a:lnTo>
                <a:lnTo>
                  <a:pt x="86" y="494"/>
                </a:lnTo>
                <a:lnTo>
                  <a:pt x="86" y="494"/>
                </a:lnTo>
                <a:lnTo>
                  <a:pt x="86" y="500"/>
                </a:lnTo>
                <a:lnTo>
                  <a:pt x="84" y="501"/>
                </a:lnTo>
                <a:lnTo>
                  <a:pt x="83" y="503"/>
                </a:lnTo>
                <a:lnTo>
                  <a:pt x="83" y="503"/>
                </a:lnTo>
                <a:lnTo>
                  <a:pt x="81" y="498"/>
                </a:lnTo>
                <a:lnTo>
                  <a:pt x="79" y="495"/>
                </a:lnTo>
                <a:lnTo>
                  <a:pt x="77" y="494"/>
                </a:lnTo>
                <a:lnTo>
                  <a:pt x="74" y="491"/>
                </a:lnTo>
                <a:lnTo>
                  <a:pt x="74" y="491"/>
                </a:lnTo>
                <a:lnTo>
                  <a:pt x="76" y="497"/>
                </a:lnTo>
                <a:lnTo>
                  <a:pt x="76" y="500"/>
                </a:lnTo>
                <a:lnTo>
                  <a:pt x="73" y="500"/>
                </a:lnTo>
                <a:lnTo>
                  <a:pt x="69" y="503"/>
                </a:lnTo>
                <a:lnTo>
                  <a:pt x="69" y="503"/>
                </a:lnTo>
                <a:lnTo>
                  <a:pt x="71" y="508"/>
                </a:lnTo>
                <a:lnTo>
                  <a:pt x="71" y="513"/>
                </a:lnTo>
                <a:lnTo>
                  <a:pt x="71" y="515"/>
                </a:lnTo>
                <a:lnTo>
                  <a:pt x="71" y="520"/>
                </a:lnTo>
                <a:lnTo>
                  <a:pt x="71" y="520"/>
                </a:lnTo>
                <a:lnTo>
                  <a:pt x="73" y="517"/>
                </a:lnTo>
                <a:lnTo>
                  <a:pt x="74" y="514"/>
                </a:lnTo>
                <a:lnTo>
                  <a:pt x="74" y="508"/>
                </a:lnTo>
                <a:lnTo>
                  <a:pt x="76" y="505"/>
                </a:lnTo>
                <a:lnTo>
                  <a:pt x="76" y="505"/>
                </a:lnTo>
                <a:lnTo>
                  <a:pt x="77" y="508"/>
                </a:lnTo>
                <a:lnTo>
                  <a:pt x="79" y="511"/>
                </a:lnTo>
                <a:lnTo>
                  <a:pt x="79" y="511"/>
                </a:lnTo>
                <a:lnTo>
                  <a:pt x="77" y="515"/>
                </a:lnTo>
                <a:lnTo>
                  <a:pt x="76" y="520"/>
                </a:lnTo>
                <a:lnTo>
                  <a:pt x="76" y="523"/>
                </a:lnTo>
                <a:lnTo>
                  <a:pt x="77" y="524"/>
                </a:lnTo>
                <a:lnTo>
                  <a:pt x="79" y="525"/>
                </a:lnTo>
                <a:lnTo>
                  <a:pt x="79" y="525"/>
                </a:lnTo>
                <a:lnTo>
                  <a:pt x="76" y="527"/>
                </a:lnTo>
                <a:lnTo>
                  <a:pt x="74" y="530"/>
                </a:lnTo>
                <a:lnTo>
                  <a:pt x="74" y="530"/>
                </a:lnTo>
                <a:lnTo>
                  <a:pt x="64" y="507"/>
                </a:lnTo>
                <a:lnTo>
                  <a:pt x="59" y="488"/>
                </a:lnTo>
                <a:lnTo>
                  <a:pt x="59" y="488"/>
                </a:lnTo>
                <a:lnTo>
                  <a:pt x="56" y="474"/>
                </a:lnTo>
                <a:lnTo>
                  <a:pt x="54" y="456"/>
                </a:lnTo>
                <a:lnTo>
                  <a:pt x="54" y="456"/>
                </a:lnTo>
                <a:lnTo>
                  <a:pt x="53" y="450"/>
                </a:lnTo>
                <a:lnTo>
                  <a:pt x="52" y="443"/>
                </a:lnTo>
                <a:lnTo>
                  <a:pt x="52" y="443"/>
                </a:lnTo>
                <a:lnTo>
                  <a:pt x="50" y="430"/>
                </a:lnTo>
                <a:lnTo>
                  <a:pt x="50" y="430"/>
                </a:lnTo>
                <a:lnTo>
                  <a:pt x="49" y="417"/>
                </a:lnTo>
                <a:lnTo>
                  <a:pt x="46" y="411"/>
                </a:lnTo>
                <a:lnTo>
                  <a:pt x="43" y="404"/>
                </a:lnTo>
                <a:lnTo>
                  <a:pt x="43" y="404"/>
                </a:lnTo>
                <a:lnTo>
                  <a:pt x="44" y="403"/>
                </a:lnTo>
                <a:lnTo>
                  <a:pt x="44" y="401"/>
                </a:lnTo>
                <a:lnTo>
                  <a:pt x="46" y="400"/>
                </a:lnTo>
                <a:lnTo>
                  <a:pt x="47" y="398"/>
                </a:lnTo>
                <a:lnTo>
                  <a:pt x="47" y="398"/>
                </a:lnTo>
                <a:lnTo>
                  <a:pt x="46" y="390"/>
                </a:lnTo>
                <a:lnTo>
                  <a:pt x="44" y="381"/>
                </a:lnTo>
                <a:lnTo>
                  <a:pt x="46" y="364"/>
                </a:lnTo>
                <a:lnTo>
                  <a:pt x="46" y="364"/>
                </a:lnTo>
                <a:lnTo>
                  <a:pt x="47" y="356"/>
                </a:lnTo>
                <a:lnTo>
                  <a:pt x="47" y="347"/>
                </a:lnTo>
                <a:lnTo>
                  <a:pt x="47" y="347"/>
                </a:lnTo>
                <a:lnTo>
                  <a:pt x="46" y="338"/>
                </a:lnTo>
                <a:lnTo>
                  <a:pt x="46" y="338"/>
                </a:lnTo>
                <a:lnTo>
                  <a:pt x="42" y="331"/>
                </a:lnTo>
                <a:lnTo>
                  <a:pt x="42" y="331"/>
                </a:lnTo>
                <a:lnTo>
                  <a:pt x="42" y="340"/>
                </a:lnTo>
                <a:lnTo>
                  <a:pt x="42" y="340"/>
                </a:lnTo>
                <a:lnTo>
                  <a:pt x="42" y="344"/>
                </a:lnTo>
                <a:lnTo>
                  <a:pt x="39" y="346"/>
                </a:lnTo>
                <a:lnTo>
                  <a:pt x="39" y="346"/>
                </a:lnTo>
                <a:lnTo>
                  <a:pt x="37" y="327"/>
                </a:lnTo>
                <a:lnTo>
                  <a:pt x="37" y="323"/>
                </a:lnTo>
                <a:lnTo>
                  <a:pt x="39" y="320"/>
                </a:lnTo>
                <a:lnTo>
                  <a:pt x="42" y="318"/>
                </a:lnTo>
                <a:lnTo>
                  <a:pt x="44" y="318"/>
                </a:lnTo>
                <a:lnTo>
                  <a:pt x="44" y="318"/>
                </a:lnTo>
                <a:lnTo>
                  <a:pt x="43" y="313"/>
                </a:lnTo>
                <a:lnTo>
                  <a:pt x="43" y="304"/>
                </a:lnTo>
                <a:lnTo>
                  <a:pt x="43" y="304"/>
                </a:lnTo>
                <a:lnTo>
                  <a:pt x="40" y="304"/>
                </a:lnTo>
                <a:lnTo>
                  <a:pt x="40" y="304"/>
                </a:lnTo>
                <a:lnTo>
                  <a:pt x="40" y="308"/>
                </a:lnTo>
                <a:lnTo>
                  <a:pt x="40" y="311"/>
                </a:lnTo>
                <a:lnTo>
                  <a:pt x="39" y="313"/>
                </a:lnTo>
                <a:lnTo>
                  <a:pt x="39" y="313"/>
                </a:lnTo>
                <a:lnTo>
                  <a:pt x="39" y="313"/>
                </a:lnTo>
                <a:lnTo>
                  <a:pt x="37" y="306"/>
                </a:lnTo>
                <a:lnTo>
                  <a:pt x="37" y="296"/>
                </a:lnTo>
                <a:lnTo>
                  <a:pt x="37" y="296"/>
                </a:lnTo>
                <a:lnTo>
                  <a:pt x="39" y="287"/>
                </a:lnTo>
                <a:lnTo>
                  <a:pt x="40" y="283"/>
                </a:lnTo>
                <a:lnTo>
                  <a:pt x="43" y="280"/>
                </a:lnTo>
                <a:lnTo>
                  <a:pt x="43" y="280"/>
                </a:lnTo>
                <a:lnTo>
                  <a:pt x="43" y="267"/>
                </a:lnTo>
                <a:lnTo>
                  <a:pt x="43" y="267"/>
                </a:lnTo>
                <a:lnTo>
                  <a:pt x="44" y="256"/>
                </a:lnTo>
                <a:lnTo>
                  <a:pt x="44" y="256"/>
                </a:lnTo>
                <a:lnTo>
                  <a:pt x="46" y="236"/>
                </a:lnTo>
                <a:lnTo>
                  <a:pt x="46" y="236"/>
                </a:lnTo>
                <a:lnTo>
                  <a:pt x="47" y="226"/>
                </a:lnTo>
                <a:lnTo>
                  <a:pt x="50" y="216"/>
                </a:lnTo>
                <a:lnTo>
                  <a:pt x="50" y="216"/>
                </a:lnTo>
                <a:lnTo>
                  <a:pt x="53" y="207"/>
                </a:lnTo>
                <a:lnTo>
                  <a:pt x="57" y="200"/>
                </a:lnTo>
                <a:lnTo>
                  <a:pt x="57" y="200"/>
                </a:lnTo>
                <a:lnTo>
                  <a:pt x="54" y="199"/>
                </a:lnTo>
                <a:lnTo>
                  <a:pt x="56" y="197"/>
                </a:lnTo>
                <a:lnTo>
                  <a:pt x="59" y="196"/>
                </a:lnTo>
                <a:lnTo>
                  <a:pt x="60" y="193"/>
                </a:lnTo>
                <a:lnTo>
                  <a:pt x="60" y="193"/>
                </a:lnTo>
                <a:lnTo>
                  <a:pt x="59" y="191"/>
                </a:lnTo>
                <a:lnTo>
                  <a:pt x="56" y="191"/>
                </a:lnTo>
                <a:lnTo>
                  <a:pt x="54" y="191"/>
                </a:lnTo>
                <a:lnTo>
                  <a:pt x="53" y="190"/>
                </a:lnTo>
                <a:lnTo>
                  <a:pt x="53" y="190"/>
                </a:lnTo>
                <a:lnTo>
                  <a:pt x="53" y="189"/>
                </a:lnTo>
                <a:lnTo>
                  <a:pt x="52" y="186"/>
                </a:lnTo>
                <a:lnTo>
                  <a:pt x="52" y="186"/>
                </a:lnTo>
                <a:lnTo>
                  <a:pt x="53" y="181"/>
                </a:lnTo>
                <a:lnTo>
                  <a:pt x="54" y="180"/>
                </a:lnTo>
                <a:lnTo>
                  <a:pt x="57" y="179"/>
                </a:lnTo>
                <a:lnTo>
                  <a:pt x="59" y="176"/>
                </a:lnTo>
                <a:lnTo>
                  <a:pt x="59" y="176"/>
                </a:lnTo>
                <a:lnTo>
                  <a:pt x="57" y="173"/>
                </a:lnTo>
                <a:lnTo>
                  <a:pt x="57" y="169"/>
                </a:lnTo>
                <a:lnTo>
                  <a:pt x="59" y="157"/>
                </a:lnTo>
                <a:lnTo>
                  <a:pt x="59" y="157"/>
                </a:lnTo>
                <a:lnTo>
                  <a:pt x="63" y="157"/>
                </a:lnTo>
                <a:lnTo>
                  <a:pt x="66" y="156"/>
                </a:lnTo>
                <a:lnTo>
                  <a:pt x="67" y="153"/>
                </a:lnTo>
                <a:lnTo>
                  <a:pt x="67" y="150"/>
                </a:lnTo>
                <a:lnTo>
                  <a:pt x="67" y="143"/>
                </a:lnTo>
                <a:lnTo>
                  <a:pt x="69" y="137"/>
                </a:lnTo>
                <a:lnTo>
                  <a:pt x="69" y="137"/>
                </a:lnTo>
                <a:lnTo>
                  <a:pt x="76" y="114"/>
                </a:lnTo>
                <a:lnTo>
                  <a:pt x="84" y="90"/>
                </a:lnTo>
                <a:lnTo>
                  <a:pt x="84" y="90"/>
                </a:lnTo>
                <a:lnTo>
                  <a:pt x="94" y="69"/>
                </a:lnTo>
                <a:lnTo>
                  <a:pt x="94" y="69"/>
                </a:lnTo>
                <a:lnTo>
                  <a:pt x="97" y="59"/>
                </a:lnTo>
                <a:lnTo>
                  <a:pt x="97" y="59"/>
                </a:lnTo>
                <a:lnTo>
                  <a:pt x="101" y="49"/>
                </a:lnTo>
                <a:lnTo>
                  <a:pt x="101" y="49"/>
                </a:lnTo>
                <a:lnTo>
                  <a:pt x="94" y="60"/>
                </a:lnTo>
                <a:lnTo>
                  <a:pt x="91" y="69"/>
                </a:lnTo>
                <a:lnTo>
                  <a:pt x="91" y="69"/>
                </a:lnTo>
                <a:lnTo>
                  <a:pt x="87" y="76"/>
                </a:lnTo>
                <a:lnTo>
                  <a:pt x="80" y="84"/>
                </a:lnTo>
                <a:lnTo>
                  <a:pt x="80" y="84"/>
                </a:lnTo>
                <a:lnTo>
                  <a:pt x="80" y="93"/>
                </a:lnTo>
                <a:lnTo>
                  <a:pt x="79" y="102"/>
                </a:lnTo>
                <a:lnTo>
                  <a:pt x="71" y="120"/>
                </a:lnTo>
                <a:lnTo>
                  <a:pt x="71" y="120"/>
                </a:lnTo>
                <a:lnTo>
                  <a:pt x="66" y="137"/>
                </a:lnTo>
                <a:lnTo>
                  <a:pt x="61" y="156"/>
                </a:lnTo>
                <a:lnTo>
                  <a:pt x="61" y="156"/>
                </a:lnTo>
                <a:lnTo>
                  <a:pt x="59" y="156"/>
                </a:lnTo>
                <a:lnTo>
                  <a:pt x="56" y="156"/>
                </a:lnTo>
                <a:lnTo>
                  <a:pt x="53" y="159"/>
                </a:lnTo>
                <a:lnTo>
                  <a:pt x="53" y="159"/>
                </a:lnTo>
                <a:lnTo>
                  <a:pt x="52" y="156"/>
                </a:lnTo>
                <a:lnTo>
                  <a:pt x="52" y="153"/>
                </a:lnTo>
                <a:lnTo>
                  <a:pt x="50" y="147"/>
                </a:lnTo>
                <a:lnTo>
                  <a:pt x="50" y="147"/>
                </a:lnTo>
                <a:lnTo>
                  <a:pt x="49" y="151"/>
                </a:lnTo>
                <a:lnTo>
                  <a:pt x="47" y="156"/>
                </a:lnTo>
                <a:lnTo>
                  <a:pt x="47" y="156"/>
                </a:lnTo>
                <a:lnTo>
                  <a:pt x="47" y="166"/>
                </a:lnTo>
                <a:lnTo>
                  <a:pt x="47" y="166"/>
                </a:lnTo>
                <a:lnTo>
                  <a:pt x="44" y="177"/>
                </a:lnTo>
                <a:lnTo>
                  <a:pt x="43" y="181"/>
                </a:lnTo>
                <a:lnTo>
                  <a:pt x="39" y="186"/>
                </a:lnTo>
                <a:lnTo>
                  <a:pt x="39" y="186"/>
                </a:lnTo>
                <a:lnTo>
                  <a:pt x="42" y="189"/>
                </a:lnTo>
                <a:lnTo>
                  <a:pt x="42" y="191"/>
                </a:lnTo>
                <a:lnTo>
                  <a:pt x="42" y="191"/>
                </a:lnTo>
                <a:lnTo>
                  <a:pt x="39" y="197"/>
                </a:lnTo>
                <a:lnTo>
                  <a:pt x="39" y="197"/>
                </a:lnTo>
                <a:lnTo>
                  <a:pt x="43" y="201"/>
                </a:lnTo>
                <a:lnTo>
                  <a:pt x="44" y="206"/>
                </a:lnTo>
                <a:lnTo>
                  <a:pt x="46" y="213"/>
                </a:lnTo>
                <a:lnTo>
                  <a:pt x="46" y="219"/>
                </a:lnTo>
                <a:lnTo>
                  <a:pt x="46" y="219"/>
                </a:lnTo>
                <a:lnTo>
                  <a:pt x="44" y="233"/>
                </a:lnTo>
                <a:lnTo>
                  <a:pt x="42" y="243"/>
                </a:lnTo>
                <a:lnTo>
                  <a:pt x="42" y="243"/>
                </a:lnTo>
                <a:lnTo>
                  <a:pt x="42" y="241"/>
                </a:lnTo>
                <a:lnTo>
                  <a:pt x="42" y="240"/>
                </a:lnTo>
                <a:lnTo>
                  <a:pt x="42" y="234"/>
                </a:lnTo>
                <a:lnTo>
                  <a:pt x="42" y="231"/>
                </a:lnTo>
                <a:lnTo>
                  <a:pt x="42" y="230"/>
                </a:lnTo>
                <a:lnTo>
                  <a:pt x="40" y="231"/>
                </a:lnTo>
                <a:lnTo>
                  <a:pt x="40" y="231"/>
                </a:lnTo>
                <a:lnTo>
                  <a:pt x="39" y="239"/>
                </a:lnTo>
                <a:lnTo>
                  <a:pt x="37" y="241"/>
                </a:lnTo>
                <a:lnTo>
                  <a:pt x="34" y="243"/>
                </a:lnTo>
                <a:lnTo>
                  <a:pt x="34" y="243"/>
                </a:lnTo>
                <a:lnTo>
                  <a:pt x="34" y="236"/>
                </a:lnTo>
                <a:lnTo>
                  <a:pt x="34" y="233"/>
                </a:lnTo>
                <a:lnTo>
                  <a:pt x="33" y="231"/>
                </a:lnTo>
                <a:lnTo>
                  <a:pt x="33" y="231"/>
                </a:lnTo>
                <a:lnTo>
                  <a:pt x="32" y="236"/>
                </a:lnTo>
                <a:lnTo>
                  <a:pt x="32" y="241"/>
                </a:lnTo>
                <a:lnTo>
                  <a:pt x="30" y="244"/>
                </a:lnTo>
                <a:lnTo>
                  <a:pt x="29" y="246"/>
                </a:lnTo>
                <a:lnTo>
                  <a:pt x="26" y="246"/>
                </a:lnTo>
                <a:lnTo>
                  <a:pt x="23" y="246"/>
                </a:lnTo>
                <a:lnTo>
                  <a:pt x="23" y="246"/>
                </a:lnTo>
                <a:lnTo>
                  <a:pt x="23" y="247"/>
                </a:lnTo>
                <a:lnTo>
                  <a:pt x="23" y="249"/>
                </a:lnTo>
                <a:lnTo>
                  <a:pt x="26" y="249"/>
                </a:lnTo>
                <a:lnTo>
                  <a:pt x="27" y="249"/>
                </a:lnTo>
                <a:lnTo>
                  <a:pt x="29" y="249"/>
                </a:lnTo>
                <a:lnTo>
                  <a:pt x="29" y="251"/>
                </a:lnTo>
                <a:lnTo>
                  <a:pt x="29" y="251"/>
                </a:lnTo>
                <a:lnTo>
                  <a:pt x="27" y="253"/>
                </a:lnTo>
                <a:lnTo>
                  <a:pt x="27" y="256"/>
                </a:lnTo>
                <a:lnTo>
                  <a:pt x="27" y="256"/>
                </a:lnTo>
                <a:lnTo>
                  <a:pt x="23" y="256"/>
                </a:lnTo>
                <a:lnTo>
                  <a:pt x="20" y="253"/>
                </a:lnTo>
                <a:lnTo>
                  <a:pt x="16" y="249"/>
                </a:lnTo>
                <a:lnTo>
                  <a:pt x="16" y="249"/>
                </a:lnTo>
                <a:lnTo>
                  <a:pt x="14" y="253"/>
                </a:lnTo>
                <a:lnTo>
                  <a:pt x="16" y="256"/>
                </a:lnTo>
                <a:lnTo>
                  <a:pt x="17" y="257"/>
                </a:lnTo>
                <a:lnTo>
                  <a:pt x="20" y="259"/>
                </a:lnTo>
                <a:lnTo>
                  <a:pt x="20" y="259"/>
                </a:lnTo>
                <a:lnTo>
                  <a:pt x="19" y="260"/>
                </a:lnTo>
                <a:lnTo>
                  <a:pt x="17" y="260"/>
                </a:lnTo>
                <a:lnTo>
                  <a:pt x="16" y="259"/>
                </a:lnTo>
                <a:lnTo>
                  <a:pt x="13" y="257"/>
                </a:lnTo>
                <a:lnTo>
                  <a:pt x="12" y="257"/>
                </a:lnTo>
                <a:lnTo>
                  <a:pt x="10" y="259"/>
                </a:lnTo>
                <a:lnTo>
                  <a:pt x="10" y="259"/>
                </a:lnTo>
                <a:lnTo>
                  <a:pt x="7" y="270"/>
                </a:lnTo>
                <a:lnTo>
                  <a:pt x="7" y="270"/>
                </a:lnTo>
                <a:lnTo>
                  <a:pt x="7" y="279"/>
                </a:lnTo>
                <a:lnTo>
                  <a:pt x="7" y="279"/>
                </a:lnTo>
                <a:lnTo>
                  <a:pt x="7" y="277"/>
                </a:lnTo>
                <a:lnTo>
                  <a:pt x="10" y="276"/>
                </a:lnTo>
                <a:lnTo>
                  <a:pt x="10" y="276"/>
                </a:lnTo>
                <a:lnTo>
                  <a:pt x="10" y="279"/>
                </a:lnTo>
                <a:lnTo>
                  <a:pt x="12" y="281"/>
                </a:lnTo>
                <a:lnTo>
                  <a:pt x="12" y="283"/>
                </a:lnTo>
                <a:lnTo>
                  <a:pt x="10" y="286"/>
                </a:lnTo>
                <a:lnTo>
                  <a:pt x="10" y="286"/>
                </a:lnTo>
                <a:lnTo>
                  <a:pt x="10" y="281"/>
                </a:lnTo>
                <a:lnTo>
                  <a:pt x="9" y="280"/>
                </a:lnTo>
                <a:lnTo>
                  <a:pt x="9" y="279"/>
                </a:lnTo>
                <a:lnTo>
                  <a:pt x="9" y="279"/>
                </a:lnTo>
                <a:lnTo>
                  <a:pt x="6" y="289"/>
                </a:lnTo>
                <a:lnTo>
                  <a:pt x="4" y="299"/>
                </a:lnTo>
                <a:lnTo>
                  <a:pt x="4" y="299"/>
                </a:lnTo>
                <a:lnTo>
                  <a:pt x="3" y="307"/>
                </a:lnTo>
                <a:lnTo>
                  <a:pt x="2" y="311"/>
                </a:lnTo>
                <a:lnTo>
                  <a:pt x="0" y="314"/>
                </a:lnTo>
                <a:lnTo>
                  <a:pt x="0" y="314"/>
                </a:lnTo>
                <a:lnTo>
                  <a:pt x="2" y="316"/>
                </a:lnTo>
                <a:lnTo>
                  <a:pt x="3" y="314"/>
                </a:lnTo>
                <a:lnTo>
                  <a:pt x="4" y="314"/>
                </a:lnTo>
                <a:lnTo>
                  <a:pt x="6" y="316"/>
                </a:lnTo>
                <a:lnTo>
                  <a:pt x="6" y="316"/>
                </a:lnTo>
                <a:lnTo>
                  <a:pt x="6" y="323"/>
                </a:lnTo>
                <a:lnTo>
                  <a:pt x="4" y="326"/>
                </a:lnTo>
                <a:lnTo>
                  <a:pt x="2" y="330"/>
                </a:lnTo>
                <a:lnTo>
                  <a:pt x="0" y="334"/>
                </a:lnTo>
                <a:lnTo>
                  <a:pt x="0" y="334"/>
                </a:lnTo>
                <a:lnTo>
                  <a:pt x="3" y="334"/>
                </a:lnTo>
                <a:lnTo>
                  <a:pt x="6" y="333"/>
                </a:lnTo>
                <a:lnTo>
                  <a:pt x="7" y="333"/>
                </a:lnTo>
                <a:lnTo>
                  <a:pt x="9" y="336"/>
                </a:lnTo>
                <a:lnTo>
                  <a:pt x="9" y="336"/>
                </a:lnTo>
                <a:lnTo>
                  <a:pt x="9" y="347"/>
                </a:lnTo>
                <a:lnTo>
                  <a:pt x="9" y="351"/>
                </a:lnTo>
                <a:lnTo>
                  <a:pt x="7" y="353"/>
                </a:lnTo>
                <a:lnTo>
                  <a:pt x="4" y="353"/>
                </a:lnTo>
                <a:lnTo>
                  <a:pt x="4" y="353"/>
                </a:lnTo>
                <a:lnTo>
                  <a:pt x="3" y="346"/>
                </a:lnTo>
                <a:lnTo>
                  <a:pt x="2" y="343"/>
                </a:lnTo>
                <a:lnTo>
                  <a:pt x="2" y="343"/>
                </a:lnTo>
                <a:lnTo>
                  <a:pt x="0" y="343"/>
                </a:lnTo>
                <a:lnTo>
                  <a:pt x="0" y="343"/>
                </a:lnTo>
                <a:lnTo>
                  <a:pt x="3" y="351"/>
                </a:lnTo>
                <a:lnTo>
                  <a:pt x="3" y="357"/>
                </a:lnTo>
                <a:lnTo>
                  <a:pt x="4" y="363"/>
                </a:lnTo>
                <a:lnTo>
                  <a:pt x="9" y="367"/>
                </a:lnTo>
                <a:lnTo>
                  <a:pt x="9" y="367"/>
                </a:lnTo>
                <a:lnTo>
                  <a:pt x="7" y="368"/>
                </a:lnTo>
                <a:lnTo>
                  <a:pt x="7" y="370"/>
                </a:lnTo>
                <a:lnTo>
                  <a:pt x="4" y="370"/>
                </a:lnTo>
                <a:lnTo>
                  <a:pt x="2" y="370"/>
                </a:lnTo>
                <a:lnTo>
                  <a:pt x="0" y="371"/>
                </a:lnTo>
                <a:lnTo>
                  <a:pt x="0" y="373"/>
                </a:lnTo>
                <a:lnTo>
                  <a:pt x="0" y="373"/>
                </a:lnTo>
                <a:lnTo>
                  <a:pt x="2" y="374"/>
                </a:lnTo>
                <a:lnTo>
                  <a:pt x="3" y="374"/>
                </a:lnTo>
                <a:lnTo>
                  <a:pt x="6" y="374"/>
                </a:lnTo>
                <a:lnTo>
                  <a:pt x="6" y="377"/>
                </a:lnTo>
                <a:lnTo>
                  <a:pt x="6" y="377"/>
                </a:lnTo>
                <a:lnTo>
                  <a:pt x="4" y="381"/>
                </a:lnTo>
                <a:lnTo>
                  <a:pt x="3" y="388"/>
                </a:lnTo>
                <a:lnTo>
                  <a:pt x="2" y="393"/>
                </a:lnTo>
                <a:lnTo>
                  <a:pt x="3" y="393"/>
                </a:lnTo>
                <a:lnTo>
                  <a:pt x="4" y="390"/>
                </a:lnTo>
                <a:lnTo>
                  <a:pt x="4" y="390"/>
                </a:lnTo>
                <a:lnTo>
                  <a:pt x="4" y="400"/>
                </a:lnTo>
                <a:lnTo>
                  <a:pt x="6" y="411"/>
                </a:lnTo>
                <a:lnTo>
                  <a:pt x="6" y="411"/>
                </a:lnTo>
                <a:lnTo>
                  <a:pt x="9" y="411"/>
                </a:lnTo>
                <a:lnTo>
                  <a:pt x="12" y="411"/>
                </a:lnTo>
                <a:lnTo>
                  <a:pt x="12" y="413"/>
                </a:lnTo>
                <a:lnTo>
                  <a:pt x="12" y="413"/>
                </a:lnTo>
                <a:lnTo>
                  <a:pt x="12" y="426"/>
                </a:lnTo>
                <a:lnTo>
                  <a:pt x="12" y="426"/>
                </a:lnTo>
                <a:lnTo>
                  <a:pt x="13" y="437"/>
                </a:lnTo>
                <a:lnTo>
                  <a:pt x="13" y="437"/>
                </a:lnTo>
                <a:lnTo>
                  <a:pt x="17" y="458"/>
                </a:lnTo>
                <a:lnTo>
                  <a:pt x="17" y="458"/>
                </a:lnTo>
                <a:lnTo>
                  <a:pt x="23" y="480"/>
                </a:lnTo>
                <a:lnTo>
                  <a:pt x="23" y="480"/>
                </a:lnTo>
                <a:lnTo>
                  <a:pt x="24" y="490"/>
                </a:lnTo>
                <a:lnTo>
                  <a:pt x="24" y="490"/>
                </a:lnTo>
                <a:lnTo>
                  <a:pt x="26" y="495"/>
                </a:lnTo>
                <a:lnTo>
                  <a:pt x="26" y="495"/>
                </a:lnTo>
                <a:lnTo>
                  <a:pt x="26" y="498"/>
                </a:lnTo>
                <a:lnTo>
                  <a:pt x="26" y="503"/>
                </a:lnTo>
                <a:lnTo>
                  <a:pt x="26" y="503"/>
                </a:lnTo>
                <a:lnTo>
                  <a:pt x="29" y="501"/>
                </a:lnTo>
                <a:lnTo>
                  <a:pt x="29" y="500"/>
                </a:lnTo>
                <a:lnTo>
                  <a:pt x="30" y="500"/>
                </a:lnTo>
                <a:lnTo>
                  <a:pt x="32" y="501"/>
                </a:lnTo>
                <a:lnTo>
                  <a:pt x="32" y="501"/>
                </a:lnTo>
                <a:lnTo>
                  <a:pt x="32" y="510"/>
                </a:lnTo>
                <a:lnTo>
                  <a:pt x="33" y="520"/>
                </a:lnTo>
                <a:lnTo>
                  <a:pt x="36" y="527"/>
                </a:lnTo>
                <a:lnTo>
                  <a:pt x="42" y="533"/>
                </a:lnTo>
                <a:lnTo>
                  <a:pt x="42" y="533"/>
                </a:lnTo>
                <a:lnTo>
                  <a:pt x="39" y="533"/>
                </a:lnTo>
                <a:lnTo>
                  <a:pt x="36" y="531"/>
                </a:lnTo>
                <a:lnTo>
                  <a:pt x="36" y="531"/>
                </a:lnTo>
                <a:lnTo>
                  <a:pt x="40" y="538"/>
                </a:lnTo>
                <a:lnTo>
                  <a:pt x="40" y="538"/>
                </a:lnTo>
                <a:lnTo>
                  <a:pt x="40" y="543"/>
                </a:lnTo>
                <a:lnTo>
                  <a:pt x="42" y="544"/>
                </a:lnTo>
                <a:lnTo>
                  <a:pt x="42" y="544"/>
                </a:lnTo>
                <a:lnTo>
                  <a:pt x="42" y="544"/>
                </a:lnTo>
                <a:lnTo>
                  <a:pt x="42" y="544"/>
                </a:lnTo>
                <a:lnTo>
                  <a:pt x="42" y="544"/>
                </a:lnTo>
                <a:lnTo>
                  <a:pt x="42" y="545"/>
                </a:lnTo>
                <a:lnTo>
                  <a:pt x="42" y="545"/>
                </a:lnTo>
                <a:lnTo>
                  <a:pt x="40" y="553"/>
                </a:lnTo>
                <a:lnTo>
                  <a:pt x="40" y="553"/>
                </a:lnTo>
                <a:lnTo>
                  <a:pt x="36" y="551"/>
                </a:lnTo>
                <a:lnTo>
                  <a:pt x="34" y="548"/>
                </a:lnTo>
                <a:lnTo>
                  <a:pt x="34" y="548"/>
                </a:lnTo>
                <a:lnTo>
                  <a:pt x="32" y="547"/>
                </a:lnTo>
                <a:lnTo>
                  <a:pt x="32" y="547"/>
                </a:lnTo>
                <a:lnTo>
                  <a:pt x="32" y="547"/>
                </a:lnTo>
                <a:lnTo>
                  <a:pt x="32" y="547"/>
                </a:lnTo>
                <a:lnTo>
                  <a:pt x="30" y="547"/>
                </a:lnTo>
                <a:lnTo>
                  <a:pt x="30" y="547"/>
                </a:lnTo>
                <a:lnTo>
                  <a:pt x="29" y="545"/>
                </a:lnTo>
                <a:lnTo>
                  <a:pt x="29" y="545"/>
                </a:lnTo>
                <a:lnTo>
                  <a:pt x="26" y="545"/>
                </a:lnTo>
                <a:lnTo>
                  <a:pt x="26" y="545"/>
                </a:lnTo>
                <a:lnTo>
                  <a:pt x="27" y="548"/>
                </a:lnTo>
                <a:lnTo>
                  <a:pt x="27" y="548"/>
                </a:lnTo>
                <a:lnTo>
                  <a:pt x="27" y="548"/>
                </a:lnTo>
                <a:lnTo>
                  <a:pt x="27" y="548"/>
                </a:lnTo>
                <a:lnTo>
                  <a:pt x="27" y="548"/>
                </a:lnTo>
                <a:lnTo>
                  <a:pt x="27" y="550"/>
                </a:lnTo>
                <a:lnTo>
                  <a:pt x="27" y="550"/>
                </a:lnTo>
                <a:lnTo>
                  <a:pt x="30" y="551"/>
                </a:lnTo>
                <a:lnTo>
                  <a:pt x="30" y="551"/>
                </a:lnTo>
                <a:lnTo>
                  <a:pt x="36" y="553"/>
                </a:lnTo>
                <a:lnTo>
                  <a:pt x="36" y="553"/>
                </a:lnTo>
                <a:lnTo>
                  <a:pt x="40" y="555"/>
                </a:lnTo>
                <a:lnTo>
                  <a:pt x="42" y="558"/>
                </a:lnTo>
                <a:lnTo>
                  <a:pt x="43" y="561"/>
                </a:lnTo>
                <a:lnTo>
                  <a:pt x="43" y="561"/>
                </a:lnTo>
                <a:lnTo>
                  <a:pt x="44" y="560"/>
                </a:lnTo>
                <a:lnTo>
                  <a:pt x="47" y="558"/>
                </a:lnTo>
                <a:lnTo>
                  <a:pt x="47" y="558"/>
                </a:lnTo>
                <a:lnTo>
                  <a:pt x="49" y="558"/>
                </a:lnTo>
                <a:lnTo>
                  <a:pt x="49" y="558"/>
                </a:lnTo>
                <a:lnTo>
                  <a:pt x="49" y="563"/>
                </a:lnTo>
                <a:lnTo>
                  <a:pt x="49" y="563"/>
                </a:lnTo>
                <a:lnTo>
                  <a:pt x="49" y="563"/>
                </a:lnTo>
                <a:lnTo>
                  <a:pt x="49" y="563"/>
                </a:lnTo>
                <a:lnTo>
                  <a:pt x="50" y="563"/>
                </a:lnTo>
                <a:lnTo>
                  <a:pt x="50" y="563"/>
                </a:lnTo>
                <a:lnTo>
                  <a:pt x="50" y="563"/>
                </a:lnTo>
                <a:lnTo>
                  <a:pt x="50" y="563"/>
                </a:lnTo>
                <a:lnTo>
                  <a:pt x="50" y="563"/>
                </a:lnTo>
                <a:lnTo>
                  <a:pt x="53" y="573"/>
                </a:lnTo>
                <a:lnTo>
                  <a:pt x="53" y="573"/>
                </a:lnTo>
                <a:lnTo>
                  <a:pt x="53" y="573"/>
                </a:lnTo>
                <a:lnTo>
                  <a:pt x="53" y="573"/>
                </a:lnTo>
                <a:lnTo>
                  <a:pt x="53" y="573"/>
                </a:lnTo>
                <a:lnTo>
                  <a:pt x="56" y="574"/>
                </a:lnTo>
                <a:lnTo>
                  <a:pt x="56" y="574"/>
                </a:lnTo>
                <a:lnTo>
                  <a:pt x="53" y="575"/>
                </a:lnTo>
                <a:lnTo>
                  <a:pt x="52" y="578"/>
                </a:lnTo>
                <a:lnTo>
                  <a:pt x="52" y="585"/>
                </a:lnTo>
                <a:lnTo>
                  <a:pt x="52" y="585"/>
                </a:lnTo>
                <a:lnTo>
                  <a:pt x="54" y="591"/>
                </a:lnTo>
                <a:lnTo>
                  <a:pt x="57" y="595"/>
                </a:lnTo>
                <a:lnTo>
                  <a:pt x="60" y="607"/>
                </a:lnTo>
                <a:lnTo>
                  <a:pt x="60" y="607"/>
                </a:lnTo>
                <a:lnTo>
                  <a:pt x="63" y="611"/>
                </a:lnTo>
                <a:lnTo>
                  <a:pt x="64" y="617"/>
                </a:lnTo>
                <a:lnTo>
                  <a:pt x="64" y="617"/>
                </a:lnTo>
                <a:lnTo>
                  <a:pt x="69" y="621"/>
                </a:lnTo>
                <a:lnTo>
                  <a:pt x="73" y="625"/>
                </a:lnTo>
                <a:lnTo>
                  <a:pt x="73" y="625"/>
                </a:lnTo>
                <a:lnTo>
                  <a:pt x="81" y="648"/>
                </a:lnTo>
                <a:lnTo>
                  <a:pt x="81" y="648"/>
                </a:lnTo>
                <a:lnTo>
                  <a:pt x="93" y="672"/>
                </a:lnTo>
                <a:lnTo>
                  <a:pt x="93" y="672"/>
                </a:lnTo>
                <a:lnTo>
                  <a:pt x="100" y="684"/>
                </a:lnTo>
                <a:lnTo>
                  <a:pt x="100" y="684"/>
                </a:lnTo>
                <a:lnTo>
                  <a:pt x="107" y="695"/>
                </a:lnTo>
                <a:lnTo>
                  <a:pt x="107" y="695"/>
                </a:lnTo>
                <a:lnTo>
                  <a:pt x="121" y="712"/>
                </a:lnTo>
                <a:lnTo>
                  <a:pt x="121" y="712"/>
                </a:lnTo>
                <a:lnTo>
                  <a:pt x="121" y="715"/>
                </a:lnTo>
                <a:lnTo>
                  <a:pt x="123" y="718"/>
                </a:lnTo>
                <a:lnTo>
                  <a:pt x="123" y="722"/>
                </a:lnTo>
                <a:lnTo>
                  <a:pt x="121" y="724"/>
                </a:lnTo>
                <a:lnTo>
                  <a:pt x="120" y="724"/>
                </a:lnTo>
                <a:lnTo>
                  <a:pt x="120" y="724"/>
                </a:lnTo>
                <a:lnTo>
                  <a:pt x="124" y="727"/>
                </a:lnTo>
                <a:lnTo>
                  <a:pt x="126" y="730"/>
                </a:lnTo>
                <a:lnTo>
                  <a:pt x="129" y="735"/>
                </a:lnTo>
                <a:lnTo>
                  <a:pt x="131" y="741"/>
                </a:lnTo>
                <a:lnTo>
                  <a:pt x="133" y="742"/>
                </a:lnTo>
                <a:lnTo>
                  <a:pt x="137" y="744"/>
                </a:lnTo>
                <a:lnTo>
                  <a:pt x="137" y="744"/>
                </a:lnTo>
                <a:lnTo>
                  <a:pt x="136" y="741"/>
                </a:lnTo>
                <a:lnTo>
                  <a:pt x="136" y="740"/>
                </a:lnTo>
                <a:lnTo>
                  <a:pt x="137" y="738"/>
                </a:lnTo>
                <a:lnTo>
                  <a:pt x="137" y="738"/>
                </a:lnTo>
                <a:lnTo>
                  <a:pt x="141" y="742"/>
                </a:lnTo>
                <a:lnTo>
                  <a:pt x="146" y="750"/>
                </a:lnTo>
                <a:lnTo>
                  <a:pt x="146" y="750"/>
                </a:lnTo>
                <a:lnTo>
                  <a:pt x="143" y="751"/>
                </a:lnTo>
                <a:lnTo>
                  <a:pt x="143" y="752"/>
                </a:lnTo>
                <a:lnTo>
                  <a:pt x="144" y="755"/>
                </a:lnTo>
                <a:lnTo>
                  <a:pt x="144" y="755"/>
                </a:lnTo>
                <a:lnTo>
                  <a:pt x="148" y="755"/>
                </a:lnTo>
                <a:lnTo>
                  <a:pt x="151" y="758"/>
                </a:lnTo>
                <a:lnTo>
                  <a:pt x="154" y="761"/>
                </a:lnTo>
                <a:lnTo>
                  <a:pt x="156" y="764"/>
                </a:lnTo>
                <a:lnTo>
                  <a:pt x="158" y="774"/>
                </a:lnTo>
                <a:lnTo>
                  <a:pt x="161" y="781"/>
                </a:lnTo>
                <a:lnTo>
                  <a:pt x="161" y="781"/>
                </a:lnTo>
                <a:lnTo>
                  <a:pt x="163" y="779"/>
                </a:lnTo>
                <a:lnTo>
                  <a:pt x="163" y="778"/>
                </a:lnTo>
                <a:lnTo>
                  <a:pt x="163" y="775"/>
                </a:lnTo>
                <a:lnTo>
                  <a:pt x="163" y="775"/>
                </a:lnTo>
                <a:lnTo>
                  <a:pt x="167" y="779"/>
                </a:lnTo>
                <a:lnTo>
                  <a:pt x="171" y="785"/>
                </a:lnTo>
                <a:lnTo>
                  <a:pt x="173" y="792"/>
                </a:lnTo>
                <a:lnTo>
                  <a:pt x="173" y="795"/>
                </a:lnTo>
                <a:lnTo>
                  <a:pt x="171" y="797"/>
                </a:lnTo>
                <a:lnTo>
                  <a:pt x="171" y="797"/>
                </a:lnTo>
                <a:lnTo>
                  <a:pt x="170" y="794"/>
                </a:lnTo>
                <a:lnTo>
                  <a:pt x="170" y="791"/>
                </a:lnTo>
                <a:lnTo>
                  <a:pt x="170" y="789"/>
                </a:lnTo>
                <a:lnTo>
                  <a:pt x="167" y="788"/>
                </a:lnTo>
                <a:lnTo>
                  <a:pt x="167" y="788"/>
                </a:lnTo>
                <a:lnTo>
                  <a:pt x="167" y="791"/>
                </a:lnTo>
                <a:lnTo>
                  <a:pt x="167" y="792"/>
                </a:lnTo>
                <a:lnTo>
                  <a:pt x="166" y="795"/>
                </a:lnTo>
                <a:lnTo>
                  <a:pt x="166" y="795"/>
                </a:lnTo>
                <a:lnTo>
                  <a:pt x="173" y="799"/>
                </a:lnTo>
                <a:lnTo>
                  <a:pt x="180" y="805"/>
                </a:lnTo>
                <a:lnTo>
                  <a:pt x="180" y="805"/>
                </a:lnTo>
                <a:lnTo>
                  <a:pt x="187" y="811"/>
                </a:lnTo>
                <a:lnTo>
                  <a:pt x="187" y="811"/>
                </a:lnTo>
                <a:lnTo>
                  <a:pt x="193" y="818"/>
                </a:lnTo>
                <a:lnTo>
                  <a:pt x="193" y="818"/>
                </a:lnTo>
                <a:lnTo>
                  <a:pt x="203" y="829"/>
                </a:lnTo>
                <a:lnTo>
                  <a:pt x="211" y="841"/>
                </a:lnTo>
                <a:lnTo>
                  <a:pt x="211" y="841"/>
                </a:lnTo>
                <a:lnTo>
                  <a:pt x="213" y="842"/>
                </a:lnTo>
                <a:lnTo>
                  <a:pt x="217" y="842"/>
                </a:lnTo>
                <a:lnTo>
                  <a:pt x="218" y="844"/>
                </a:lnTo>
                <a:lnTo>
                  <a:pt x="221" y="844"/>
                </a:lnTo>
                <a:lnTo>
                  <a:pt x="221" y="844"/>
                </a:lnTo>
                <a:lnTo>
                  <a:pt x="223" y="848"/>
                </a:lnTo>
                <a:lnTo>
                  <a:pt x="224" y="852"/>
                </a:lnTo>
                <a:lnTo>
                  <a:pt x="227" y="858"/>
                </a:lnTo>
                <a:lnTo>
                  <a:pt x="233" y="862"/>
                </a:lnTo>
                <a:lnTo>
                  <a:pt x="233" y="862"/>
                </a:lnTo>
                <a:lnTo>
                  <a:pt x="237" y="868"/>
                </a:lnTo>
                <a:lnTo>
                  <a:pt x="237" y="868"/>
                </a:lnTo>
                <a:lnTo>
                  <a:pt x="247" y="875"/>
                </a:lnTo>
                <a:lnTo>
                  <a:pt x="253" y="882"/>
                </a:lnTo>
                <a:lnTo>
                  <a:pt x="254" y="885"/>
                </a:lnTo>
                <a:lnTo>
                  <a:pt x="255" y="889"/>
                </a:lnTo>
                <a:lnTo>
                  <a:pt x="255" y="889"/>
                </a:lnTo>
                <a:lnTo>
                  <a:pt x="254" y="889"/>
                </a:lnTo>
                <a:lnTo>
                  <a:pt x="253" y="889"/>
                </a:lnTo>
                <a:lnTo>
                  <a:pt x="248" y="887"/>
                </a:lnTo>
                <a:lnTo>
                  <a:pt x="245" y="884"/>
                </a:lnTo>
                <a:lnTo>
                  <a:pt x="244" y="884"/>
                </a:lnTo>
                <a:lnTo>
                  <a:pt x="245" y="885"/>
                </a:lnTo>
                <a:lnTo>
                  <a:pt x="245" y="885"/>
                </a:lnTo>
                <a:lnTo>
                  <a:pt x="251" y="891"/>
                </a:lnTo>
                <a:lnTo>
                  <a:pt x="254" y="892"/>
                </a:lnTo>
                <a:lnTo>
                  <a:pt x="257" y="897"/>
                </a:lnTo>
                <a:lnTo>
                  <a:pt x="257" y="897"/>
                </a:lnTo>
                <a:lnTo>
                  <a:pt x="258" y="894"/>
                </a:lnTo>
                <a:lnTo>
                  <a:pt x="260" y="894"/>
                </a:lnTo>
                <a:lnTo>
                  <a:pt x="264" y="895"/>
                </a:lnTo>
                <a:lnTo>
                  <a:pt x="264" y="895"/>
                </a:lnTo>
                <a:lnTo>
                  <a:pt x="267" y="899"/>
                </a:lnTo>
                <a:lnTo>
                  <a:pt x="268" y="902"/>
                </a:lnTo>
                <a:lnTo>
                  <a:pt x="268" y="902"/>
                </a:lnTo>
                <a:lnTo>
                  <a:pt x="260" y="898"/>
                </a:lnTo>
                <a:lnTo>
                  <a:pt x="260" y="898"/>
                </a:lnTo>
                <a:lnTo>
                  <a:pt x="254" y="897"/>
                </a:lnTo>
                <a:lnTo>
                  <a:pt x="250" y="897"/>
                </a:lnTo>
                <a:lnTo>
                  <a:pt x="250" y="897"/>
                </a:lnTo>
                <a:lnTo>
                  <a:pt x="260" y="902"/>
                </a:lnTo>
                <a:lnTo>
                  <a:pt x="260" y="902"/>
                </a:lnTo>
                <a:lnTo>
                  <a:pt x="270" y="908"/>
                </a:lnTo>
                <a:lnTo>
                  <a:pt x="270" y="908"/>
                </a:lnTo>
                <a:lnTo>
                  <a:pt x="273" y="912"/>
                </a:lnTo>
                <a:lnTo>
                  <a:pt x="274" y="915"/>
                </a:lnTo>
                <a:lnTo>
                  <a:pt x="275" y="919"/>
                </a:lnTo>
                <a:lnTo>
                  <a:pt x="273" y="922"/>
                </a:lnTo>
                <a:lnTo>
                  <a:pt x="273" y="922"/>
                </a:lnTo>
                <a:lnTo>
                  <a:pt x="274" y="922"/>
                </a:lnTo>
                <a:lnTo>
                  <a:pt x="274" y="922"/>
                </a:lnTo>
                <a:lnTo>
                  <a:pt x="275" y="924"/>
                </a:lnTo>
                <a:lnTo>
                  <a:pt x="275" y="925"/>
                </a:lnTo>
                <a:lnTo>
                  <a:pt x="275" y="925"/>
                </a:lnTo>
                <a:lnTo>
                  <a:pt x="270" y="925"/>
                </a:lnTo>
                <a:lnTo>
                  <a:pt x="267" y="925"/>
                </a:lnTo>
                <a:lnTo>
                  <a:pt x="264" y="927"/>
                </a:lnTo>
                <a:lnTo>
                  <a:pt x="260" y="927"/>
                </a:lnTo>
                <a:lnTo>
                  <a:pt x="260" y="927"/>
                </a:lnTo>
                <a:lnTo>
                  <a:pt x="268" y="929"/>
                </a:lnTo>
                <a:lnTo>
                  <a:pt x="277" y="935"/>
                </a:lnTo>
                <a:lnTo>
                  <a:pt x="277" y="935"/>
                </a:lnTo>
                <a:lnTo>
                  <a:pt x="288" y="946"/>
                </a:lnTo>
                <a:lnTo>
                  <a:pt x="288" y="946"/>
                </a:lnTo>
                <a:lnTo>
                  <a:pt x="295" y="952"/>
                </a:lnTo>
                <a:lnTo>
                  <a:pt x="303" y="956"/>
                </a:lnTo>
                <a:lnTo>
                  <a:pt x="303" y="956"/>
                </a:lnTo>
                <a:lnTo>
                  <a:pt x="310" y="959"/>
                </a:lnTo>
                <a:lnTo>
                  <a:pt x="310" y="959"/>
                </a:lnTo>
                <a:lnTo>
                  <a:pt x="321" y="959"/>
                </a:lnTo>
                <a:lnTo>
                  <a:pt x="321" y="959"/>
                </a:lnTo>
                <a:lnTo>
                  <a:pt x="320" y="961"/>
                </a:lnTo>
                <a:lnTo>
                  <a:pt x="318" y="962"/>
                </a:lnTo>
                <a:lnTo>
                  <a:pt x="317" y="962"/>
                </a:lnTo>
                <a:lnTo>
                  <a:pt x="315" y="964"/>
                </a:lnTo>
                <a:lnTo>
                  <a:pt x="315" y="964"/>
                </a:lnTo>
                <a:lnTo>
                  <a:pt x="318" y="965"/>
                </a:lnTo>
                <a:lnTo>
                  <a:pt x="321" y="966"/>
                </a:lnTo>
                <a:lnTo>
                  <a:pt x="324" y="966"/>
                </a:lnTo>
                <a:lnTo>
                  <a:pt x="328" y="969"/>
                </a:lnTo>
                <a:lnTo>
                  <a:pt x="328" y="969"/>
                </a:lnTo>
                <a:lnTo>
                  <a:pt x="327" y="971"/>
                </a:lnTo>
                <a:lnTo>
                  <a:pt x="327" y="972"/>
                </a:lnTo>
                <a:lnTo>
                  <a:pt x="327" y="974"/>
                </a:lnTo>
                <a:lnTo>
                  <a:pt x="327" y="976"/>
                </a:lnTo>
                <a:lnTo>
                  <a:pt x="327" y="976"/>
                </a:lnTo>
                <a:lnTo>
                  <a:pt x="334" y="979"/>
                </a:lnTo>
                <a:lnTo>
                  <a:pt x="337" y="981"/>
                </a:lnTo>
                <a:lnTo>
                  <a:pt x="340" y="981"/>
                </a:lnTo>
                <a:lnTo>
                  <a:pt x="340" y="981"/>
                </a:lnTo>
                <a:lnTo>
                  <a:pt x="335" y="978"/>
                </a:lnTo>
                <a:lnTo>
                  <a:pt x="332" y="974"/>
                </a:lnTo>
                <a:lnTo>
                  <a:pt x="332" y="971"/>
                </a:lnTo>
                <a:lnTo>
                  <a:pt x="332" y="966"/>
                </a:lnTo>
                <a:lnTo>
                  <a:pt x="332" y="966"/>
                </a:lnTo>
                <a:lnTo>
                  <a:pt x="340" y="972"/>
                </a:lnTo>
                <a:lnTo>
                  <a:pt x="347" y="975"/>
                </a:lnTo>
                <a:lnTo>
                  <a:pt x="347" y="975"/>
                </a:lnTo>
                <a:lnTo>
                  <a:pt x="352" y="979"/>
                </a:lnTo>
                <a:lnTo>
                  <a:pt x="355" y="982"/>
                </a:lnTo>
                <a:lnTo>
                  <a:pt x="357" y="986"/>
                </a:lnTo>
                <a:lnTo>
                  <a:pt x="357" y="986"/>
                </a:lnTo>
                <a:lnTo>
                  <a:pt x="354" y="984"/>
                </a:lnTo>
                <a:lnTo>
                  <a:pt x="351" y="984"/>
                </a:lnTo>
                <a:lnTo>
                  <a:pt x="347" y="984"/>
                </a:lnTo>
                <a:lnTo>
                  <a:pt x="344" y="982"/>
                </a:lnTo>
                <a:lnTo>
                  <a:pt x="344" y="982"/>
                </a:lnTo>
                <a:lnTo>
                  <a:pt x="342" y="988"/>
                </a:lnTo>
                <a:lnTo>
                  <a:pt x="342" y="991"/>
                </a:lnTo>
                <a:lnTo>
                  <a:pt x="345" y="994"/>
                </a:lnTo>
                <a:lnTo>
                  <a:pt x="345" y="994"/>
                </a:lnTo>
                <a:lnTo>
                  <a:pt x="347" y="991"/>
                </a:lnTo>
                <a:lnTo>
                  <a:pt x="348" y="989"/>
                </a:lnTo>
                <a:lnTo>
                  <a:pt x="351" y="989"/>
                </a:lnTo>
                <a:lnTo>
                  <a:pt x="351" y="989"/>
                </a:lnTo>
                <a:lnTo>
                  <a:pt x="350" y="992"/>
                </a:lnTo>
                <a:lnTo>
                  <a:pt x="351" y="995"/>
                </a:lnTo>
                <a:lnTo>
                  <a:pt x="358" y="1004"/>
                </a:lnTo>
                <a:lnTo>
                  <a:pt x="358" y="1004"/>
                </a:lnTo>
                <a:lnTo>
                  <a:pt x="367" y="1011"/>
                </a:lnTo>
                <a:lnTo>
                  <a:pt x="367" y="1011"/>
                </a:lnTo>
                <a:lnTo>
                  <a:pt x="377" y="1016"/>
                </a:lnTo>
                <a:lnTo>
                  <a:pt x="377" y="1016"/>
                </a:lnTo>
                <a:lnTo>
                  <a:pt x="378" y="1014"/>
                </a:lnTo>
                <a:lnTo>
                  <a:pt x="377" y="1011"/>
                </a:lnTo>
                <a:lnTo>
                  <a:pt x="377" y="1009"/>
                </a:lnTo>
                <a:lnTo>
                  <a:pt x="377" y="1006"/>
                </a:lnTo>
                <a:lnTo>
                  <a:pt x="377" y="1006"/>
                </a:lnTo>
                <a:lnTo>
                  <a:pt x="381" y="1011"/>
                </a:lnTo>
                <a:lnTo>
                  <a:pt x="387" y="1014"/>
                </a:lnTo>
                <a:lnTo>
                  <a:pt x="387" y="1014"/>
                </a:lnTo>
                <a:lnTo>
                  <a:pt x="384" y="1015"/>
                </a:lnTo>
                <a:lnTo>
                  <a:pt x="382" y="1015"/>
                </a:lnTo>
                <a:lnTo>
                  <a:pt x="381" y="1021"/>
                </a:lnTo>
                <a:lnTo>
                  <a:pt x="381" y="1021"/>
                </a:lnTo>
                <a:lnTo>
                  <a:pt x="384" y="1022"/>
                </a:lnTo>
                <a:lnTo>
                  <a:pt x="385" y="1021"/>
                </a:lnTo>
                <a:lnTo>
                  <a:pt x="387" y="1021"/>
                </a:lnTo>
                <a:lnTo>
                  <a:pt x="390" y="1021"/>
                </a:lnTo>
                <a:lnTo>
                  <a:pt x="390" y="1021"/>
                </a:lnTo>
                <a:lnTo>
                  <a:pt x="390" y="1022"/>
                </a:lnTo>
                <a:lnTo>
                  <a:pt x="390" y="1024"/>
                </a:lnTo>
                <a:lnTo>
                  <a:pt x="392" y="1028"/>
                </a:lnTo>
                <a:lnTo>
                  <a:pt x="395" y="1031"/>
                </a:lnTo>
                <a:lnTo>
                  <a:pt x="397" y="1032"/>
                </a:lnTo>
                <a:lnTo>
                  <a:pt x="397" y="1034"/>
                </a:lnTo>
                <a:lnTo>
                  <a:pt x="397" y="1034"/>
                </a:lnTo>
                <a:lnTo>
                  <a:pt x="402" y="1034"/>
                </a:lnTo>
                <a:lnTo>
                  <a:pt x="405" y="1036"/>
                </a:lnTo>
                <a:lnTo>
                  <a:pt x="405" y="1036"/>
                </a:lnTo>
                <a:lnTo>
                  <a:pt x="405" y="1038"/>
                </a:lnTo>
                <a:lnTo>
                  <a:pt x="404" y="1041"/>
                </a:lnTo>
                <a:lnTo>
                  <a:pt x="404" y="1041"/>
                </a:lnTo>
                <a:lnTo>
                  <a:pt x="414" y="1042"/>
                </a:lnTo>
                <a:lnTo>
                  <a:pt x="417" y="1042"/>
                </a:lnTo>
                <a:lnTo>
                  <a:pt x="422" y="1041"/>
                </a:lnTo>
                <a:lnTo>
                  <a:pt x="422" y="1041"/>
                </a:lnTo>
                <a:lnTo>
                  <a:pt x="422" y="1044"/>
                </a:lnTo>
                <a:lnTo>
                  <a:pt x="422" y="1044"/>
                </a:lnTo>
                <a:lnTo>
                  <a:pt x="421" y="1045"/>
                </a:lnTo>
                <a:lnTo>
                  <a:pt x="420" y="1046"/>
                </a:lnTo>
                <a:lnTo>
                  <a:pt x="420" y="1046"/>
                </a:lnTo>
                <a:lnTo>
                  <a:pt x="427" y="1049"/>
                </a:lnTo>
                <a:lnTo>
                  <a:pt x="431" y="1055"/>
                </a:lnTo>
                <a:lnTo>
                  <a:pt x="431" y="1055"/>
                </a:lnTo>
                <a:lnTo>
                  <a:pt x="437" y="1054"/>
                </a:lnTo>
                <a:lnTo>
                  <a:pt x="441" y="1052"/>
                </a:lnTo>
                <a:lnTo>
                  <a:pt x="441" y="1052"/>
                </a:lnTo>
                <a:lnTo>
                  <a:pt x="442" y="1055"/>
                </a:lnTo>
                <a:lnTo>
                  <a:pt x="444" y="1056"/>
                </a:lnTo>
                <a:lnTo>
                  <a:pt x="444" y="1056"/>
                </a:lnTo>
                <a:lnTo>
                  <a:pt x="441" y="1058"/>
                </a:lnTo>
                <a:lnTo>
                  <a:pt x="441" y="1058"/>
                </a:lnTo>
                <a:lnTo>
                  <a:pt x="448" y="1061"/>
                </a:lnTo>
                <a:lnTo>
                  <a:pt x="454" y="1062"/>
                </a:lnTo>
                <a:lnTo>
                  <a:pt x="459" y="1062"/>
                </a:lnTo>
                <a:lnTo>
                  <a:pt x="465" y="1062"/>
                </a:lnTo>
                <a:lnTo>
                  <a:pt x="465" y="1062"/>
                </a:lnTo>
                <a:lnTo>
                  <a:pt x="475" y="1061"/>
                </a:lnTo>
                <a:lnTo>
                  <a:pt x="475" y="1061"/>
                </a:lnTo>
                <a:lnTo>
                  <a:pt x="478" y="1061"/>
                </a:lnTo>
                <a:lnTo>
                  <a:pt x="482" y="1064"/>
                </a:lnTo>
                <a:lnTo>
                  <a:pt x="482" y="1064"/>
                </a:lnTo>
                <a:lnTo>
                  <a:pt x="484" y="1059"/>
                </a:lnTo>
                <a:lnTo>
                  <a:pt x="487" y="1058"/>
                </a:lnTo>
                <a:lnTo>
                  <a:pt x="488" y="1058"/>
                </a:lnTo>
                <a:lnTo>
                  <a:pt x="491" y="1058"/>
                </a:lnTo>
                <a:lnTo>
                  <a:pt x="495" y="1062"/>
                </a:lnTo>
                <a:lnTo>
                  <a:pt x="499" y="1066"/>
                </a:lnTo>
                <a:lnTo>
                  <a:pt x="499" y="1066"/>
                </a:lnTo>
                <a:lnTo>
                  <a:pt x="501" y="1064"/>
                </a:lnTo>
                <a:lnTo>
                  <a:pt x="501" y="1062"/>
                </a:lnTo>
                <a:lnTo>
                  <a:pt x="499" y="1061"/>
                </a:lnTo>
                <a:lnTo>
                  <a:pt x="502" y="1061"/>
                </a:lnTo>
                <a:lnTo>
                  <a:pt x="502" y="1061"/>
                </a:lnTo>
                <a:lnTo>
                  <a:pt x="505" y="1064"/>
                </a:lnTo>
                <a:lnTo>
                  <a:pt x="508" y="1065"/>
                </a:lnTo>
                <a:lnTo>
                  <a:pt x="518" y="1068"/>
                </a:lnTo>
                <a:lnTo>
                  <a:pt x="518" y="1068"/>
                </a:lnTo>
                <a:lnTo>
                  <a:pt x="516" y="1071"/>
                </a:lnTo>
                <a:lnTo>
                  <a:pt x="515" y="1072"/>
                </a:lnTo>
                <a:lnTo>
                  <a:pt x="514" y="1074"/>
                </a:lnTo>
                <a:lnTo>
                  <a:pt x="512" y="1074"/>
                </a:lnTo>
                <a:lnTo>
                  <a:pt x="512" y="1074"/>
                </a:lnTo>
                <a:lnTo>
                  <a:pt x="515" y="1075"/>
                </a:lnTo>
                <a:lnTo>
                  <a:pt x="518" y="1075"/>
                </a:lnTo>
                <a:lnTo>
                  <a:pt x="521" y="1076"/>
                </a:lnTo>
                <a:lnTo>
                  <a:pt x="524" y="1076"/>
                </a:lnTo>
                <a:lnTo>
                  <a:pt x="524" y="1076"/>
                </a:lnTo>
                <a:lnTo>
                  <a:pt x="521" y="1074"/>
                </a:lnTo>
                <a:lnTo>
                  <a:pt x="519" y="1071"/>
                </a:lnTo>
                <a:lnTo>
                  <a:pt x="519" y="1071"/>
                </a:lnTo>
                <a:lnTo>
                  <a:pt x="525" y="1071"/>
                </a:lnTo>
                <a:lnTo>
                  <a:pt x="528" y="1071"/>
                </a:lnTo>
                <a:lnTo>
                  <a:pt x="531" y="1072"/>
                </a:lnTo>
                <a:lnTo>
                  <a:pt x="531" y="1072"/>
                </a:lnTo>
                <a:lnTo>
                  <a:pt x="529" y="1076"/>
                </a:lnTo>
                <a:lnTo>
                  <a:pt x="529" y="1076"/>
                </a:lnTo>
                <a:lnTo>
                  <a:pt x="536" y="1076"/>
                </a:lnTo>
                <a:lnTo>
                  <a:pt x="544" y="1078"/>
                </a:lnTo>
                <a:lnTo>
                  <a:pt x="544" y="1078"/>
                </a:lnTo>
                <a:lnTo>
                  <a:pt x="551" y="1079"/>
                </a:lnTo>
                <a:lnTo>
                  <a:pt x="551" y="1079"/>
                </a:lnTo>
                <a:lnTo>
                  <a:pt x="556" y="1081"/>
                </a:lnTo>
                <a:lnTo>
                  <a:pt x="556" y="1081"/>
                </a:lnTo>
                <a:lnTo>
                  <a:pt x="568" y="1084"/>
                </a:lnTo>
                <a:lnTo>
                  <a:pt x="574" y="1084"/>
                </a:lnTo>
                <a:lnTo>
                  <a:pt x="576" y="1084"/>
                </a:lnTo>
                <a:lnTo>
                  <a:pt x="576" y="1084"/>
                </a:lnTo>
                <a:lnTo>
                  <a:pt x="581" y="1084"/>
                </a:lnTo>
                <a:lnTo>
                  <a:pt x="581" y="1086"/>
                </a:lnTo>
                <a:lnTo>
                  <a:pt x="582" y="1088"/>
                </a:lnTo>
                <a:lnTo>
                  <a:pt x="584" y="1089"/>
                </a:lnTo>
                <a:lnTo>
                  <a:pt x="584" y="1089"/>
                </a:lnTo>
                <a:lnTo>
                  <a:pt x="584" y="1086"/>
                </a:lnTo>
                <a:lnTo>
                  <a:pt x="582" y="1085"/>
                </a:lnTo>
                <a:lnTo>
                  <a:pt x="582" y="1085"/>
                </a:lnTo>
                <a:lnTo>
                  <a:pt x="585" y="1085"/>
                </a:lnTo>
                <a:lnTo>
                  <a:pt x="589" y="1085"/>
                </a:lnTo>
                <a:lnTo>
                  <a:pt x="589" y="1085"/>
                </a:lnTo>
                <a:lnTo>
                  <a:pt x="596" y="1089"/>
                </a:lnTo>
                <a:lnTo>
                  <a:pt x="596" y="1089"/>
                </a:lnTo>
                <a:lnTo>
                  <a:pt x="601" y="1092"/>
                </a:lnTo>
                <a:lnTo>
                  <a:pt x="598" y="1088"/>
                </a:lnTo>
                <a:lnTo>
                  <a:pt x="598" y="1088"/>
                </a:lnTo>
                <a:lnTo>
                  <a:pt x="604" y="1091"/>
                </a:lnTo>
                <a:lnTo>
                  <a:pt x="606" y="1093"/>
                </a:lnTo>
                <a:lnTo>
                  <a:pt x="611" y="1095"/>
                </a:lnTo>
                <a:lnTo>
                  <a:pt x="613" y="1095"/>
                </a:lnTo>
                <a:lnTo>
                  <a:pt x="613" y="1095"/>
                </a:lnTo>
                <a:lnTo>
                  <a:pt x="612" y="1093"/>
                </a:lnTo>
                <a:lnTo>
                  <a:pt x="611" y="1092"/>
                </a:lnTo>
                <a:lnTo>
                  <a:pt x="612" y="1091"/>
                </a:lnTo>
                <a:lnTo>
                  <a:pt x="615" y="1091"/>
                </a:lnTo>
                <a:lnTo>
                  <a:pt x="615" y="1091"/>
                </a:lnTo>
                <a:lnTo>
                  <a:pt x="613" y="1092"/>
                </a:lnTo>
                <a:lnTo>
                  <a:pt x="613" y="1093"/>
                </a:lnTo>
                <a:lnTo>
                  <a:pt x="615" y="1095"/>
                </a:lnTo>
                <a:lnTo>
                  <a:pt x="618" y="1096"/>
                </a:lnTo>
                <a:lnTo>
                  <a:pt x="618" y="1096"/>
                </a:lnTo>
                <a:lnTo>
                  <a:pt x="621" y="1095"/>
                </a:lnTo>
                <a:lnTo>
                  <a:pt x="622" y="1093"/>
                </a:lnTo>
                <a:lnTo>
                  <a:pt x="629" y="1093"/>
                </a:lnTo>
                <a:lnTo>
                  <a:pt x="629" y="1093"/>
                </a:lnTo>
                <a:lnTo>
                  <a:pt x="628" y="1095"/>
                </a:lnTo>
                <a:lnTo>
                  <a:pt x="628" y="1095"/>
                </a:lnTo>
                <a:lnTo>
                  <a:pt x="631" y="1096"/>
                </a:lnTo>
                <a:lnTo>
                  <a:pt x="639" y="1096"/>
                </a:lnTo>
                <a:lnTo>
                  <a:pt x="639" y="1096"/>
                </a:lnTo>
                <a:lnTo>
                  <a:pt x="638" y="1096"/>
                </a:lnTo>
                <a:lnTo>
                  <a:pt x="636" y="1095"/>
                </a:lnTo>
                <a:lnTo>
                  <a:pt x="636" y="1095"/>
                </a:lnTo>
                <a:lnTo>
                  <a:pt x="645" y="1095"/>
                </a:lnTo>
                <a:lnTo>
                  <a:pt x="651" y="1095"/>
                </a:lnTo>
                <a:lnTo>
                  <a:pt x="653" y="1098"/>
                </a:lnTo>
                <a:lnTo>
                  <a:pt x="653" y="1098"/>
                </a:lnTo>
                <a:lnTo>
                  <a:pt x="652" y="1099"/>
                </a:lnTo>
                <a:lnTo>
                  <a:pt x="649" y="1098"/>
                </a:lnTo>
                <a:lnTo>
                  <a:pt x="646" y="1098"/>
                </a:lnTo>
                <a:lnTo>
                  <a:pt x="645" y="1099"/>
                </a:lnTo>
                <a:lnTo>
                  <a:pt x="645" y="1099"/>
                </a:lnTo>
                <a:lnTo>
                  <a:pt x="649" y="1101"/>
                </a:lnTo>
                <a:lnTo>
                  <a:pt x="653" y="1101"/>
                </a:lnTo>
                <a:lnTo>
                  <a:pt x="656" y="1099"/>
                </a:lnTo>
                <a:lnTo>
                  <a:pt x="661" y="1099"/>
                </a:lnTo>
                <a:lnTo>
                  <a:pt x="661" y="1099"/>
                </a:lnTo>
                <a:lnTo>
                  <a:pt x="662" y="1102"/>
                </a:lnTo>
                <a:lnTo>
                  <a:pt x="665" y="1103"/>
                </a:lnTo>
                <a:lnTo>
                  <a:pt x="672" y="1102"/>
                </a:lnTo>
                <a:lnTo>
                  <a:pt x="672" y="1102"/>
                </a:lnTo>
                <a:lnTo>
                  <a:pt x="676" y="1102"/>
                </a:lnTo>
                <a:lnTo>
                  <a:pt x="679" y="1102"/>
                </a:lnTo>
                <a:lnTo>
                  <a:pt x="681" y="1103"/>
                </a:lnTo>
                <a:lnTo>
                  <a:pt x="682" y="1106"/>
                </a:lnTo>
                <a:lnTo>
                  <a:pt x="682" y="1106"/>
                </a:lnTo>
                <a:lnTo>
                  <a:pt x="676" y="1105"/>
                </a:lnTo>
                <a:lnTo>
                  <a:pt x="672" y="1105"/>
                </a:lnTo>
                <a:lnTo>
                  <a:pt x="662" y="1108"/>
                </a:lnTo>
                <a:lnTo>
                  <a:pt x="662" y="1108"/>
                </a:lnTo>
                <a:lnTo>
                  <a:pt x="658" y="1108"/>
                </a:lnTo>
                <a:lnTo>
                  <a:pt x="653" y="1109"/>
                </a:lnTo>
                <a:lnTo>
                  <a:pt x="649" y="1106"/>
                </a:lnTo>
                <a:lnTo>
                  <a:pt x="646" y="1103"/>
                </a:lnTo>
                <a:lnTo>
                  <a:pt x="646" y="1103"/>
                </a:lnTo>
                <a:lnTo>
                  <a:pt x="646" y="1106"/>
                </a:lnTo>
                <a:lnTo>
                  <a:pt x="645" y="1108"/>
                </a:lnTo>
                <a:lnTo>
                  <a:pt x="641" y="1108"/>
                </a:lnTo>
                <a:lnTo>
                  <a:pt x="636" y="1106"/>
                </a:lnTo>
                <a:lnTo>
                  <a:pt x="631" y="1106"/>
                </a:lnTo>
                <a:lnTo>
                  <a:pt x="631" y="1106"/>
                </a:lnTo>
                <a:lnTo>
                  <a:pt x="631" y="1109"/>
                </a:lnTo>
                <a:lnTo>
                  <a:pt x="629" y="1111"/>
                </a:lnTo>
                <a:lnTo>
                  <a:pt x="626" y="1111"/>
                </a:lnTo>
                <a:lnTo>
                  <a:pt x="625" y="1112"/>
                </a:lnTo>
                <a:lnTo>
                  <a:pt x="625" y="1112"/>
                </a:lnTo>
                <a:lnTo>
                  <a:pt x="629" y="1113"/>
                </a:lnTo>
                <a:lnTo>
                  <a:pt x="632" y="1112"/>
                </a:lnTo>
                <a:lnTo>
                  <a:pt x="632" y="1112"/>
                </a:lnTo>
                <a:lnTo>
                  <a:pt x="633" y="1111"/>
                </a:lnTo>
                <a:lnTo>
                  <a:pt x="633" y="1111"/>
                </a:lnTo>
                <a:lnTo>
                  <a:pt x="638" y="1112"/>
                </a:lnTo>
                <a:lnTo>
                  <a:pt x="639" y="1113"/>
                </a:lnTo>
                <a:lnTo>
                  <a:pt x="639" y="1116"/>
                </a:lnTo>
                <a:lnTo>
                  <a:pt x="639" y="1116"/>
                </a:lnTo>
                <a:lnTo>
                  <a:pt x="635" y="1116"/>
                </a:lnTo>
                <a:lnTo>
                  <a:pt x="633" y="1116"/>
                </a:lnTo>
                <a:lnTo>
                  <a:pt x="632" y="1116"/>
                </a:lnTo>
                <a:lnTo>
                  <a:pt x="632" y="1116"/>
                </a:lnTo>
                <a:lnTo>
                  <a:pt x="638" y="1118"/>
                </a:lnTo>
                <a:lnTo>
                  <a:pt x="642" y="1119"/>
                </a:lnTo>
                <a:lnTo>
                  <a:pt x="643" y="1121"/>
                </a:lnTo>
                <a:lnTo>
                  <a:pt x="645" y="1123"/>
                </a:lnTo>
                <a:lnTo>
                  <a:pt x="645" y="1123"/>
                </a:lnTo>
                <a:lnTo>
                  <a:pt x="653" y="1123"/>
                </a:lnTo>
                <a:lnTo>
                  <a:pt x="661" y="1125"/>
                </a:lnTo>
                <a:lnTo>
                  <a:pt x="661" y="1125"/>
                </a:lnTo>
                <a:lnTo>
                  <a:pt x="672" y="1126"/>
                </a:lnTo>
                <a:lnTo>
                  <a:pt x="685" y="1128"/>
                </a:lnTo>
                <a:lnTo>
                  <a:pt x="685" y="1128"/>
                </a:lnTo>
                <a:lnTo>
                  <a:pt x="688" y="1126"/>
                </a:lnTo>
                <a:lnTo>
                  <a:pt x="686" y="1125"/>
                </a:lnTo>
                <a:lnTo>
                  <a:pt x="688" y="1123"/>
                </a:lnTo>
                <a:lnTo>
                  <a:pt x="691" y="1122"/>
                </a:lnTo>
                <a:lnTo>
                  <a:pt x="691" y="1122"/>
                </a:lnTo>
                <a:lnTo>
                  <a:pt x="699" y="1125"/>
                </a:lnTo>
                <a:lnTo>
                  <a:pt x="699" y="1125"/>
                </a:lnTo>
                <a:lnTo>
                  <a:pt x="709" y="1126"/>
                </a:lnTo>
                <a:lnTo>
                  <a:pt x="709" y="1126"/>
                </a:lnTo>
                <a:lnTo>
                  <a:pt x="718" y="1126"/>
                </a:lnTo>
                <a:lnTo>
                  <a:pt x="728" y="1125"/>
                </a:lnTo>
                <a:lnTo>
                  <a:pt x="728" y="1125"/>
                </a:lnTo>
                <a:lnTo>
                  <a:pt x="745" y="1123"/>
                </a:lnTo>
                <a:lnTo>
                  <a:pt x="752" y="1123"/>
                </a:lnTo>
                <a:lnTo>
                  <a:pt x="760" y="1123"/>
                </a:lnTo>
                <a:lnTo>
                  <a:pt x="760" y="1123"/>
                </a:lnTo>
                <a:lnTo>
                  <a:pt x="762" y="1121"/>
                </a:lnTo>
                <a:lnTo>
                  <a:pt x="762" y="1118"/>
                </a:lnTo>
                <a:lnTo>
                  <a:pt x="762" y="1115"/>
                </a:lnTo>
                <a:lnTo>
                  <a:pt x="766" y="1115"/>
                </a:lnTo>
                <a:lnTo>
                  <a:pt x="766" y="1115"/>
                </a:lnTo>
                <a:lnTo>
                  <a:pt x="769" y="1116"/>
                </a:lnTo>
                <a:lnTo>
                  <a:pt x="769" y="1119"/>
                </a:lnTo>
                <a:lnTo>
                  <a:pt x="768" y="1125"/>
                </a:lnTo>
                <a:lnTo>
                  <a:pt x="768" y="1125"/>
                </a:lnTo>
                <a:lnTo>
                  <a:pt x="775" y="1123"/>
                </a:lnTo>
                <a:lnTo>
                  <a:pt x="780" y="1122"/>
                </a:lnTo>
                <a:lnTo>
                  <a:pt x="780" y="1122"/>
                </a:lnTo>
                <a:lnTo>
                  <a:pt x="793" y="1123"/>
                </a:lnTo>
                <a:lnTo>
                  <a:pt x="793" y="1123"/>
                </a:lnTo>
                <a:lnTo>
                  <a:pt x="805" y="1125"/>
                </a:lnTo>
                <a:lnTo>
                  <a:pt x="810" y="1126"/>
                </a:lnTo>
                <a:lnTo>
                  <a:pt x="817" y="1125"/>
                </a:lnTo>
                <a:lnTo>
                  <a:pt x="817" y="1125"/>
                </a:lnTo>
                <a:lnTo>
                  <a:pt x="822" y="1121"/>
                </a:lnTo>
                <a:lnTo>
                  <a:pt x="827" y="1119"/>
                </a:lnTo>
                <a:lnTo>
                  <a:pt x="833" y="1118"/>
                </a:lnTo>
                <a:lnTo>
                  <a:pt x="840" y="1118"/>
                </a:lnTo>
                <a:lnTo>
                  <a:pt x="840" y="1118"/>
                </a:lnTo>
                <a:lnTo>
                  <a:pt x="855" y="1116"/>
                </a:lnTo>
                <a:lnTo>
                  <a:pt x="860" y="1115"/>
                </a:lnTo>
                <a:lnTo>
                  <a:pt x="865" y="1111"/>
                </a:lnTo>
                <a:lnTo>
                  <a:pt x="865" y="1111"/>
                </a:lnTo>
                <a:lnTo>
                  <a:pt x="857" y="1112"/>
                </a:lnTo>
                <a:lnTo>
                  <a:pt x="850" y="1113"/>
                </a:lnTo>
                <a:lnTo>
                  <a:pt x="850" y="1113"/>
                </a:lnTo>
                <a:lnTo>
                  <a:pt x="845" y="1112"/>
                </a:lnTo>
                <a:lnTo>
                  <a:pt x="839" y="1109"/>
                </a:lnTo>
                <a:lnTo>
                  <a:pt x="839" y="1109"/>
                </a:lnTo>
                <a:lnTo>
                  <a:pt x="846" y="1106"/>
                </a:lnTo>
                <a:lnTo>
                  <a:pt x="856" y="1103"/>
                </a:lnTo>
                <a:lnTo>
                  <a:pt x="856" y="1103"/>
                </a:lnTo>
                <a:lnTo>
                  <a:pt x="860" y="1103"/>
                </a:lnTo>
                <a:lnTo>
                  <a:pt x="865" y="1105"/>
                </a:lnTo>
                <a:lnTo>
                  <a:pt x="866" y="1108"/>
                </a:lnTo>
                <a:lnTo>
                  <a:pt x="867" y="1111"/>
                </a:lnTo>
                <a:lnTo>
                  <a:pt x="867" y="1111"/>
                </a:lnTo>
                <a:lnTo>
                  <a:pt x="870" y="1109"/>
                </a:lnTo>
                <a:lnTo>
                  <a:pt x="875" y="1108"/>
                </a:lnTo>
                <a:lnTo>
                  <a:pt x="882" y="1109"/>
                </a:lnTo>
                <a:lnTo>
                  <a:pt x="886" y="1109"/>
                </a:lnTo>
                <a:lnTo>
                  <a:pt x="889" y="1108"/>
                </a:lnTo>
                <a:lnTo>
                  <a:pt x="890" y="1105"/>
                </a:lnTo>
                <a:lnTo>
                  <a:pt x="890" y="1105"/>
                </a:lnTo>
                <a:lnTo>
                  <a:pt x="892" y="1108"/>
                </a:lnTo>
                <a:lnTo>
                  <a:pt x="896" y="1109"/>
                </a:lnTo>
                <a:lnTo>
                  <a:pt x="900" y="1111"/>
                </a:lnTo>
                <a:lnTo>
                  <a:pt x="906" y="1111"/>
                </a:lnTo>
                <a:lnTo>
                  <a:pt x="906" y="1111"/>
                </a:lnTo>
                <a:lnTo>
                  <a:pt x="917" y="1109"/>
                </a:lnTo>
                <a:lnTo>
                  <a:pt x="927" y="1105"/>
                </a:lnTo>
                <a:lnTo>
                  <a:pt x="927" y="1105"/>
                </a:lnTo>
                <a:lnTo>
                  <a:pt x="927" y="1105"/>
                </a:lnTo>
                <a:lnTo>
                  <a:pt x="929" y="1106"/>
                </a:lnTo>
                <a:lnTo>
                  <a:pt x="936" y="1105"/>
                </a:lnTo>
                <a:lnTo>
                  <a:pt x="936" y="1105"/>
                </a:lnTo>
                <a:lnTo>
                  <a:pt x="976" y="1095"/>
                </a:lnTo>
                <a:lnTo>
                  <a:pt x="977" y="1095"/>
                </a:lnTo>
                <a:lnTo>
                  <a:pt x="979" y="1095"/>
                </a:lnTo>
                <a:lnTo>
                  <a:pt x="983" y="1093"/>
                </a:lnTo>
                <a:lnTo>
                  <a:pt x="983" y="1093"/>
                </a:lnTo>
                <a:lnTo>
                  <a:pt x="989" y="1092"/>
                </a:lnTo>
                <a:lnTo>
                  <a:pt x="989" y="1092"/>
                </a:lnTo>
                <a:lnTo>
                  <a:pt x="1001" y="1086"/>
                </a:lnTo>
                <a:lnTo>
                  <a:pt x="1001" y="1086"/>
                </a:lnTo>
                <a:lnTo>
                  <a:pt x="1013" y="1082"/>
                </a:lnTo>
                <a:lnTo>
                  <a:pt x="1023" y="1076"/>
                </a:lnTo>
                <a:lnTo>
                  <a:pt x="1023" y="1076"/>
                </a:lnTo>
                <a:lnTo>
                  <a:pt x="1024" y="1079"/>
                </a:lnTo>
                <a:lnTo>
                  <a:pt x="1024" y="1079"/>
                </a:lnTo>
                <a:lnTo>
                  <a:pt x="1027" y="1081"/>
                </a:lnTo>
                <a:lnTo>
                  <a:pt x="1027" y="1081"/>
                </a:lnTo>
                <a:lnTo>
                  <a:pt x="1027" y="1079"/>
                </a:lnTo>
                <a:lnTo>
                  <a:pt x="1027" y="1079"/>
                </a:lnTo>
                <a:lnTo>
                  <a:pt x="1026" y="1075"/>
                </a:lnTo>
                <a:lnTo>
                  <a:pt x="1027" y="1072"/>
                </a:lnTo>
                <a:lnTo>
                  <a:pt x="1029" y="1072"/>
                </a:lnTo>
                <a:lnTo>
                  <a:pt x="1029" y="1072"/>
                </a:lnTo>
                <a:lnTo>
                  <a:pt x="1029" y="1074"/>
                </a:lnTo>
                <a:lnTo>
                  <a:pt x="1029" y="1075"/>
                </a:lnTo>
                <a:lnTo>
                  <a:pt x="1029" y="1076"/>
                </a:lnTo>
                <a:lnTo>
                  <a:pt x="1030" y="1075"/>
                </a:lnTo>
                <a:lnTo>
                  <a:pt x="1030" y="1075"/>
                </a:lnTo>
                <a:lnTo>
                  <a:pt x="1031" y="1072"/>
                </a:lnTo>
                <a:lnTo>
                  <a:pt x="1033" y="1072"/>
                </a:lnTo>
                <a:lnTo>
                  <a:pt x="1034" y="1072"/>
                </a:lnTo>
                <a:lnTo>
                  <a:pt x="1034" y="1072"/>
                </a:lnTo>
                <a:lnTo>
                  <a:pt x="1034" y="1071"/>
                </a:lnTo>
                <a:lnTo>
                  <a:pt x="1034" y="1069"/>
                </a:lnTo>
                <a:lnTo>
                  <a:pt x="1033" y="1069"/>
                </a:lnTo>
                <a:lnTo>
                  <a:pt x="1034" y="1068"/>
                </a:lnTo>
                <a:lnTo>
                  <a:pt x="1034" y="1068"/>
                </a:lnTo>
                <a:lnTo>
                  <a:pt x="1037" y="1068"/>
                </a:lnTo>
                <a:lnTo>
                  <a:pt x="1039" y="1069"/>
                </a:lnTo>
                <a:lnTo>
                  <a:pt x="1039" y="1069"/>
                </a:lnTo>
                <a:lnTo>
                  <a:pt x="1039" y="1071"/>
                </a:lnTo>
                <a:lnTo>
                  <a:pt x="1039" y="1072"/>
                </a:lnTo>
                <a:lnTo>
                  <a:pt x="1037" y="1072"/>
                </a:lnTo>
                <a:lnTo>
                  <a:pt x="1039" y="1075"/>
                </a:lnTo>
                <a:lnTo>
                  <a:pt x="1039" y="1075"/>
                </a:lnTo>
                <a:lnTo>
                  <a:pt x="1041" y="1071"/>
                </a:lnTo>
                <a:lnTo>
                  <a:pt x="1041" y="1071"/>
                </a:lnTo>
                <a:lnTo>
                  <a:pt x="1043" y="1069"/>
                </a:lnTo>
                <a:lnTo>
                  <a:pt x="1043" y="1069"/>
                </a:lnTo>
                <a:lnTo>
                  <a:pt x="1044" y="1068"/>
                </a:lnTo>
                <a:lnTo>
                  <a:pt x="1044" y="1068"/>
                </a:lnTo>
                <a:lnTo>
                  <a:pt x="1044" y="1068"/>
                </a:lnTo>
                <a:lnTo>
                  <a:pt x="1044" y="1068"/>
                </a:lnTo>
                <a:lnTo>
                  <a:pt x="1044" y="1068"/>
                </a:lnTo>
                <a:lnTo>
                  <a:pt x="1044" y="1068"/>
                </a:lnTo>
                <a:lnTo>
                  <a:pt x="1054" y="1065"/>
                </a:lnTo>
                <a:lnTo>
                  <a:pt x="1054" y="1065"/>
                </a:lnTo>
                <a:lnTo>
                  <a:pt x="1054" y="1065"/>
                </a:lnTo>
                <a:lnTo>
                  <a:pt x="1054" y="1065"/>
                </a:lnTo>
                <a:lnTo>
                  <a:pt x="1054" y="1065"/>
                </a:lnTo>
                <a:lnTo>
                  <a:pt x="1054" y="1065"/>
                </a:lnTo>
                <a:lnTo>
                  <a:pt x="1054" y="1065"/>
                </a:lnTo>
                <a:lnTo>
                  <a:pt x="1056" y="1064"/>
                </a:lnTo>
                <a:lnTo>
                  <a:pt x="1056" y="1064"/>
                </a:lnTo>
                <a:lnTo>
                  <a:pt x="1054" y="1062"/>
                </a:lnTo>
                <a:lnTo>
                  <a:pt x="1054" y="1062"/>
                </a:lnTo>
                <a:lnTo>
                  <a:pt x="1053" y="1062"/>
                </a:lnTo>
                <a:lnTo>
                  <a:pt x="1053" y="1062"/>
                </a:lnTo>
                <a:lnTo>
                  <a:pt x="1053" y="1062"/>
                </a:lnTo>
                <a:lnTo>
                  <a:pt x="1053" y="1062"/>
                </a:lnTo>
                <a:lnTo>
                  <a:pt x="1043" y="1065"/>
                </a:lnTo>
                <a:lnTo>
                  <a:pt x="1043" y="1065"/>
                </a:lnTo>
                <a:lnTo>
                  <a:pt x="1043" y="1065"/>
                </a:lnTo>
                <a:lnTo>
                  <a:pt x="1043" y="1065"/>
                </a:lnTo>
                <a:lnTo>
                  <a:pt x="1041" y="1065"/>
                </a:lnTo>
                <a:lnTo>
                  <a:pt x="1040" y="1062"/>
                </a:lnTo>
                <a:lnTo>
                  <a:pt x="1040" y="1062"/>
                </a:lnTo>
                <a:lnTo>
                  <a:pt x="1041" y="1061"/>
                </a:lnTo>
                <a:lnTo>
                  <a:pt x="1041" y="1059"/>
                </a:lnTo>
                <a:lnTo>
                  <a:pt x="1041" y="1059"/>
                </a:lnTo>
                <a:lnTo>
                  <a:pt x="1041" y="1059"/>
                </a:lnTo>
                <a:lnTo>
                  <a:pt x="1041" y="1059"/>
                </a:lnTo>
                <a:lnTo>
                  <a:pt x="1041" y="1059"/>
                </a:lnTo>
                <a:lnTo>
                  <a:pt x="1050" y="1056"/>
                </a:lnTo>
                <a:lnTo>
                  <a:pt x="1050" y="1056"/>
                </a:lnTo>
                <a:lnTo>
                  <a:pt x="1051" y="1056"/>
                </a:lnTo>
                <a:lnTo>
                  <a:pt x="1053" y="1054"/>
                </a:lnTo>
                <a:lnTo>
                  <a:pt x="1053" y="1054"/>
                </a:lnTo>
                <a:lnTo>
                  <a:pt x="1059" y="1049"/>
                </a:lnTo>
                <a:lnTo>
                  <a:pt x="1059" y="1049"/>
                </a:lnTo>
                <a:lnTo>
                  <a:pt x="1073" y="1039"/>
                </a:lnTo>
                <a:lnTo>
                  <a:pt x="1073" y="1039"/>
                </a:lnTo>
                <a:lnTo>
                  <a:pt x="1087" y="1029"/>
                </a:lnTo>
                <a:lnTo>
                  <a:pt x="1087" y="1029"/>
                </a:lnTo>
                <a:lnTo>
                  <a:pt x="1101" y="1022"/>
                </a:lnTo>
                <a:lnTo>
                  <a:pt x="1101" y="1022"/>
                </a:lnTo>
                <a:lnTo>
                  <a:pt x="1117" y="1014"/>
                </a:lnTo>
                <a:lnTo>
                  <a:pt x="1117" y="1014"/>
                </a:lnTo>
                <a:lnTo>
                  <a:pt x="1131" y="1006"/>
                </a:lnTo>
                <a:lnTo>
                  <a:pt x="1131" y="1006"/>
                </a:lnTo>
                <a:lnTo>
                  <a:pt x="1146" y="998"/>
                </a:lnTo>
                <a:lnTo>
                  <a:pt x="1146" y="998"/>
                </a:lnTo>
                <a:lnTo>
                  <a:pt x="1153" y="994"/>
                </a:lnTo>
                <a:lnTo>
                  <a:pt x="1153" y="994"/>
                </a:lnTo>
                <a:lnTo>
                  <a:pt x="1160" y="989"/>
                </a:lnTo>
                <a:lnTo>
                  <a:pt x="1160" y="989"/>
                </a:lnTo>
                <a:lnTo>
                  <a:pt x="1161" y="991"/>
                </a:lnTo>
                <a:lnTo>
                  <a:pt x="1160" y="992"/>
                </a:lnTo>
                <a:lnTo>
                  <a:pt x="1158" y="994"/>
                </a:lnTo>
                <a:lnTo>
                  <a:pt x="1155" y="996"/>
                </a:lnTo>
                <a:lnTo>
                  <a:pt x="1157" y="996"/>
                </a:lnTo>
                <a:lnTo>
                  <a:pt x="1157" y="996"/>
                </a:lnTo>
                <a:lnTo>
                  <a:pt x="1173" y="982"/>
                </a:lnTo>
                <a:lnTo>
                  <a:pt x="1178" y="978"/>
                </a:lnTo>
                <a:lnTo>
                  <a:pt x="1188" y="976"/>
                </a:lnTo>
                <a:lnTo>
                  <a:pt x="1188" y="976"/>
                </a:lnTo>
                <a:lnTo>
                  <a:pt x="1191" y="974"/>
                </a:lnTo>
                <a:lnTo>
                  <a:pt x="1191" y="971"/>
                </a:lnTo>
                <a:lnTo>
                  <a:pt x="1193" y="968"/>
                </a:lnTo>
                <a:lnTo>
                  <a:pt x="1193" y="964"/>
                </a:lnTo>
                <a:lnTo>
                  <a:pt x="1193" y="964"/>
                </a:lnTo>
                <a:lnTo>
                  <a:pt x="1197" y="964"/>
                </a:lnTo>
                <a:lnTo>
                  <a:pt x="1200" y="961"/>
                </a:lnTo>
                <a:lnTo>
                  <a:pt x="1207" y="955"/>
                </a:lnTo>
                <a:lnTo>
                  <a:pt x="1207" y="955"/>
                </a:lnTo>
                <a:lnTo>
                  <a:pt x="1214" y="949"/>
                </a:lnTo>
                <a:lnTo>
                  <a:pt x="1214" y="949"/>
                </a:lnTo>
                <a:lnTo>
                  <a:pt x="1218" y="948"/>
                </a:lnTo>
                <a:lnTo>
                  <a:pt x="1223" y="948"/>
                </a:lnTo>
                <a:lnTo>
                  <a:pt x="1223" y="948"/>
                </a:lnTo>
                <a:lnTo>
                  <a:pt x="1223" y="946"/>
                </a:lnTo>
                <a:lnTo>
                  <a:pt x="1224" y="945"/>
                </a:lnTo>
                <a:lnTo>
                  <a:pt x="1227" y="942"/>
                </a:lnTo>
                <a:lnTo>
                  <a:pt x="1230" y="941"/>
                </a:lnTo>
                <a:lnTo>
                  <a:pt x="1231" y="938"/>
                </a:lnTo>
                <a:lnTo>
                  <a:pt x="1231" y="936"/>
                </a:lnTo>
                <a:lnTo>
                  <a:pt x="1231" y="936"/>
                </a:lnTo>
                <a:lnTo>
                  <a:pt x="1234" y="938"/>
                </a:lnTo>
                <a:lnTo>
                  <a:pt x="1235" y="938"/>
                </a:lnTo>
                <a:lnTo>
                  <a:pt x="1237" y="936"/>
                </a:lnTo>
                <a:lnTo>
                  <a:pt x="1237" y="934"/>
                </a:lnTo>
                <a:lnTo>
                  <a:pt x="1237" y="934"/>
                </a:lnTo>
                <a:lnTo>
                  <a:pt x="1238" y="936"/>
                </a:lnTo>
                <a:lnTo>
                  <a:pt x="1241" y="936"/>
                </a:lnTo>
                <a:lnTo>
                  <a:pt x="1244" y="935"/>
                </a:lnTo>
                <a:lnTo>
                  <a:pt x="1248" y="932"/>
                </a:lnTo>
                <a:lnTo>
                  <a:pt x="1250" y="932"/>
                </a:lnTo>
                <a:lnTo>
                  <a:pt x="1252" y="932"/>
                </a:lnTo>
                <a:lnTo>
                  <a:pt x="1252" y="932"/>
                </a:lnTo>
                <a:lnTo>
                  <a:pt x="1252" y="929"/>
                </a:lnTo>
                <a:lnTo>
                  <a:pt x="1254" y="927"/>
                </a:lnTo>
                <a:lnTo>
                  <a:pt x="1258" y="924"/>
                </a:lnTo>
                <a:lnTo>
                  <a:pt x="1262" y="922"/>
                </a:lnTo>
                <a:lnTo>
                  <a:pt x="1262" y="922"/>
                </a:lnTo>
                <a:lnTo>
                  <a:pt x="1262" y="919"/>
                </a:lnTo>
                <a:lnTo>
                  <a:pt x="1261" y="919"/>
                </a:lnTo>
                <a:lnTo>
                  <a:pt x="1261" y="919"/>
                </a:lnTo>
                <a:lnTo>
                  <a:pt x="1261" y="918"/>
                </a:lnTo>
                <a:lnTo>
                  <a:pt x="1261" y="918"/>
                </a:lnTo>
                <a:lnTo>
                  <a:pt x="1265" y="915"/>
                </a:lnTo>
                <a:lnTo>
                  <a:pt x="1268" y="914"/>
                </a:lnTo>
                <a:lnTo>
                  <a:pt x="1274" y="908"/>
                </a:lnTo>
                <a:lnTo>
                  <a:pt x="1274" y="908"/>
                </a:lnTo>
                <a:lnTo>
                  <a:pt x="1280" y="904"/>
                </a:lnTo>
                <a:lnTo>
                  <a:pt x="1284" y="904"/>
                </a:lnTo>
                <a:lnTo>
                  <a:pt x="1287" y="904"/>
                </a:lnTo>
                <a:lnTo>
                  <a:pt x="1287" y="904"/>
                </a:lnTo>
                <a:lnTo>
                  <a:pt x="1288" y="901"/>
                </a:lnTo>
                <a:lnTo>
                  <a:pt x="1290" y="897"/>
                </a:lnTo>
                <a:lnTo>
                  <a:pt x="1298" y="889"/>
                </a:lnTo>
                <a:lnTo>
                  <a:pt x="1307" y="884"/>
                </a:lnTo>
                <a:lnTo>
                  <a:pt x="1311" y="881"/>
                </a:lnTo>
                <a:lnTo>
                  <a:pt x="1315" y="881"/>
                </a:lnTo>
                <a:lnTo>
                  <a:pt x="1315" y="881"/>
                </a:lnTo>
                <a:lnTo>
                  <a:pt x="1314" y="878"/>
                </a:lnTo>
                <a:lnTo>
                  <a:pt x="1315" y="875"/>
                </a:lnTo>
                <a:lnTo>
                  <a:pt x="1320" y="868"/>
                </a:lnTo>
                <a:lnTo>
                  <a:pt x="1325" y="864"/>
                </a:lnTo>
                <a:lnTo>
                  <a:pt x="1328" y="862"/>
                </a:lnTo>
                <a:lnTo>
                  <a:pt x="1330" y="864"/>
                </a:lnTo>
                <a:lnTo>
                  <a:pt x="1330" y="864"/>
                </a:lnTo>
                <a:lnTo>
                  <a:pt x="1332" y="851"/>
                </a:lnTo>
                <a:lnTo>
                  <a:pt x="1337" y="839"/>
                </a:lnTo>
                <a:lnTo>
                  <a:pt x="1337" y="839"/>
                </a:lnTo>
                <a:lnTo>
                  <a:pt x="1338" y="847"/>
                </a:lnTo>
                <a:lnTo>
                  <a:pt x="1338" y="847"/>
                </a:lnTo>
                <a:lnTo>
                  <a:pt x="1348" y="837"/>
                </a:lnTo>
                <a:lnTo>
                  <a:pt x="1355" y="828"/>
                </a:lnTo>
                <a:lnTo>
                  <a:pt x="1355" y="828"/>
                </a:lnTo>
                <a:lnTo>
                  <a:pt x="1369" y="808"/>
                </a:lnTo>
                <a:lnTo>
                  <a:pt x="1369" y="808"/>
                </a:lnTo>
                <a:lnTo>
                  <a:pt x="1378" y="798"/>
                </a:lnTo>
                <a:lnTo>
                  <a:pt x="1378" y="798"/>
                </a:lnTo>
                <a:lnTo>
                  <a:pt x="1385" y="788"/>
                </a:lnTo>
                <a:lnTo>
                  <a:pt x="1385" y="788"/>
                </a:lnTo>
                <a:lnTo>
                  <a:pt x="1395" y="777"/>
                </a:lnTo>
                <a:lnTo>
                  <a:pt x="1395" y="777"/>
                </a:lnTo>
                <a:lnTo>
                  <a:pt x="1405" y="765"/>
                </a:lnTo>
                <a:lnTo>
                  <a:pt x="1405" y="765"/>
                </a:lnTo>
                <a:lnTo>
                  <a:pt x="1404" y="762"/>
                </a:lnTo>
                <a:lnTo>
                  <a:pt x="1404" y="760"/>
                </a:lnTo>
                <a:lnTo>
                  <a:pt x="1404" y="760"/>
                </a:lnTo>
                <a:lnTo>
                  <a:pt x="1409" y="757"/>
                </a:lnTo>
                <a:lnTo>
                  <a:pt x="1414" y="752"/>
                </a:lnTo>
                <a:lnTo>
                  <a:pt x="1419" y="740"/>
                </a:lnTo>
                <a:lnTo>
                  <a:pt x="1419" y="740"/>
                </a:lnTo>
                <a:lnTo>
                  <a:pt x="1422" y="734"/>
                </a:lnTo>
                <a:lnTo>
                  <a:pt x="1427" y="730"/>
                </a:lnTo>
                <a:lnTo>
                  <a:pt x="1429" y="728"/>
                </a:lnTo>
                <a:lnTo>
                  <a:pt x="1435" y="730"/>
                </a:lnTo>
                <a:lnTo>
                  <a:pt x="1435" y="730"/>
                </a:lnTo>
                <a:lnTo>
                  <a:pt x="1436" y="725"/>
                </a:lnTo>
                <a:lnTo>
                  <a:pt x="1435" y="724"/>
                </a:lnTo>
                <a:lnTo>
                  <a:pt x="1432" y="722"/>
                </a:lnTo>
                <a:lnTo>
                  <a:pt x="1432" y="721"/>
                </a:lnTo>
                <a:lnTo>
                  <a:pt x="1432" y="718"/>
                </a:lnTo>
                <a:lnTo>
                  <a:pt x="1432" y="718"/>
                </a:lnTo>
                <a:lnTo>
                  <a:pt x="1441" y="707"/>
                </a:lnTo>
                <a:lnTo>
                  <a:pt x="1441" y="707"/>
                </a:lnTo>
                <a:lnTo>
                  <a:pt x="1446" y="695"/>
                </a:lnTo>
                <a:lnTo>
                  <a:pt x="1446" y="695"/>
                </a:lnTo>
                <a:lnTo>
                  <a:pt x="1452" y="685"/>
                </a:lnTo>
                <a:lnTo>
                  <a:pt x="1455" y="681"/>
                </a:lnTo>
                <a:lnTo>
                  <a:pt x="1459" y="678"/>
                </a:lnTo>
                <a:lnTo>
                  <a:pt x="1459" y="678"/>
                </a:lnTo>
                <a:lnTo>
                  <a:pt x="1461" y="671"/>
                </a:lnTo>
                <a:lnTo>
                  <a:pt x="1462" y="664"/>
                </a:lnTo>
                <a:lnTo>
                  <a:pt x="1465" y="657"/>
                </a:lnTo>
                <a:lnTo>
                  <a:pt x="1468" y="647"/>
                </a:lnTo>
                <a:lnTo>
                  <a:pt x="1468" y="647"/>
                </a:lnTo>
                <a:lnTo>
                  <a:pt x="1469" y="648"/>
                </a:lnTo>
                <a:lnTo>
                  <a:pt x="1469" y="651"/>
                </a:lnTo>
                <a:lnTo>
                  <a:pt x="1468" y="652"/>
                </a:lnTo>
                <a:lnTo>
                  <a:pt x="1469" y="654"/>
                </a:lnTo>
                <a:lnTo>
                  <a:pt x="1469" y="654"/>
                </a:lnTo>
                <a:lnTo>
                  <a:pt x="1474" y="644"/>
                </a:lnTo>
                <a:lnTo>
                  <a:pt x="1474" y="644"/>
                </a:lnTo>
                <a:lnTo>
                  <a:pt x="1476" y="634"/>
                </a:lnTo>
                <a:lnTo>
                  <a:pt x="1476" y="634"/>
                </a:lnTo>
                <a:lnTo>
                  <a:pt x="1482" y="625"/>
                </a:lnTo>
                <a:lnTo>
                  <a:pt x="1489" y="618"/>
                </a:lnTo>
                <a:lnTo>
                  <a:pt x="1489" y="618"/>
                </a:lnTo>
                <a:lnTo>
                  <a:pt x="1486" y="617"/>
                </a:lnTo>
                <a:lnTo>
                  <a:pt x="1486" y="615"/>
                </a:lnTo>
                <a:lnTo>
                  <a:pt x="1485" y="611"/>
                </a:lnTo>
                <a:lnTo>
                  <a:pt x="1485" y="611"/>
                </a:lnTo>
                <a:lnTo>
                  <a:pt x="1485" y="607"/>
                </a:lnTo>
                <a:lnTo>
                  <a:pt x="1485" y="605"/>
                </a:lnTo>
                <a:lnTo>
                  <a:pt x="1484" y="604"/>
                </a:lnTo>
                <a:lnTo>
                  <a:pt x="1484" y="604"/>
                </a:lnTo>
                <a:lnTo>
                  <a:pt x="1479" y="611"/>
                </a:lnTo>
                <a:lnTo>
                  <a:pt x="1475" y="618"/>
                </a:lnTo>
                <a:lnTo>
                  <a:pt x="1471" y="622"/>
                </a:lnTo>
                <a:lnTo>
                  <a:pt x="1466" y="625"/>
                </a:lnTo>
                <a:lnTo>
                  <a:pt x="1464" y="625"/>
                </a:lnTo>
                <a:lnTo>
                  <a:pt x="1464" y="625"/>
                </a:lnTo>
                <a:lnTo>
                  <a:pt x="1464" y="622"/>
                </a:lnTo>
                <a:lnTo>
                  <a:pt x="1465" y="621"/>
                </a:lnTo>
                <a:lnTo>
                  <a:pt x="1468" y="618"/>
                </a:lnTo>
                <a:lnTo>
                  <a:pt x="1471" y="615"/>
                </a:lnTo>
                <a:lnTo>
                  <a:pt x="1471" y="614"/>
                </a:lnTo>
                <a:lnTo>
                  <a:pt x="1471" y="613"/>
                </a:lnTo>
                <a:lnTo>
                  <a:pt x="1471" y="613"/>
                </a:lnTo>
                <a:lnTo>
                  <a:pt x="1465" y="617"/>
                </a:lnTo>
                <a:lnTo>
                  <a:pt x="1462" y="622"/>
                </a:lnTo>
                <a:lnTo>
                  <a:pt x="1459" y="627"/>
                </a:lnTo>
                <a:lnTo>
                  <a:pt x="1458" y="632"/>
                </a:lnTo>
                <a:lnTo>
                  <a:pt x="1458" y="632"/>
                </a:lnTo>
                <a:lnTo>
                  <a:pt x="1455" y="644"/>
                </a:lnTo>
                <a:lnTo>
                  <a:pt x="1454" y="651"/>
                </a:lnTo>
                <a:lnTo>
                  <a:pt x="1451" y="657"/>
                </a:lnTo>
                <a:lnTo>
                  <a:pt x="1451" y="657"/>
                </a:lnTo>
                <a:lnTo>
                  <a:pt x="1448" y="655"/>
                </a:lnTo>
                <a:lnTo>
                  <a:pt x="1446" y="654"/>
                </a:lnTo>
                <a:lnTo>
                  <a:pt x="1446" y="654"/>
                </a:lnTo>
                <a:lnTo>
                  <a:pt x="1444" y="658"/>
                </a:lnTo>
                <a:lnTo>
                  <a:pt x="1442" y="664"/>
                </a:lnTo>
                <a:lnTo>
                  <a:pt x="1439" y="674"/>
                </a:lnTo>
                <a:lnTo>
                  <a:pt x="1439" y="674"/>
                </a:lnTo>
                <a:lnTo>
                  <a:pt x="1431" y="685"/>
                </a:lnTo>
                <a:lnTo>
                  <a:pt x="1424" y="697"/>
                </a:lnTo>
                <a:lnTo>
                  <a:pt x="1424" y="697"/>
                </a:lnTo>
                <a:lnTo>
                  <a:pt x="1411" y="721"/>
                </a:lnTo>
                <a:lnTo>
                  <a:pt x="1411" y="721"/>
                </a:lnTo>
                <a:lnTo>
                  <a:pt x="1404" y="734"/>
                </a:lnTo>
                <a:lnTo>
                  <a:pt x="1397" y="745"/>
                </a:lnTo>
                <a:lnTo>
                  <a:pt x="1397" y="745"/>
                </a:lnTo>
                <a:lnTo>
                  <a:pt x="1388" y="755"/>
                </a:lnTo>
                <a:lnTo>
                  <a:pt x="1378" y="764"/>
                </a:lnTo>
                <a:lnTo>
                  <a:pt x="1378" y="764"/>
                </a:lnTo>
                <a:lnTo>
                  <a:pt x="1377" y="768"/>
                </a:lnTo>
                <a:lnTo>
                  <a:pt x="1375" y="774"/>
                </a:lnTo>
                <a:lnTo>
                  <a:pt x="1369" y="784"/>
                </a:lnTo>
                <a:lnTo>
                  <a:pt x="1369" y="784"/>
                </a:lnTo>
                <a:lnTo>
                  <a:pt x="1362" y="795"/>
                </a:lnTo>
                <a:lnTo>
                  <a:pt x="1362" y="795"/>
                </a:lnTo>
                <a:lnTo>
                  <a:pt x="1354" y="805"/>
                </a:lnTo>
                <a:lnTo>
                  <a:pt x="1354" y="805"/>
                </a:lnTo>
                <a:lnTo>
                  <a:pt x="1354" y="802"/>
                </a:lnTo>
                <a:lnTo>
                  <a:pt x="1354" y="799"/>
                </a:lnTo>
                <a:lnTo>
                  <a:pt x="1358" y="794"/>
                </a:lnTo>
                <a:lnTo>
                  <a:pt x="1362" y="787"/>
                </a:lnTo>
                <a:lnTo>
                  <a:pt x="1362" y="784"/>
                </a:lnTo>
                <a:lnTo>
                  <a:pt x="1362" y="781"/>
                </a:lnTo>
                <a:lnTo>
                  <a:pt x="1362" y="781"/>
                </a:lnTo>
                <a:lnTo>
                  <a:pt x="1355" y="789"/>
                </a:lnTo>
                <a:lnTo>
                  <a:pt x="1347" y="801"/>
                </a:lnTo>
                <a:lnTo>
                  <a:pt x="1342" y="805"/>
                </a:lnTo>
                <a:lnTo>
                  <a:pt x="1338" y="809"/>
                </a:lnTo>
                <a:lnTo>
                  <a:pt x="1334" y="809"/>
                </a:lnTo>
                <a:lnTo>
                  <a:pt x="1332" y="809"/>
                </a:lnTo>
                <a:lnTo>
                  <a:pt x="1331" y="807"/>
                </a:lnTo>
                <a:lnTo>
                  <a:pt x="1331" y="807"/>
                </a:lnTo>
                <a:lnTo>
                  <a:pt x="1337" y="811"/>
                </a:lnTo>
                <a:lnTo>
                  <a:pt x="1337" y="814"/>
                </a:lnTo>
                <a:lnTo>
                  <a:pt x="1337" y="817"/>
                </a:lnTo>
                <a:lnTo>
                  <a:pt x="1337" y="817"/>
                </a:lnTo>
                <a:lnTo>
                  <a:pt x="1334" y="818"/>
                </a:lnTo>
                <a:lnTo>
                  <a:pt x="1332" y="818"/>
                </a:lnTo>
                <a:lnTo>
                  <a:pt x="1331" y="818"/>
                </a:lnTo>
                <a:lnTo>
                  <a:pt x="1330" y="819"/>
                </a:lnTo>
                <a:lnTo>
                  <a:pt x="1330" y="819"/>
                </a:lnTo>
                <a:lnTo>
                  <a:pt x="1330" y="824"/>
                </a:lnTo>
                <a:lnTo>
                  <a:pt x="1328" y="828"/>
                </a:lnTo>
                <a:lnTo>
                  <a:pt x="1320" y="837"/>
                </a:lnTo>
                <a:lnTo>
                  <a:pt x="1320" y="837"/>
                </a:lnTo>
                <a:lnTo>
                  <a:pt x="1310" y="847"/>
                </a:lnTo>
                <a:lnTo>
                  <a:pt x="1310" y="847"/>
                </a:lnTo>
                <a:lnTo>
                  <a:pt x="1301" y="852"/>
                </a:lnTo>
                <a:lnTo>
                  <a:pt x="1301" y="852"/>
                </a:lnTo>
                <a:lnTo>
                  <a:pt x="1302" y="852"/>
                </a:lnTo>
                <a:lnTo>
                  <a:pt x="1304" y="854"/>
                </a:lnTo>
                <a:lnTo>
                  <a:pt x="1304" y="854"/>
                </a:lnTo>
                <a:lnTo>
                  <a:pt x="1302" y="855"/>
                </a:lnTo>
                <a:lnTo>
                  <a:pt x="1301" y="857"/>
                </a:lnTo>
                <a:lnTo>
                  <a:pt x="1298" y="862"/>
                </a:lnTo>
                <a:lnTo>
                  <a:pt x="1294" y="867"/>
                </a:lnTo>
                <a:lnTo>
                  <a:pt x="1291" y="868"/>
                </a:lnTo>
                <a:lnTo>
                  <a:pt x="1288" y="869"/>
                </a:lnTo>
                <a:lnTo>
                  <a:pt x="1288" y="869"/>
                </a:lnTo>
                <a:lnTo>
                  <a:pt x="1292" y="865"/>
                </a:lnTo>
                <a:lnTo>
                  <a:pt x="1292" y="864"/>
                </a:lnTo>
                <a:lnTo>
                  <a:pt x="1291" y="862"/>
                </a:lnTo>
                <a:lnTo>
                  <a:pt x="1291" y="862"/>
                </a:lnTo>
                <a:lnTo>
                  <a:pt x="1288" y="862"/>
                </a:lnTo>
                <a:lnTo>
                  <a:pt x="1288" y="864"/>
                </a:lnTo>
                <a:lnTo>
                  <a:pt x="1287" y="867"/>
                </a:lnTo>
                <a:lnTo>
                  <a:pt x="1287" y="871"/>
                </a:lnTo>
                <a:lnTo>
                  <a:pt x="1287" y="874"/>
                </a:lnTo>
                <a:lnTo>
                  <a:pt x="1284" y="875"/>
                </a:lnTo>
                <a:lnTo>
                  <a:pt x="1284" y="875"/>
                </a:lnTo>
                <a:lnTo>
                  <a:pt x="1284" y="874"/>
                </a:lnTo>
                <a:lnTo>
                  <a:pt x="1284" y="872"/>
                </a:lnTo>
                <a:lnTo>
                  <a:pt x="1285" y="869"/>
                </a:lnTo>
                <a:lnTo>
                  <a:pt x="1285" y="868"/>
                </a:lnTo>
                <a:lnTo>
                  <a:pt x="1285" y="868"/>
                </a:lnTo>
                <a:lnTo>
                  <a:pt x="1275" y="878"/>
                </a:lnTo>
                <a:lnTo>
                  <a:pt x="1264" y="888"/>
                </a:lnTo>
                <a:lnTo>
                  <a:pt x="1264" y="888"/>
                </a:lnTo>
                <a:lnTo>
                  <a:pt x="1251" y="897"/>
                </a:lnTo>
                <a:lnTo>
                  <a:pt x="1243" y="905"/>
                </a:lnTo>
                <a:lnTo>
                  <a:pt x="1243" y="905"/>
                </a:lnTo>
                <a:lnTo>
                  <a:pt x="1244" y="908"/>
                </a:lnTo>
                <a:lnTo>
                  <a:pt x="1245" y="907"/>
                </a:lnTo>
                <a:lnTo>
                  <a:pt x="1248" y="907"/>
                </a:lnTo>
                <a:lnTo>
                  <a:pt x="1250" y="908"/>
                </a:lnTo>
                <a:lnTo>
                  <a:pt x="1250" y="908"/>
                </a:lnTo>
                <a:lnTo>
                  <a:pt x="1245" y="912"/>
                </a:lnTo>
                <a:lnTo>
                  <a:pt x="1243" y="914"/>
                </a:lnTo>
                <a:lnTo>
                  <a:pt x="1241" y="912"/>
                </a:lnTo>
                <a:lnTo>
                  <a:pt x="1241" y="912"/>
                </a:lnTo>
                <a:lnTo>
                  <a:pt x="1241" y="909"/>
                </a:lnTo>
                <a:lnTo>
                  <a:pt x="1241" y="907"/>
                </a:lnTo>
                <a:lnTo>
                  <a:pt x="1241" y="907"/>
                </a:lnTo>
                <a:lnTo>
                  <a:pt x="1224" y="919"/>
                </a:lnTo>
                <a:lnTo>
                  <a:pt x="1224" y="919"/>
                </a:lnTo>
                <a:lnTo>
                  <a:pt x="1207" y="932"/>
                </a:lnTo>
                <a:lnTo>
                  <a:pt x="1207" y="932"/>
                </a:lnTo>
                <a:lnTo>
                  <a:pt x="1188" y="945"/>
                </a:lnTo>
                <a:lnTo>
                  <a:pt x="1188" y="945"/>
                </a:lnTo>
                <a:lnTo>
                  <a:pt x="1178" y="952"/>
                </a:lnTo>
                <a:lnTo>
                  <a:pt x="1167" y="958"/>
                </a:lnTo>
                <a:lnTo>
                  <a:pt x="1167" y="958"/>
                </a:lnTo>
                <a:lnTo>
                  <a:pt x="1164" y="956"/>
                </a:lnTo>
                <a:lnTo>
                  <a:pt x="1160" y="958"/>
                </a:lnTo>
                <a:lnTo>
                  <a:pt x="1153" y="964"/>
                </a:lnTo>
                <a:lnTo>
                  <a:pt x="1153" y="964"/>
                </a:lnTo>
                <a:lnTo>
                  <a:pt x="1144" y="971"/>
                </a:lnTo>
                <a:lnTo>
                  <a:pt x="1136" y="975"/>
                </a:lnTo>
                <a:lnTo>
                  <a:pt x="1136" y="975"/>
                </a:lnTo>
                <a:lnTo>
                  <a:pt x="1126" y="981"/>
                </a:lnTo>
                <a:lnTo>
                  <a:pt x="1114" y="986"/>
                </a:lnTo>
                <a:lnTo>
                  <a:pt x="1114" y="986"/>
                </a:lnTo>
                <a:lnTo>
                  <a:pt x="1108" y="991"/>
                </a:lnTo>
                <a:lnTo>
                  <a:pt x="1108" y="991"/>
                </a:lnTo>
                <a:lnTo>
                  <a:pt x="1101" y="995"/>
                </a:lnTo>
                <a:lnTo>
                  <a:pt x="1101" y="995"/>
                </a:lnTo>
                <a:lnTo>
                  <a:pt x="1090" y="1002"/>
                </a:lnTo>
                <a:lnTo>
                  <a:pt x="1090" y="1002"/>
                </a:lnTo>
                <a:lnTo>
                  <a:pt x="1068" y="1011"/>
                </a:lnTo>
                <a:lnTo>
                  <a:pt x="1068" y="1011"/>
                </a:lnTo>
                <a:lnTo>
                  <a:pt x="1049" y="1019"/>
                </a:lnTo>
                <a:lnTo>
                  <a:pt x="1049" y="1019"/>
                </a:lnTo>
                <a:lnTo>
                  <a:pt x="1039" y="1022"/>
                </a:lnTo>
                <a:lnTo>
                  <a:pt x="1039" y="1022"/>
                </a:lnTo>
                <a:lnTo>
                  <a:pt x="1030" y="1025"/>
                </a:lnTo>
                <a:lnTo>
                  <a:pt x="1030" y="1025"/>
                </a:lnTo>
                <a:lnTo>
                  <a:pt x="1030" y="1025"/>
                </a:lnTo>
                <a:lnTo>
                  <a:pt x="1030" y="1025"/>
                </a:lnTo>
                <a:lnTo>
                  <a:pt x="1030" y="1025"/>
                </a:lnTo>
                <a:lnTo>
                  <a:pt x="1030" y="1026"/>
                </a:lnTo>
                <a:lnTo>
                  <a:pt x="1029" y="1026"/>
                </a:lnTo>
                <a:lnTo>
                  <a:pt x="1029" y="1026"/>
                </a:lnTo>
                <a:lnTo>
                  <a:pt x="1026" y="1028"/>
                </a:lnTo>
                <a:lnTo>
                  <a:pt x="1026" y="1028"/>
                </a:lnTo>
                <a:lnTo>
                  <a:pt x="1021" y="1031"/>
                </a:lnTo>
                <a:lnTo>
                  <a:pt x="1017" y="1035"/>
                </a:lnTo>
                <a:lnTo>
                  <a:pt x="1017" y="1035"/>
                </a:lnTo>
                <a:lnTo>
                  <a:pt x="1016" y="1032"/>
                </a:lnTo>
                <a:lnTo>
                  <a:pt x="1014" y="1031"/>
                </a:lnTo>
                <a:lnTo>
                  <a:pt x="1013" y="1031"/>
                </a:lnTo>
                <a:lnTo>
                  <a:pt x="1013" y="1031"/>
                </a:lnTo>
                <a:lnTo>
                  <a:pt x="1014" y="1035"/>
                </a:lnTo>
                <a:lnTo>
                  <a:pt x="1014" y="1038"/>
                </a:lnTo>
                <a:lnTo>
                  <a:pt x="1014" y="1038"/>
                </a:lnTo>
                <a:lnTo>
                  <a:pt x="1013" y="1038"/>
                </a:lnTo>
                <a:lnTo>
                  <a:pt x="1013" y="1038"/>
                </a:lnTo>
                <a:lnTo>
                  <a:pt x="1011" y="1038"/>
                </a:lnTo>
                <a:lnTo>
                  <a:pt x="1011" y="1038"/>
                </a:lnTo>
                <a:lnTo>
                  <a:pt x="1011" y="1038"/>
                </a:lnTo>
                <a:lnTo>
                  <a:pt x="1010" y="1038"/>
                </a:lnTo>
                <a:lnTo>
                  <a:pt x="1010" y="1038"/>
                </a:lnTo>
                <a:lnTo>
                  <a:pt x="1003" y="1038"/>
                </a:lnTo>
                <a:lnTo>
                  <a:pt x="1003" y="1038"/>
                </a:lnTo>
                <a:lnTo>
                  <a:pt x="997" y="1036"/>
                </a:lnTo>
                <a:lnTo>
                  <a:pt x="991" y="1034"/>
                </a:lnTo>
                <a:lnTo>
                  <a:pt x="991" y="1034"/>
                </a:lnTo>
                <a:lnTo>
                  <a:pt x="990" y="1039"/>
                </a:lnTo>
                <a:lnTo>
                  <a:pt x="986" y="1044"/>
                </a:lnTo>
                <a:lnTo>
                  <a:pt x="986" y="1044"/>
                </a:lnTo>
                <a:lnTo>
                  <a:pt x="989" y="1044"/>
                </a:lnTo>
                <a:lnTo>
                  <a:pt x="993" y="1041"/>
                </a:lnTo>
                <a:lnTo>
                  <a:pt x="996" y="1039"/>
                </a:lnTo>
                <a:lnTo>
                  <a:pt x="999" y="1041"/>
                </a:lnTo>
                <a:lnTo>
                  <a:pt x="999" y="1041"/>
                </a:lnTo>
                <a:lnTo>
                  <a:pt x="997" y="1042"/>
                </a:lnTo>
                <a:lnTo>
                  <a:pt x="996" y="1044"/>
                </a:lnTo>
                <a:lnTo>
                  <a:pt x="993" y="1045"/>
                </a:lnTo>
                <a:lnTo>
                  <a:pt x="989" y="1046"/>
                </a:lnTo>
                <a:lnTo>
                  <a:pt x="989" y="1046"/>
                </a:lnTo>
                <a:lnTo>
                  <a:pt x="983" y="1044"/>
                </a:lnTo>
                <a:lnTo>
                  <a:pt x="980" y="1044"/>
                </a:lnTo>
                <a:lnTo>
                  <a:pt x="977" y="1044"/>
                </a:lnTo>
                <a:lnTo>
                  <a:pt x="970" y="1045"/>
                </a:lnTo>
                <a:lnTo>
                  <a:pt x="970" y="1045"/>
                </a:lnTo>
                <a:lnTo>
                  <a:pt x="973" y="1044"/>
                </a:lnTo>
                <a:lnTo>
                  <a:pt x="976" y="1041"/>
                </a:lnTo>
                <a:lnTo>
                  <a:pt x="976" y="1041"/>
                </a:lnTo>
                <a:lnTo>
                  <a:pt x="971" y="1042"/>
                </a:lnTo>
                <a:lnTo>
                  <a:pt x="967" y="1045"/>
                </a:lnTo>
                <a:lnTo>
                  <a:pt x="967" y="1045"/>
                </a:lnTo>
                <a:lnTo>
                  <a:pt x="963" y="1045"/>
                </a:lnTo>
                <a:lnTo>
                  <a:pt x="963" y="1045"/>
                </a:lnTo>
                <a:lnTo>
                  <a:pt x="959" y="1045"/>
                </a:lnTo>
                <a:lnTo>
                  <a:pt x="959" y="1045"/>
                </a:lnTo>
                <a:lnTo>
                  <a:pt x="952" y="1046"/>
                </a:lnTo>
                <a:lnTo>
                  <a:pt x="949" y="1048"/>
                </a:lnTo>
                <a:lnTo>
                  <a:pt x="946" y="1049"/>
                </a:lnTo>
                <a:lnTo>
                  <a:pt x="946" y="1049"/>
                </a:lnTo>
                <a:lnTo>
                  <a:pt x="956" y="1049"/>
                </a:lnTo>
                <a:lnTo>
                  <a:pt x="960" y="1049"/>
                </a:lnTo>
                <a:lnTo>
                  <a:pt x="966" y="1049"/>
                </a:lnTo>
                <a:lnTo>
                  <a:pt x="966" y="1049"/>
                </a:lnTo>
                <a:lnTo>
                  <a:pt x="956" y="1052"/>
                </a:lnTo>
                <a:lnTo>
                  <a:pt x="947" y="1058"/>
                </a:lnTo>
                <a:lnTo>
                  <a:pt x="947" y="1058"/>
                </a:lnTo>
                <a:lnTo>
                  <a:pt x="946" y="1055"/>
                </a:lnTo>
                <a:lnTo>
                  <a:pt x="947" y="1054"/>
                </a:lnTo>
                <a:lnTo>
                  <a:pt x="947" y="1052"/>
                </a:lnTo>
                <a:lnTo>
                  <a:pt x="946" y="1051"/>
                </a:lnTo>
                <a:lnTo>
                  <a:pt x="946" y="1051"/>
                </a:lnTo>
                <a:lnTo>
                  <a:pt x="943" y="1054"/>
                </a:lnTo>
                <a:lnTo>
                  <a:pt x="939" y="1054"/>
                </a:lnTo>
                <a:lnTo>
                  <a:pt x="929" y="1052"/>
                </a:lnTo>
                <a:lnTo>
                  <a:pt x="929" y="1052"/>
                </a:lnTo>
                <a:lnTo>
                  <a:pt x="919" y="1051"/>
                </a:lnTo>
                <a:lnTo>
                  <a:pt x="914" y="1052"/>
                </a:lnTo>
                <a:lnTo>
                  <a:pt x="910" y="1055"/>
                </a:lnTo>
                <a:lnTo>
                  <a:pt x="910" y="1055"/>
                </a:lnTo>
                <a:lnTo>
                  <a:pt x="913" y="1054"/>
                </a:lnTo>
                <a:lnTo>
                  <a:pt x="916" y="1055"/>
                </a:lnTo>
                <a:lnTo>
                  <a:pt x="917" y="1055"/>
                </a:lnTo>
                <a:lnTo>
                  <a:pt x="916" y="1056"/>
                </a:lnTo>
                <a:lnTo>
                  <a:pt x="916" y="1056"/>
                </a:lnTo>
                <a:lnTo>
                  <a:pt x="913" y="1056"/>
                </a:lnTo>
                <a:lnTo>
                  <a:pt x="912" y="1056"/>
                </a:lnTo>
                <a:lnTo>
                  <a:pt x="907" y="1055"/>
                </a:lnTo>
                <a:lnTo>
                  <a:pt x="907" y="1055"/>
                </a:lnTo>
                <a:lnTo>
                  <a:pt x="904" y="1059"/>
                </a:lnTo>
                <a:lnTo>
                  <a:pt x="902" y="1061"/>
                </a:lnTo>
                <a:lnTo>
                  <a:pt x="894" y="1062"/>
                </a:lnTo>
                <a:lnTo>
                  <a:pt x="894" y="1062"/>
                </a:lnTo>
                <a:lnTo>
                  <a:pt x="886" y="1064"/>
                </a:lnTo>
                <a:lnTo>
                  <a:pt x="882" y="1064"/>
                </a:lnTo>
                <a:lnTo>
                  <a:pt x="879" y="1066"/>
                </a:lnTo>
                <a:lnTo>
                  <a:pt x="879" y="1066"/>
                </a:lnTo>
                <a:lnTo>
                  <a:pt x="876" y="1065"/>
                </a:lnTo>
                <a:lnTo>
                  <a:pt x="875" y="1064"/>
                </a:lnTo>
                <a:lnTo>
                  <a:pt x="872" y="1061"/>
                </a:lnTo>
                <a:lnTo>
                  <a:pt x="872" y="1061"/>
                </a:lnTo>
                <a:lnTo>
                  <a:pt x="870" y="1062"/>
                </a:lnTo>
                <a:lnTo>
                  <a:pt x="869" y="1064"/>
                </a:lnTo>
                <a:lnTo>
                  <a:pt x="862" y="1066"/>
                </a:lnTo>
                <a:lnTo>
                  <a:pt x="855" y="1069"/>
                </a:lnTo>
                <a:lnTo>
                  <a:pt x="849" y="1069"/>
                </a:lnTo>
                <a:lnTo>
                  <a:pt x="849" y="1069"/>
                </a:lnTo>
                <a:lnTo>
                  <a:pt x="849" y="1068"/>
                </a:lnTo>
                <a:lnTo>
                  <a:pt x="850" y="1066"/>
                </a:lnTo>
                <a:lnTo>
                  <a:pt x="853" y="1066"/>
                </a:lnTo>
                <a:lnTo>
                  <a:pt x="856" y="1065"/>
                </a:lnTo>
                <a:lnTo>
                  <a:pt x="857" y="1065"/>
                </a:lnTo>
                <a:lnTo>
                  <a:pt x="857" y="1064"/>
                </a:lnTo>
                <a:lnTo>
                  <a:pt x="857" y="1064"/>
                </a:lnTo>
                <a:lnTo>
                  <a:pt x="846" y="1066"/>
                </a:lnTo>
                <a:lnTo>
                  <a:pt x="837" y="1069"/>
                </a:lnTo>
                <a:lnTo>
                  <a:pt x="825" y="1075"/>
                </a:lnTo>
                <a:lnTo>
                  <a:pt x="825" y="1075"/>
                </a:lnTo>
                <a:lnTo>
                  <a:pt x="823" y="1075"/>
                </a:lnTo>
                <a:lnTo>
                  <a:pt x="822" y="1074"/>
                </a:lnTo>
                <a:lnTo>
                  <a:pt x="820" y="1072"/>
                </a:lnTo>
                <a:lnTo>
                  <a:pt x="819" y="1071"/>
                </a:lnTo>
                <a:lnTo>
                  <a:pt x="819" y="1071"/>
                </a:lnTo>
                <a:lnTo>
                  <a:pt x="820" y="1074"/>
                </a:lnTo>
                <a:lnTo>
                  <a:pt x="819" y="1075"/>
                </a:lnTo>
                <a:lnTo>
                  <a:pt x="815" y="1078"/>
                </a:lnTo>
                <a:lnTo>
                  <a:pt x="806" y="1081"/>
                </a:lnTo>
                <a:lnTo>
                  <a:pt x="799" y="1081"/>
                </a:lnTo>
                <a:lnTo>
                  <a:pt x="799" y="1081"/>
                </a:lnTo>
                <a:lnTo>
                  <a:pt x="799" y="1075"/>
                </a:lnTo>
                <a:lnTo>
                  <a:pt x="800" y="1072"/>
                </a:lnTo>
                <a:lnTo>
                  <a:pt x="800" y="1072"/>
                </a:lnTo>
                <a:lnTo>
                  <a:pt x="803" y="1072"/>
                </a:lnTo>
                <a:lnTo>
                  <a:pt x="806" y="1072"/>
                </a:lnTo>
                <a:lnTo>
                  <a:pt x="812" y="1069"/>
                </a:lnTo>
                <a:lnTo>
                  <a:pt x="812" y="1069"/>
                </a:lnTo>
                <a:lnTo>
                  <a:pt x="810" y="1069"/>
                </a:lnTo>
                <a:lnTo>
                  <a:pt x="810" y="1068"/>
                </a:lnTo>
                <a:lnTo>
                  <a:pt x="812" y="1065"/>
                </a:lnTo>
                <a:lnTo>
                  <a:pt x="815" y="1064"/>
                </a:lnTo>
                <a:lnTo>
                  <a:pt x="817" y="1061"/>
                </a:lnTo>
                <a:lnTo>
                  <a:pt x="817" y="1061"/>
                </a:lnTo>
                <a:lnTo>
                  <a:pt x="819" y="1061"/>
                </a:lnTo>
                <a:lnTo>
                  <a:pt x="820" y="1062"/>
                </a:lnTo>
                <a:lnTo>
                  <a:pt x="819" y="1065"/>
                </a:lnTo>
                <a:lnTo>
                  <a:pt x="819" y="1065"/>
                </a:lnTo>
                <a:lnTo>
                  <a:pt x="829" y="1062"/>
                </a:lnTo>
                <a:lnTo>
                  <a:pt x="840" y="1062"/>
                </a:lnTo>
                <a:lnTo>
                  <a:pt x="840" y="1062"/>
                </a:lnTo>
                <a:lnTo>
                  <a:pt x="852" y="1061"/>
                </a:lnTo>
                <a:lnTo>
                  <a:pt x="863" y="1058"/>
                </a:lnTo>
                <a:lnTo>
                  <a:pt x="863" y="1058"/>
                </a:lnTo>
                <a:lnTo>
                  <a:pt x="862" y="1061"/>
                </a:lnTo>
                <a:lnTo>
                  <a:pt x="862" y="1062"/>
                </a:lnTo>
                <a:lnTo>
                  <a:pt x="863" y="1064"/>
                </a:lnTo>
                <a:lnTo>
                  <a:pt x="863" y="1064"/>
                </a:lnTo>
                <a:lnTo>
                  <a:pt x="863" y="1061"/>
                </a:lnTo>
                <a:lnTo>
                  <a:pt x="863" y="1061"/>
                </a:lnTo>
                <a:lnTo>
                  <a:pt x="865" y="1059"/>
                </a:lnTo>
                <a:lnTo>
                  <a:pt x="867" y="1059"/>
                </a:lnTo>
                <a:lnTo>
                  <a:pt x="869" y="1059"/>
                </a:lnTo>
                <a:lnTo>
                  <a:pt x="869" y="1058"/>
                </a:lnTo>
                <a:lnTo>
                  <a:pt x="869" y="1058"/>
                </a:lnTo>
                <a:lnTo>
                  <a:pt x="867" y="1056"/>
                </a:lnTo>
                <a:lnTo>
                  <a:pt x="866" y="1055"/>
                </a:lnTo>
                <a:lnTo>
                  <a:pt x="869" y="1052"/>
                </a:lnTo>
                <a:lnTo>
                  <a:pt x="875" y="1049"/>
                </a:lnTo>
                <a:lnTo>
                  <a:pt x="875" y="1049"/>
                </a:lnTo>
                <a:lnTo>
                  <a:pt x="873" y="1052"/>
                </a:lnTo>
                <a:lnTo>
                  <a:pt x="875" y="1052"/>
                </a:lnTo>
                <a:lnTo>
                  <a:pt x="877" y="1054"/>
                </a:lnTo>
                <a:lnTo>
                  <a:pt x="877" y="1054"/>
                </a:lnTo>
                <a:lnTo>
                  <a:pt x="879" y="1051"/>
                </a:lnTo>
                <a:lnTo>
                  <a:pt x="880" y="1049"/>
                </a:lnTo>
                <a:lnTo>
                  <a:pt x="886" y="1048"/>
                </a:lnTo>
                <a:lnTo>
                  <a:pt x="886" y="1048"/>
                </a:lnTo>
                <a:lnTo>
                  <a:pt x="890" y="1049"/>
                </a:lnTo>
                <a:lnTo>
                  <a:pt x="890" y="1049"/>
                </a:lnTo>
                <a:lnTo>
                  <a:pt x="893" y="1048"/>
                </a:lnTo>
                <a:lnTo>
                  <a:pt x="894" y="1046"/>
                </a:lnTo>
                <a:lnTo>
                  <a:pt x="894" y="1046"/>
                </a:lnTo>
                <a:lnTo>
                  <a:pt x="896" y="1048"/>
                </a:lnTo>
                <a:lnTo>
                  <a:pt x="896" y="1049"/>
                </a:lnTo>
                <a:lnTo>
                  <a:pt x="896" y="1051"/>
                </a:lnTo>
                <a:lnTo>
                  <a:pt x="899" y="1051"/>
                </a:lnTo>
                <a:lnTo>
                  <a:pt x="899" y="1051"/>
                </a:lnTo>
                <a:lnTo>
                  <a:pt x="897" y="1044"/>
                </a:lnTo>
                <a:lnTo>
                  <a:pt x="897" y="1044"/>
                </a:lnTo>
                <a:lnTo>
                  <a:pt x="927" y="1036"/>
                </a:lnTo>
                <a:lnTo>
                  <a:pt x="927" y="1036"/>
                </a:lnTo>
                <a:lnTo>
                  <a:pt x="929" y="1036"/>
                </a:lnTo>
                <a:lnTo>
                  <a:pt x="929" y="1036"/>
                </a:lnTo>
                <a:lnTo>
                  <a:pt x="927" y="1034"/>
                </a:lnTo>
                <a:lnTo>
                  <a:pt x="926" y="1031"/>
                </a:lnTo>
                <a:lnTo>
                  <a:pt x="927" y="1031"/>
                </a:lnTo>
                <a:lnTo>
                  <a:pt x="930" y="1031"/>
                </a:lnTo>
                <a:lnTo>
                  <a:pt x="930" y="1031"/>
                </a:lnTo>
                <a:lnTo>
                  <a:pt x="930" y="1032"/>
                </a:lnTo>
                <a:lnTo>
                  <a:pt x="933" y="1032"/>
                </a:lnTo>
                <a:lnTo>
                  <a:pt x="940" y="1031"/>
                </a:lnTo>
                <a:lnTo>
                  <a:pt x="940" y="1031"/>
                </a:lnTo>
                <a:lnTo>
                  <a:pt x="947" y="1029"/>
                </a:lnTo>
                <a:lnTo>
                  <a:pt x="950" y="1031"/>
                </a:lnTo>
                <a:lnTo>
                  <a:pt x="953" y="1034"/>
                </a:lnTo>
                <a:lnTo>
                  <a:pt x="953" y="1034"/>
                </a:lnTo>
                <a:lnTo>
                  <a:pt x="959" y="1031"/>
                </a:lnTo>
                <a:lnTo>
                  <a:pt x="959" y="1031"/>
                </a:lnTo>
                <a:lnTo>
                  <a:pt x="960" y="1029"/>
                </a:lnTo>
                <a:lnTo>
                  <a:pt x="960" y="1029"/>
                </a:lnTo>
                <a:lnTo>
                  <a:pt x="963" y="1029"/>
                </a:lnTo>
                <a:lnTo>
                  <a:pt x="963" y="1029"/>
                </a:lnTo>
                <a:lnTo>
                  <a:pt x="973" y="1026"/>
                </a:lnTo>
                <a:lnTo>
                  <a:pt x="973" y="1026"/>
                </a:lnTo>
                <a:lnTo>
                  <a:pt x="983" y="1024"/>
                </a:lnTo>
                <a:lnTo>
                  <a:pt x="989" y="1021"/>
                </a:lnTo>
                <a:lnTo>
                  <a:pt x="994" y="1016"/>
                </a:lnTo>
                <a:lnTo>
                  <a:pt x="994" y="1016"/>
                </a:lnTo>
                <a:lnTo>
                  <a:pt x="997" y="1018"/>
                </a:lnTo>
                <a:lnTo>
                  <a:pt x="1001" y="1018"/>
                </a:lnTo>
                <a:lnTo>
                  <a:pt x="1001" y="1018"/>
                </a:lnTo>
                <a:lnTo>
                  <a:pt x="1006" y="1016"/>
                </a:lnTo>
                <a:lnTo>
                  <a:pt x="1006" y="1016"/>
                </a:lnTo>
                <a:lnTo>
                  <a:pt x="1007" y="1015"/>
                </a:lnTo>
                <a:lnTo>
                  <a:pt x="1007" y="1015"/>
                </a:lnTo>
                <a:lnTo>
                  <a:pt x="1006" y="1015"/>
                </a:lnTo>
                <a:lnTo>
                  <a:pt x="1006" y="1015"/>
                </a:lnTo>
                <a:lnTo>
                  <a:pt x="1004" y="1015"/>
                </a:lnTo>
                <a:lnTo>
                  <a:pt x="1004" y="1015"/>
                </a:lnTo>
                <a:lnTo>
                  <a:pt x="1003" y="1015"/>
                </a:lnTo>
                <a:lnTo>
                  <a:pt x="1003" y="1015"/>
                </a:lnTo>
                <a:lnTo>
                  <a:pt x="1001" y="1014"/>
                </a:lnTo>
                <a:lnTo>
                  <a:pt x="1004" y="1012"/>
                </a:lnTo>
                <a:lnTo>
                  <a:pt x="1004" y="1012"/>
                </a:lnTo>
                <a:lnTo>
                  <a:pt x="1006" y="1012"/>
                </a:lnTo>
                <a:lnTo>
                  <a:pt x="1006" y="1012"/>
                </a:lnTo>
                <a:lnTo>
                  <a:pt x="1007" y="1012"/>
                </a:lnTo>
                <a:lnTo>
                  <a:pt x="1007" y="1012"/>
                </a:lnTo>
                <a:lnTo>
                  <a:pt x="1010" y="1012"/>
                </a:lnTo>
                <a:lnTo>
                  <a:pt x="1010" y="1012"/>
                </a:lnTo>
                <a:lnTo>
                  <a:pt x="1016" y="1012"/>
                </a:lnTo>
                <a:lnTo>
                  <a:pt x="1016" y="1012"/>
                </a:lnTo>
                <a:lnTo>
                  <a:pt x="1023" y="1011"/>
                </a:lnTo>
                <a:lnTo>
                  <a:pt x="1024" y="1011"/>
                </a:lnTo>
                <a:lnTo>
                  <a:pt x="1024" y="1009"/>
                </a:lnTo>
                <a:lnTo>
                  <a:pt x="1026" y="1009"/>
                </a:lnTo>
                <a:lnTo>
                  <a:pt x="1026" y="1009"/>
                </a:lnTo>
                <a:lnTo>
                  <a:pt x="1034" y="1006"/>
                </a:lnTo>
                <a:lnTo>
                  <a:pt x="1034" y="1006"/>
                </a:lnTo>
                <a:lnTo>
                  <a:pt x="1039" y="1005"/>
                </a:lnTo>
                <a:lnTo>
                  <a:pt x="1039" y="1005"/>
                </a:lnTo>
                <a:lnTo>
                  <a:pt x="1081" y="989"/>
                </a:lnTo>
                <a:lnTo>
                  <a:pt x="1081" y="989"/>
                </a:lnTo>
                <a:lnTo>
                  <a:pt x="1078" y="989"/>
                </a:lnTo>
                <a:lnTo>
                  <a:pt x="1077" y="988"/>
                </a:lnTo>
                <a:lnTo>
                  <a:pt x="1077" y="988"/>
                </a:lnTo>
                <a:lnTo>
                  <a:pt x="1084" y="985"/>
                </a:lnTo>
                <a:lnTo>
                  <a:pt x="1084" y="985"/>
                </a:lnTo>
                <a:lnTo>
                  <a:pt x="1084" y="988"/>
                </a:lnTo>
                <a:lnTo>
                  <a:pt x="1084" y="991"/>
                </a:lnTo>
                <a:lnTo>
                  <a:pt x="1084" y="991"/>
                </a:lnTo>
                <a:lnTo>
                  <a:pt x="1086" y="988"/>
                </a:lnTo>
                <a:lnTo>
                  <a:pt x="1088" y="988"/>
                </a:lnTo>
                <a:lnTo>
                  <a:pt x="1094" y="986"/>
                </a:lnTo>
                <a:lnTo>
                  <a:pt x="1100" y="986"/>
                </a:lnTo>
                <a:lnTo>
                  <a:pt x="1101" y="986"/>
                </a:lnTo>
                <a:lnTo>
                  <a:pt x="1103" y="985"/>
                </a:lnTo>
                <a:lnTo>
                  <a:pt x="1103" y="985"/>
                </a:lnTo>
                <a:lnTo>
                  <a:pt x="1101" y="985"/>
                </a:lnTo>
                <a:lnTo>
                  <a:pt x="1103" y="984"/>
                </a:lnTo>
                <a:lnTo>
                  <a:pt x="1104" y="984"/>
                </a:lnTo>
                <a:lnTo>
                  <a:pt x="1107" y="984"/>
                </a:lnTo>
                <a:lnTo>
                  <a:pt x="1107" y="984"/>
                </a:lnTo>
                <a:lnTo>
                  <a:pt x="1106" y="979"/>
                </a:lnTo>
                <a:lnTo>
                  <a:pt x="1108" y="975"/>
                </a:lnTo>
                <a:lnTo>
                  <a:pt x="1108" y="975"/>
                </a:lnTo>
                <a:lnTo>
                  <a:pt x="1104" y="976"/>
                </a:lnTo>
                <a:lnTo>
                  <a:pt x="1103" y="978"/>
                </a:lnTo>
                <a:lnTo>
                  <a:pt x="1101" y="976"/>
                </a:lnTo>
                <a:lnTo>
                  <a:pt x="1101" y="976"/>
                </a:lnTo>
                <a:lnTo>
                  <a:pt x="1106" y="972"/>
                </a:lnTo>
                <a:lnTo>
                  <a:pt x="1111" y="969"/>
                </a:lnTo>
                <a:lnTo>
                  <a:pt x="1124" y="964"/>
                </a:lnTo>
                <a:lnTo>
                  <a:pt x="1124" y="964"/>
                </a:lnTo>
                <a:lnTo>
                  <a:pt x="1138" y="958"/>
                </a:lnTo>
                <a:lnTo>
                  <a:pt x="1150" y="954"/>
                </a:lnTo>
                <a:lnTo>
                  <a:pt x="1150" y="954"/>
                </a:lnTo>
                <a:lnTo>
                  <a:pt x="1150" y="951"/>
                </a:lnTo>
                <a:lnTo>
                  <a:pt x="1150" y="951"/>
                </a:lnTo>
                <a:lnTo>
                  <a:pt x="1147" y="949"/>
                </a:lnTo>
                <a:lnTo>
                  <a:pt x="1146" y="949"/>
                </a:lnTo>
                <a:lnTo>
                  <a:pt x="1146" y="948"/>
                </a:lnTo>
                <a:lnTo>
                  <a:pt x="1146" y="946"/>
                </a:lnTo>
                <a:lnTo>
                  <a:pt x="1146" y="946"/>
                </a:lnTo>
                <a:lnTo>
                  <a:pt x="1148" y="946"/>
                </a:lnTo>
                <a:lnTo>
                  <a:pt x="1150" y="945"/>
                </a:lnTo>
                <a:lnTo>
                  <a:pt x="1154" y="941"/>
                </a:lnTo>
                <a:lnTo>
                  <a:pt x="1155" y="938"/>
                </a:lnTo>
                <a:lnTo>
                  <a:pt x="1158" y="936"/>
                </a:lnTo>
                <a:lnTo>
                  <a:pt x="1160" y="938"/>
                </a:lnTo>
                <a:lnTo>
                  <a:pt x="1160" y="938"/>
                </a:lnTo>
                <a:lnTo>
                  <a:pt x="1160" y="939"/>
                </a:lnTo>
                <a:lnTo>
                  <a:pt x="1158" y="942"/>
                </a:lnTo>
                <a:lnTo>
                  <a:pt x="1154" y="945"/>
                </a:lnTo>
                <a:lnTo>
                  <a:pt x="1151" y="949"/>
                </a:lnTo>
                <a:lnTo>
                  <a:pt x="1153" y="951"/>
                </a:lnTo>
                <a:lnTo>
                  <a:pt x="1155" y="952"/>
                </a:lnTo>
                <a:lnTo>
                  <a:pt x="1155" y="952"/>
                </a:lnTo>
                <a:lnTo>
                  <a:pt x="1158" y="945"/>
                </a:lnTo>
                <a:lnTo>
                  <a:pt x="1161" y="939"/>
                </a:lnTo>
                <a:lnTo>
                  <a:pt x="1165" y="934"/>
                </a:lnTo>
                <a:lnTo>
                  <a:pt x="1168" y="932"/>
                </a:lnTo>
                <a:lnTo>
                  <a:pt x="1173" y="932"/>
                </a:lnTo>
                <a:lnTo>
                  <a:pt x="1173" y="932"/>
                </a:lnTo>
                <a:lnTo>
                  <a:pt x="1170" y="928"/>
                </a:lnTo>
                <a:lnTo>
                  <a:pt x="1171" y="924"/>
                </a:lnTo>
                <a:lnTo>
                  <a:pt x="1173" y="919"/>
                </a:lnTo>
                <a:lnTo>
                  <a:pt x="1177" y="917"/>
                </a:lnTo>
                <a:lnTo>
                  <a:pt x="1184" y="909"/>
                </a:lnTo>
                <a:lnTo>
                  <a:pt x="1187" y="907"/>
                </a:lnTo>
                <a:lnTo>
                  <a:pt x="1188" y="902"/>
                </a:lnTo>
                <a:lnTo>
                  <a:pt x="1188" y="902"/>
                </a:lnTo>
                <a:lnTo>
                  <a:pt x="1194" y="902"/>
                </a:lnTo>
                <a:lnTo>
                  <a:pt x="1200" y="899"/>
                </a:lnTo>
                <a:lnTo>
                  <a:pt x="1205" y="897"/>
                </a:lnTo>
                <a:lnTo>
                  <a:pt x="1207" y="894"/>
                </a:lnTo>
                <a:lnTo>
                  <a:pt x="1210" y="891"/>
                </a:lnTo>
                <a:lnTo>
                  <a:pt x="1210" y="891"/>
                </a:lnTo>
                <a:lnTo>
                  <a:pt x="1201" y="895"/>
                </a:lnTo>
                <a:lnTo>
                  <a:pt x="1193" y="898"/>
                </a:lnTo>
                <a:lnTo>
                  <a:pt x="1185" y="898"/>
                </a:lnTo>
                <a:lnTo>
                  <a:pt x="1178" y="897"/>
                </a:lnTo>
                <a:lnTo>
                  <a:pt x="1178" y="897"/>
                </a:lnTo>
                <a:lnTo>
                  <a:pt x="1181" y="894"/>
                </a:lnTo>
                <a:lnTo>
                  <a:pt x="1181" y="892"/>
                </a:lnTo>
                <a:lnTo>
                  <a:pt x="1181" y="892"/>
                </a:lnTo>
                <a:lnTo>
                  <a:pt x="1181" y="892"/>
                </a:lnTo>
                <a:lnTo>
                  <a:pt x="1178" y="894"/>
                </a:lnTo>
                <a:lnTo>
                  <a:pt x="1177" y="895"/>
                </a:lnTo>
                <a:lnTo>
                  <a:pt x="1177" y="898"/>
                </a:lnTo>
                <a:lnTo>
                  <a:pt x="1177" y="898"/>
                </a:lnTo>
                <a:lnTo>
                  <a:pt x="1175" y="901"/>
                </a:lnTo>
                <a:lnTo>
                  <a:pt x="1174" y="902"/>
                </a:lnTo>
                <a:lnTo>
                  <a:pt x="1171" y="904"/>
                </a:lnTo>
                <a:lnTo>
                  <a:pt x="1171" y="904"/>
                </a:lnTo>
                <a:lnTo>
                  <a:pt x="1173" y="905"/>
                </a:lnTo>
                <a:lnTo>
                  <a:pt x="1174" y="907"/>
                </a:lnTo>
                <a:lnTo>
                  <a:pt x="1178" y="905"/>
                </a:lnTo>
                <a:lnTo>
                  <a:pt x="1181" y="904"/>
                </a:lnTo>
                <a:lnTo>
                  <a:pt x="1183" y="904"/>
                </a:lnTo>
                <a:lnTo>
                  <a:pt x="1184" y="905"/>
                </a:lnTo>
                <a:lnTo>
                  <a:pt x="1184" y="905"/>
                </a:lnTo>
                <a:lnTo>
                  <a:pt x="1168" y="917"/>
                </a:lnTo>
                <a:lnTo>
                  <a:pt x="1161" y="921"/>
                </a:lnTo>
                <a:lnTo>
                  <a:pt x="1153" y="924"/>
                </a:lnTo>
                <a:lnTo>
                  <a:pt x="1153" y="924"/>
                </a:lnTo>
                <a:lnTo>
                  <a:pt x="1155" y="922"/>
                </a:lnTo>
                <a:lnTo>
                  <a:pt x="1155" y="919"/>
                </a:lnTo>
                <a:lnTo>
                  <a:pt x="1154" y="918"/>
                </a:lnTo>
                <a:lnTo>
                  <a:pt x="1157" y="917"/>
                </a:lnTo>
                <a:lnTo>
                  <a:pt x="1157" y="917"/>
                </a:lnTo>
                <a:lnTo>
                  <a:pt x="1163" y="915"/>
                </a:lnTo>
                <a:lnTo>
                  <a:pt x="1165" y="914"/>
                </a:lnTo>
                <a:lnTo>
                  <a:pt x="1165" y="912"/>
                </a:lnTo>
                <a:lnTo>
                  <a:pt x="1165" y="912"/>
                </a:lnTo>
                <a:lnTo>
                  <a:pt x="1165" y="908"/>
                </a:lnTo>
                <a:lnTo>
                  <a:pt x="1167" y="905"/>
                </a:lnTo>
                <a:lnTo>
                  <a:pt x="1171" y="897"/>
                </a:lnTo>
                <a:lnTo>
                  <a:pt x="1171" y="897"/>
                </a:lnTo>
                <a:lnTo>
                  <a:pt x="1180" y="891"/>
                </a:lnTo>
                <a:lnTo>
                  <a:pt x="1184" y="888"/>
                </a:lnTo>
                <a:lnTo>
                  <a:pt x="1190" y="888"/>
                </a:lnTo>
                <a:lnTo>
                  <a:pt x="1190" y="888"/>
                </a:lnTo>
                <a:lnTo>
                  <a:pt x="1190" y="885"/>
                </a:lnTo>
                <a:lnTo>
                  <a:pt x="1191" y="882"/>
                </a:lnTo>
                <a:lnTo>
                  <a:pt x="1195" y="879"/>
                </a:lnTo>
                <a:lnTo>
                  <a:pt x="1203" y="878"/>
                </a:lnTo>
                <a:lnTo>
                  <a:pt x="1203" y="878"/>
                </a:lnTo>
                <a:lnTo>
                  <a:pt x="1201" y="878"/>
                </a:lnTo>
                <a:lnTo>
                  <a:pt x="1201" y="875"/>
                </a:lnTo>
                <a:lnTo>
                  <a:pt x="1203" y="871"/>
                </a:lnTo>
                <a:lnTo>
                  <a:pt x="1203" y="871"/>
                </a:lnTo>
                <a:lnTo>
                  <a:pt x="1204" y="872"/>
                </a:lnTo>
                <a:lnTo>
                  <a:pt x="1207" y="872"/>
                </a:lnTo>
                <a:lnTo>
                  <a:pt x="1211" y="869"/>
                </a:lnTo>
                <a:lnTo>
                  <a:pt x="1213" y="868"/>
                </a:lnTo>
                <a:lnTo>
                  <a:pt x="1213" y="867"/>
                </a:lnTo>
                <a:lnTo>
                  <a:pt x="1211" y="865"/>
                </a:lnTo>
                <a:lnTo>
                  <a:pt x="1208" y="864"/>
                </a:lnTo>
                <a:lnTo>
                  <a:pt x="1208" y="864"/>
                </a:lnTo>
                <a:lnTo>
                  <a:pt x="1211" y="862"/>
                </a:lnTo>
                <a:lnTo>
                  <a:pt x="1214" y="862"/>
                </a:lnTo>
                <a:lnTo>
                  <a:pt x="1217" y="862"/>
                </a:lnTo>
                <a:lnTo>
                  <a:pt x="1218" y="864"/>
                </a:lnTo>
                <a:lnTo>
                  <a:pt x="1218" y="864"/>
                </a:lnTo>
                <a:lnTo>
                  <a:pt x="1221" y="855"/>
                </a:lnTo>
                <a:lnTo>
                  <a:pt x="1224" y="845"/>
                </a:lnTo>
                <a:lnTo>
                  <a:pt x="1224" y="845"/>
                </a:lnTo>
                <a:lnTo>
                  <a:pt x="1225" y="849"/>
                </a:lnTo>
                <a:lnTo>
                  <a:pt x="1227" y="851"/>
                </a:lnTo>
                <a:lnTo>
                  <a:pt x="1228" y="849"/>
                </a:lnTo>
                <a:lnTo>
                  <a:pt x="1228" y="849"/>
                </a:lnTo>
                <a:lnTo>
                  <a:pt x="1230" y="847"/>
                </a:lnTo>
                <a:lnTo>
                  <a:pt x="1228" y="847"/>
                </a:lnTo>
                <a:lnTo>
                  <a:pt x="1228" y="845"/>
                </a:lnTo>
                <a:lnTo>
                  <a:pt x="1228" y="844"/>
                </a:lnTo>
                <a:lnTo>
                  <a:pt x="1228" y="844"/>
                </a:lnTo>
                <a:lnTo>
                  <a:pt x="1230" y="844"/>
                </a:lnTo>
                <a:lnTo>
                  <a:pt x="1231" y="845"/>
                </a:lnTo>
                <a:lnTo>
                  <a:pt x="1231" y="845"/>
                </a:lnTo>
                <a:lnTo>
                  <a:pt x="1231" y="841"/>
                </a:lnTo>
                <a:lnTo>
                  <a:pt x="1234" y="838"/>
                </a:lnTo>
                <a:lnTo>
                  <a:pt x="1237" y="837"/>
                </a:lnTo>
                <a:lnTo>
                  <a:pt x="1240" y="835"/>
                </a:lnTo>
                <a:lnTo>
                  <a:pt x="1240" y="835"/>
                </a:lnTo>
                <a:lnTo>
                  <a:pt x="1247" y="832"/>
                </a:lnTo>
                <a:lnTo>
                  <a:pt x="1248" y="831"/>
                </a:lnTo>
                <a:lnTo>
                  <a:pt x="1250" y="829"/>
                </a:lnTo>
                <a:lnTo>
                  <a:pt x="1250" y="829"/>
                </a:lnTo>
                <a:lnTo>
                  <a:pt x="1247" y="831"/>
                </a:lnTo>
                <a:lnTo>
                  <a:pt x="1245" y="831"/>
                </a:lnTo>
                <a:lnTo>
                  <a:pt x="1245" y="829"/>
                </a:lnTo>
                <a:lnTo>
                  <a:pt x="1245" y="829"/>
                </a:lnTo>
                <a:lnTo>
                  <a:pt x="1254" y="822"/>
                </a:lnTo>
                <a:lnTo>
                  <a:pt x="1254" y="822"/>
                </a:lnTo>
                <a:lnTo>
                  <a:pt x="1258" y="821"/>
                </a:lnTo>
                <a:lnTo>
                  <a:pt x="1262" y="821"/>
                </a:lnTo>
                <a:lnTo>
                  <a:pt x="1262" y="821"/>
                </a:lnTo>
                <a:lnTo>
                  <a:pt x="1262" y="819"/>
                </a:lnTo>
                <a:lnTo>
                  <a:pt x="1262" y="818"/>
                </a:lnTo>
                <a:lnTo>
                  <a:pt x="1265" y="817"/>
                </a:lnTo>
                <a:lnTo>
                  <a:pt x="1268" y="817"/>
                </a:lnTo>
                <a:lnTo>
                  <a:pt x="1272" y="814"/>
                </a:lnTo>
                <a:lnTo>
                  <a:pt x="1272" y="814"/>
                </a:lnTo>
                <a:lnTo>
                  <a:pt x="1271" y="809"/>
                </a:lnTo>
                <a:lnTo>
                  <a:pt x="1272" y="805"/>
                </a:lnTo>
                <a:lnTo>
                  <a:pt x="1274" y="801"/>
                </a:lnTo>
                <a:lnTo>
                  <a:pt x="1278" y="797"/>
                </a:lnTo>
                <a:lnTo>
                  <a:pt x="1278" y="797"/>
                </a:lnTo>
                <a:lnTo>
                  <a:pt x="1281" y="792"/>
                </a:lnTo>
                <a:lnTo>
                  <a:pt x="1285" y="791"/>
                </a:lnTo>
                <a:lnTo>
                  <a:pt x="1288" y="789"/>
                </a:lnTo>
                <a:lnTo>
                  <a:pt x="1290" y="791"/>
                </a:lnTo>
                <a:lnTo>
                  <a:pt x="1290" y="791"/>
                </a:lnTo>
                <a:lnTo>
                  <a:pt x="1291" y="787"/>
                </a:lnTo>
                <a:lnTo>
                  <a:pt x="1291" y="782"/>
                </a:lnTo>
                <a:lnTo>
                  <a:pt x="1294" y="778"/>
                </a:lnTo>
                <a:lnTo>
                  <a:pt x="1300" y="777"/>
                </a:lnTo>
                <a:lnTo>
                  <a:pt x="1300" y="777"/>
                </a:lnTo>
                <a:lnTo>
                  <a:pt x="1297" y="775"/>
                </a:lnTo>
                <a:lnTo>
                  <a:pt x="1295" y="775"/>
                </a:lnTo>
                <a:lnTo>
                  <a:pt x="1292" y="777"/>
                </a:lnTo>
                <a:lnTo>
                  <a:pt x="1288" y="781"/>
                </a:lnTo>
                <a:lnTo>
                  <a:pt x="1287" y="782"/>
                </a:lnTo>
                <a:lnTo>
                  <a:pt x="1285" y="782"/>
                </a:lnTo>
                <a:lnTo>
                  <a:pt x="1285" y="782"/>
                </a:lnTo>
                <a:lnTo>
                  <a:pt x="1288" y="778"/>
                </a:lnTo>
                <a:lnTo>
                  <a:pt x="1292" y="772"/>
                </a:lnTo>
                <a:lnTo>
                  <a:pt x="1292" y="772"/>
                </a:lnTo>
                <a:lnTo>
                  <a:pt x="1297" y="768"/>
                </a:lnTo>
                <a:lnTo>
                  <a:pt x="1298" y="762"/>
                </a:lnTo>
                <a:lnTo>
                  <a:pt x="1298" y="762"/>
                </a:lnTo>
                <a:lnTo>
                  <a:pt x="1307" y="762"/>
                </a:lnTo>
                <a:lnTo>
                  <a:pt x="1310" y="764"/>
                </a:lnTo>
                <a:lnTo>
                  <a:pt x="1312" y="765"/>
                </a:lnTo>
                <a:lnTo>
                  <a:pt x="1312" y="765"/>
                </a:lnTo>
                <a:lnTo>
                  <a:pt x="1314" y="762"/>
                </a:lnTo>
                <a:lnTo>
                  <a:pt x="1312" y="760"/>
                </a:lnTo>
                <a:lnTo>
                  <a:pt x="1312" y="757"/>
                </a:lnTo>
                <a:lnTo>
                  <a:pt x="1312" y="754"/>
                </a:lnTo>
                <a:lnTo>
                  <a:pt x="1312" y="754"/>
                </a:lnTo>
                <a:lnTo>
                  <a:pt x="1310" y="757"/>
                </a:lnTo>
                <a:lnTo>
                  <a:pt x="1308" y="757"/>
                </a:lnTo>
                <a:lnTo>
                  <a:pt x="1307" y="757"/>
                </a:lnTo>
                <a:lnTo>
                  <a:pt x="1307" y="757"/>
                </a:lnTo>
                <a:lnTo>
                  <a:pt x="1308" y="754"/>
                </a:lnTo>
                <a:lnTo>
                  <a:pt x="1308" y="751"/>
                </a:lnTo>
                <a:lnTo>
                  <a:pt x="1312" y="747"/>
                </a:lnTo>
                <a:lnTo>
                  <a:pt x="1312" y="747"/>
                </a:lnTo>
                <a:lnTo>
                  <a:pt x="1315" y="745"/>
                </a:lnTo>
                <a:lnTo>
                  <a:pt x="1318" y="745"/>
                </a:lnTo>
                <a:lnTo>
                  <a:pt x="1321" y="745"/>
                </a:lnTo>
                <a:lnTo>
                  <a:pt x="1324" y="747"/>
                </a:lnTo>
                <a:lnTo>
                  <a:pt x="1324" y="747"/>
                </a:lnTo>
                <a:lnTo>
                  <a:pt x="1322" y="750"/>
                </a:lnTo>
                <a:lnTo>
                  <a:pt x="1324" y="752"/>
                </a:lnTo>
                <a:lnTo>
                  <a:pt x="1325" y="754"/>
                </a:lnTo>
                <a:lnTo>
                  <a:pt x="1327" y="754"/>
                </a:lnTo>
                <a:lnTo>
                  <a:pt x="1327" y="754"/>
                </a:lnTo>
                <a:lnTo>
                  <a:pt x="1325" y="751"/>
                </a:lnTo>
                <a:lnTo>
                  <a:pt x="1325" y="748"/>
                </a:lnTo>
                <a:lnTo>
                  <a:pt x="1327" y="744"/>
                </a:lnTo>
                <a:lnTo>
                  <a:pt x="1328" y="738"/>
                </a:lnTo>
                <a:lnTo>
                  <a:pt x="1328" y="734"/>
                </a:lnTo>
                <a:lnTo>
                  <a:pt x="1328" y="734"/>
                </a:lnTo>
                <a:lnTo>
                  <a:pt x="1325" y="737"/>
                </a:lnTo>
                <a:lnTo>
                  <a:pt x="1325" y="740"/>
                </a:lnTo>
                <a:lnTo>
                  <a:pt x="1325" y="741"/>
                </a:lnTo>
                <a:lnTo>
                  <a:pt x="1324" y="744"/>
                </a:lnTo>
                <a:lnTo>
                  <a:pt x="1324" y="744"/>
                </a:lnTo>
                <a:lnTo>
                  <a:pt x="1321" y="742"/>
                </a:lnTo>
                <a:lnTo>
                  <a:pt x="1320" y="741"/>
                </a:lnTo>
                <a:lnTo>
                  <a:pt x="1317" y="741"/>
                </a:lnTo>
                <a:lnTo>
                  <a:pt x="1314" y="741"/>
                </a:lnTo>
                <a:lnTo>
                  <a:pt x="1314" y="741"/>
                </a:lnTo>
                <a:lnTo>
                  <a:pt x="1322" y="732"/>
                </a:lnTo>
                <a:lnTo>
                  <a:pt x="1327" y="724"/>
                </a:lnTo>
                <a:lnTo>
                  <a:pt x="1327" y="724"/>
                </a:lnTo>
                <a:lnTo>
                  <a:pt x="1327" y="725"/>
                </a:lnTo>
                <a:lnTo>
                  <a:pt x="1327" y="727"/>
                </a:lnTo>
                <a:lnTo>
                  <a:pt x="1327" y="728"/>
                </a:lnTo>
                <a:lnTo>
                  <a:pt x="1330" y="730"/>
                </a:lnTo>
                <a:lnTo>
                  <a:pt x="1330" y="730"/>
                </a:lnTo>
                <a:lnTo>
                  <a:pt x="1331" y="727"/>
                </a:lnTo>
                <a:lnTo>
                  <a:pt x="1330" y="725"/>
                </a:lnTo>
                <a:lnTo>
                  <a:pt x="1328" y="722"/>
                </a:lnTo>
                <a:lnTo>
                  <a:pt x="1328" y="721"/>
                </a:lnTo>
                <a:lnTo>
                  <a:pt x="1328" y="721"/>
                </a:lnTo>
                <a:lnTo>
                  <a:pt x="1332" y="718"/>
                </a:lnTo>
                <a:lnTo>
                  <a:pt x="1335" y="717"/>
                </a:lnTo>
                <a:lnTo>
                  <a:pt x="1338" y="718"/>
                </a:lnTo>
                <a:lnTo>
                  <a:pt x="1338" y="718"/>
                </a:lnTo>
                <a:lnTo>
                  <a:pt x="1338" y="712"/>
                </a:lnTo>
                <a:lnTo>
                  <a:pt x="1339" y="707"/>
                </a:lnTo>
                <a:lnTo>
                  <a:pt x="1345" y="698"/>
                </a:lnTo>
                <a:lnTo>
                  <a:pt x="1345" y="698"/>
                </a:lnTo>
                <a:lnTo>
                  <a:pt x="1351" y="690"/>
                </a:lnTo>
                <a:lnTo>
                  <a:pt x="1351" y="690"/>
                </a:lnTo>
                <a:lnTo>
                  <a:pt x="1358" y="680"/>
                </a:lnTo>
                <a:lnTo>
                  <a:pt x="1358" y="680"/>
                </a:lnTo>
                <a:lnTo>
                  <a:pt x="1357" y="678"/>
                </a:lnTo>
                <a:lnTo>
                  <a:pt x="1355" y="678"/>
                </a:lnTo>
                <a:lnTo>
                  <a:pt x="1352" y="681"/>
                </a:lnTo>
                <a:lnTo>
                  <a:pt x="1351" y="684"/>
                </a:lnTo>
                <a:lnTo>
                  <a:pt x="1349" y="685"/>
                </a:lnTo>
                <a:lnTo>
                  <a:pt x="1348" y="685"/>
                </a:lnTo>
                <a:lnTo>
                  <a:pt x="1348" y="685"/>
                </a:lnTo>
                <a:lnTo>
                  <a:pt x="1352" y="671"/>
                </a:lnTo>
                <a:lnTo>
                  <a:pt x="1357" y="657"/>
                </a:lnTo>
                <a:lnTo>
                  <a:pt x="1357" y="657"/>
                </a:lnTo>
                <a:lnTo>
                  <a:pt x="1361" y="644"/>
                </a:lnTo>
                <a:lnTo>
                  <a:pt x="1364" y="630"/>
                </a:lnTo>
                <a:lnTo>
                  <a:pt x="1364" y="630"/>
                </a:lnTo>
                <a:lnTo>
                  <a:pt x="1365" y="632"/>
                </a:lnTo>
                <a:lnTo>
                  <a:pt x="1367" y="635"/>
                </a:lnTo>
                <a:lnTo>
                  <a:pt x="1367" y="635"/>
                </a:lnTo>
                <a:lnTo>
                  <a:pt x="1367" y="631"/>
                </a:lnTo>
                <a:lnTo>
                  <a:pt x="1368" y="628"/>
                </a:lnTo>
                <a:lnTo>
                  <a:pt x="1368" y="628"/>
                </a:lnTo>
                <a:lnTo>
                  <a:pt x="1369" y="622"/>
                </a:lnTo>
                <a:lnTo>
                  <a:pt x="1369" y="622"/>
                </a:lnTo>
                <a:lnTo>
                  <a:pt x="1371" y="620"/>
                </a:lnTo>
                <a:lnTo>
                  <a:pt x="1371" y="617"/>
                </a:lnTo>
                <a:lnTo>
                  <a:pt x="1369" y="615"/>
                </a:lnTo>
                <a:lnTo>
                  <a:pt x="1369" y="615"/>
                </a:lnTo>
                <a:lnTo>
                  <a:pt x="1377" y="607"/>
                </a:lnTo>
                <a:lnTo>
                  <a:pt x="1382" y="597"/>
                </a:lnTo>
                <a:lnTo>
                  <a:pt x="1382" y="597"/>
                </a:lnTo>
                <a:lnTo>
                  <a:pt x="1395" y="573"/>
                </a:lnTo>
                <a:lnTo>
                  <a:pt x="1395" y="573"/>
                </a:lnTo>
                <a:lnTo>
                  <a:pt x="1407" y="548"/>
                </a:lnTo>
                <a:lnTo>
                  <a:pt x="1407" y="548"/>
                </a:lnTo>
                <a:lnTo>
                  <a:pt x="1408" y="543"/>
                </a:lnTo>
                <a:lnTo>
                  <a:pt x="1408" y="543"/>
                </a:lnTo>
                <a:lnTo>
                  <a:pt x="1411" y="538"/>
                </a:lnTo>
                <a:lnTo>
                  <a:pt x="1411" y="538"/>
                </a:lnTo>
                <a:lnTo>
                  <a:pt x="1417" y="531"/>
                </a:lnTo>
                <a:lnTo>
                  <a:pt x="1417" y="531"/>
                </a:lnTo>
                <a:lnTo>
                  <a:pt x="1418" y="521"/>
                </a:lnTo>
                <a:lnTo>
                  <a:pt x="1419" y="510"/>
                </a:lnTo>
                <a:lnTo>
                  <a:pt x="1419" y="510"/>
                </a:lnTo>
                <a:lnTo>
                  <a:pt x="1421" y="505"/>
                </a:lnTo>
                <a:lnTo>
                  <a:pt x="1422" y="501"/>
                </a:lnTo>
                <a:lnTo>
                  <a:pt x="1425" y="498"/>
                </a:lnTo>
                <a:lnTo>
                  <a:pt x="1429" y="495"/>
                </a:lnTo>
                <a:lnTo>
                  <a:pt x="1429" y="495"/>
                </a:lnTo>
                <a:lnTo>
                  <a:pt x="1428" y="493"/>
                </a:lnTo>
                <a:lnTo>
                  <a:pt x="1428" y="488"/>
                </a:lnTo>
                <a:lnTo>
                  <a:pt x="1429" y="481"/>
                </a:lnTo>
                <a:lnTo>
                  <a:pt x="1429" y="481"/>
                </a:lnTo>
                <a:lnTo>
                  <a:pt x="1432" y="474"/>
                </a:lnTo>
                <a:lnTo>
                  <a:pt x="1432" y="470"/>
                </a:lnTo>
                <a:lnTo>
                  <a:pt x="1431" y="467"/>
                </a:lnTo>
                <a:lnTo>
                  <a:pt x="1431" y="467"/>
                </a:lnTo>
                <a:lnTo>
                  <a:pt x="1431" y="468"/>
                </a:lnTo>
                <a:lnTo>
                  <a:pt x="1429" y="468"/>
                </a:lnTo>
                <a:lnTo>
                  <a:pt x="1428" y="465"/>
                </a:lnTo>
                <a:lnTo>
                  <a:pt x="1428" y="465"/>
                </a:lnTo>
                <a:lnTo>
                  <a:pt x="1432" y="457"/>
                </a:lnTo>
                <a:lnTo>
                  <a:pt x="1434" y="448"/>
                </a:lnTo>
                <a:lnTo>
                  <a:pt x="1434" y="448"/>
                </a:lnTo>
                <a:lnTo>
                  <a:pt x="1434" y="433"/>
                </a:lnTo>
                <a:lnTo>
                  <a:pt x="1434" y="433"/>
                </a:lnTo>
                <a:lnTo>
                  <a:pt x="1434" y="417"/>
                </a:lnTo>
                <a:lnTo>
                  <a:pt x="1434" y="417"/>
                </a:lnTo>
                <a:lnTo>
                  <a:pt x="1434" y="408"/>
                </a:lnTo>
                <a:lnTo>
                  <a:pt x="1436" y="398"/>
                </a:lnTo>
                <a:lnTo>
                  <a:pt x="1436" y="398"/>
                </a:lnTo>
                <a:lnTo>
                  <a:pt x="1434" y="400"/>
                </a:lnTo>
                <a:lnTo>
                  <a:pt x="1432" y="401"/>
                </a:lnTo>
                <a:lnTo>
                  <a:pt x="1432" y="408"/>
                </a:lnTo>
                <a:lnTo>
                  <a:pt x="1431" y="411"/>
                </a:lnTo>
                <a:lnTo>
                  <a:pt x="1431" y="414"/>
                </a:lnTo>
                <a:lnTo>
                  <a:pt x="1428" y="416"/>
                </a:lnTo>
                <a:lnTo>
                  <a:pt x="1425" y="414"/>
                </a:lnTo>
                <a:lnTo>
                  <a:pt x="1425" y="414"/>
                </a:lnTo>
                <a:lnTo>
                  <a:pt x="1422" y="424"/>
                </a:lnTo>
                <a:lnTo>
                  <a:pt x="1422" y="424"/>
                </a:lnTo>
                <a:lnTo>
                  <a:pt x="1418" y="431"/>
                </a:lnTo>
                <a:lnTo>
                  <a:pt x="1418" y="431"/>
                </a:lnTo>
                <a:lnTo>
                  <a:pt x="1415" y="438"/>
                </a:lnTo>
                <a:lnTo>
                  <a:pt x="1412" y="447"/>
                </a:lnTo>
                <a:lnTo>
                  <a:pt x="1412" y="447"/>
                </a:lnTo>
                <a:lnTo>
                  <a:pt x="1414" y="444"/>
                </a:lnTo>
                <a:lnTo>
                  <a:pt x="1412" y="443"/>
                </a:lnTo>
                <a:lnTo>
                  <a:pt x="1412" y="443"/>
                </a:lnTo>
                <a:lnTo>
                  <a:pt x="1412" y="443"/>
                </a:lnTo>
                <a:lnTo>
                  <a:pt x="1411" y="444"/>
                </a:lnTo>
                <a:lnTo>
                  <a:pt x="1409" y="446"/>
                </a:lnTo>
                <a:lnTo>
                  <a:pt x="1409" y="446"/>
                </a:lnTo>
                <a:lnTo>
                  <a:pt x="1411" y="440"/>
                </a:lnTo>
                <a:lnTo>
                  <a:pt x="1411" y="437"/>
                </a:lnTo>
                <a:lnTo>
                  <a:pt x="1409" y="433"/>
                </a:lnTo>
                <a:lnTo>
                  <a:pt x="1408" y="431"/>
                </a:lnTo>
                <a:lnTo>
                  <a:pt x="1408" y="431"/>
                </a:lnTo>
                <a:lnTo>
                  <a:pt x="1407" y="440"/>
                </a:lnTo>
                <a:lnTo>
                  <a:pt x="1405" y="448"/>
                </a:lnTo>
                <a:lnTo>
                  <a:pt x="1405" y="448"/>
                </a:lnTo>
                <a:lnTo>
                  <a:pt x="1402" y="457"/>
                </a:lnTo>
                <a:lnTo>
                  <a:pt x="1398" y="464"/>
                </a:lnTo>
                <a:lnTo>
                  <a:pt x="1398" y="464"/>
                </a:lnTo>
                <a:lnTo>
                  <a:pt x="1397" y="463"/>
                </a:lnTo>
                <a:lnTo>
                  <a:pt x="1395" y="460"/>
                </a:lnTo>
                <a:lnTo>
                  <a:pt x="1398" y="451"/>
                </a:lnTo>
                <a:lnTo>
                  <a:pt x="1399" y="444"/>
                </a:lnTo>
                <a:lnTo>
                  <a:pt x="1401" y="441"/>
                </a:lnTo>
                <a:lnTo>
                  <a:pt x="1399" y="440"/>
                </a:lnTo>
                <a:lnTo>
                  <a:pt x="1399" y="440"/>
                </a:lnTo>
                <a:lnTo>
                  <a:pt x="1392" y="453"/>
                </a:lnTo>
                <a:lnTo>
                  <a:pt x="1392" y="453"/>
                </a:lnTo>
                <a:lnTo>
                  <a:pt x="1388" y="460"/>
                </a:lnTo>
                <a:lnTo>
                  <a:pt x="1385" y="467"/>
                </a:lnTo>
                <a:lnTo>
                  <a:pt x="1385" y="467"/>
                </a:lnTo>
                <a:lnTo>
                  <a:pt x="1384" y="464"/>
                </a:lnTo>
                <a:lnTo>
                  <a:pt x="1382" y="465"/>
                </a:lnTo>
                <a:lnTo>
                  <a:pt x="1381" y="468"/>
                </a:lnTo>
                <a:lnTo>
                  <a:pt x="1381" y="468"/>
                </a:lnTo>
                <a:lnTo>
                  <a:pt x="1379" y="468"/>
                </a:lnTo>
                <a:lnTo>
                  <a:pt x="1379" y="468"/>
                </a:lnTo>
                <a:lnTo>
                  <a:pt x="1378" y="463"/>
                </a:lnTo>
                <a:lnTo>
                  <a:pt x="1379" y="460"/>
                </a:lnTo>
                <a:lnTo>
                  <a:pt x="1379" y="457"/>
                </a:lnTo>
                <a:lnTo>
                  <a:pt x="1381" y="453"/>
                </a:lnTo>
                <a:lnTo>
                  <a:pt x="1381" y="453"/>
                </a:lnTo>
                <a:lnTo>
                  <a:pt x="1379" y="454"/>
                </a:lnTo>
                <a:lnTo>
                  <a:pt x="1378" y="456"/>
                </a:lnTo>
                <a:lnTo>
                  <a:pt x="1377" y="456"/>
                </a:lnTo>
                <a:lnTo>
                  <a:pt x="1375" y="453"/>
                </a:lnTo>
                <a:lnTo>
                  <a:pt x="1375" y="453"/>
                </a:lnTo>
                <a:lnTo>
                  <a:pt x="1377" y="451"/>
                </a:lnTo>
                <a:lnTo>
                  <a:pt x="1378" y="448"/>
                </a:lnTo>
                <a:lnTo>
                  <a:pt x="1378" y="443"/>
                </a:lnTo>
                <a:lnTo>
                  <a:pt x="1378" y="443"/>
                </a:lnTo>
                <a:lnTo>
                  <a:pt x="1379" y="444"/>
                </a:lnTo>
                <a:lnTo>
                  <a:pt x="1381" y="447"/>
                </a:lnTo>
                <a:lnTo>
                  <a:pt x="1382" y="447"/>
                </a:lnTo>
                <a:lnTo>
                  <a:pt x="1384" y="446"/>
                </a:lnTo>
                <a:lnTo>
                  <a:pt x="1384" y="446"/>
                </a:lnTo>
                <a:lnTo>
                  <a:pt x="1381" y="440"/>
                </a:lnTo>
                <a:lnTo>
                  <a:pt x="1381" y="440"/>
                </a:lnTo>
                <a:lnTo>
                  <a:pt x="1379" y="434"/>
                </a:lnTo>
                <a:lnTo>
                  <a:pt x="1379" y="434"/>
                </a:lnTo>
                <a:lnTo>
                  <a:pt x="1381" y="428"/>
                </a:lnTo>
                <a:lnTo>
                  <a:pt x="1382" y="427"/>
                </a:lnTo>
                <a:lnTo>
                  <a:pt x="1384" y="426"/>
                </a:lnTo>
                <a:lnTo>
                  <a:pt x="1384" y="426"/>
                </a:lnTo>
                <a:lnTo>
                  <a:pt x="1381" y="426"/>
                </a:lnTo>
                <a:lnTo>
                  <a:pt x="1378" y="426"/>
                </a:lnTo>
                <a:lnTo>
                  <a:pt x="1378" y="426"/>
                </a:lnTo>
                <a:lnTo>
                  <a:pt x="1378" y="420"/>
                </a:lnTo>
                <a:lnTo>
                  <a:pt x="1378" y="417"/>
                </a:lnTo>
                <a:lnTo>
                  <a:pt x="1378" y="417"/>
                </a:lnTo>
                <a:lnTo>
                  <a:pt x="1382" y="417"/>
                </a:lnTo>
                <a:lnTo>
                  <a:pt x="1382" y="417"/>
                </a:lnTo>
                <a:lnTo>
                  <a:pt x="1381" y="411"/>
                </a:lnTo>
                <a:lnTo>
                  <a:pt x="1381" y="411"/>
                </a:lnTo>
                <a:lnTo>
                  <a:pt x="1379" y="406"/>
                </a:lnTo>
                <a:lnTo>
                  <a:pt x="1379" y="406"/>
                </a:lnTo>
                <a:lnTo>
                  <a:pt x="1374" y="398"/>
                </a:lnTo>
                <a:lnTo>
                  <a:pt x="1374" y="398"/>
                </a:lnTo>
                <a:lnTo>
                  <a:pt x="1375" y="393"/>
                </a:lnTo>
                <a:lnTo>
                  <a:pt x="1378" y="386"/>
                </a:lnTo>
                <a:lnTo>
                  <a:pt x="1378" y="386"/>
                </a:lnTo>
                <a:lnTo>
                  <a:pt x="1378" y="381"/>
                </a:lnTo>
                <a:lnTo>
                  <a:pt x="1378" y="381"/>
                </a:lnTo>
                <a:lnTo>
                  <a:pt x="1378" y="378"/>
                </a:lnTo>
                <a:lnTo>
                  <a:pt x="1378" y="378"/>
                </a:lnTo>
                <a:lnTo>
                  <a:pt x="1377" y="376"/>
                </a:lnTo>
                <a:lnTo>
                  <a:pt x="1375" y="374"/>
                </a:lnTo>
                <a:lnTo>
                  <a:pt x="1375" y="374"/>
                </a:lnTo>
                <a:lnTo>
                  <a:pt x="1374" y="380"/>
                </a:lnTo>
                <a:lnTo>
                  <a:pt x="1374" y="386"/>
                </a:lnTo>
                <a:lnTo>
                  <a:pt x="1372" y="393"/>
                </a:lnTo>
                <a:lnTo>
                  <a:pt x="1371" y="394"/>
                </a:lnTo>
                <a:lnTo>
                  <a:pt x="1368" y="396"/>
                </a:lnTo>
                <a:lnTo>
                  <a:pt x="1368" y="396"/>
                </a:lnTo>
                <a:lnTo>
                  <a:pt x="1365" y="411"/>
                </a:lnTo>
                <a:lnTo>
                  <a:pt x="1365" y="411"/>
                </a:lnTo>
                <a:lnTo>
                  <a:pt x="1362" y="426"/>
                </a:lnTo>
                <a:lnTo>
                  <a:pt x="1362" y="426"/>
                </a:lnTo>
                <a:lnTo>
                  <a:pt x="1359" y="438"/>
                </a:lnTo>
                <a:lnTo>
                  <a:pt x="1359" y="438"/>
                </a:lnTo>
                <a:lnTo>
                  <a:pt x="1358" y="450"/>
                </a:lnTo>
                <a:lnTo>
                  <a:pt x="1358" y="450"/>
                </a:lnTo>
                <a:lnTo>
                  <a:pt x="1358" y="456"/>
                </a:lnTo>
                <a:lnTo>
                  <a:pt x="1355" y="463"/>
                </a:lnTo>
                <a:lnTo>
                  <a:pt x="1355" y="463"/>
                </a:lnTo>
                <a:lnTo>
                  <a:pt x="1352" y="468"/>
                </a:lnTo>
                <a:lnTo>
                  <a:pt x="1351" y="474"/>
                </a:lnTo>
                <a:lnTo>
                  <a:pt x="1351" y="474"/>
                </a:lnTo>
                <a:lnTo>
                  <a:pt x="1349" y="485"/>
                </a:lnTo>
                <a:lnTo>
                  <a:pt x="1347" y="491"/>
                </a:lnTo>
                <a:lnTo>
                  <a:pt x="1345" y="493"/>
                </a:lnTo>
                <a:lnTo>
                  <a:pt x="1342" y="494"/>
                </a:lnTo>
                <a:lnTo>
                  <a:pt x="1342" y="494"/>
                </a:lnTo>
                <a:lnTo>
                  <a:pt x="1344" y="491"/>
                </a:lnTo>
                <a:lnTo>
                  <a:pt x="1344" y="487"/>
                </a:lnTo>
                <a:lnTo>
                  <a:pt x="1345" y="484"/>
                </a:lnTo>
                <a:lnTo>
                  <a:pt x="1348" y="481"/>
                </a:lnTo>
                <a:lnTo>
                  <a:pt x="1348" y="481"/>
                </a:lnTo>
                <a:lnTo>
                  <a:pt x="1347" y="478"/>
                </a:lnTo>
                <a:lnTo>
                  <a:pt x="1345" y="480"/>
                </a:lnTo>
                <a:lnTo>
                  <a:pt x="1344" y="480"/>
                </a:lnTo>
                <a:lnTo>
                  <a:pt x="1344" y="478"/>
                </a:lnTo>
                <a:lnTo>
                  <a:pt x="1344" y="478"/>
                </a:lnTo>
                <a:lnTo>
                  <a:pt x="1348" y="465"/>
                </a:lnTo>
                <a:lnTo>
                  <a:pt x="1352" y="453"/>
                </a:lnTo>
                <a:lnTo>
                  <a:pt x="1352" y="453"/>
                </a:lnTo>
                <a:lnTo>
                  <a:pt x="1354" y="440"/>
                </a:lnTo>
                <a:lnTo>
                  <a:pt x="1357" y="426"/>
                </a:lnTo>
                <a:lnTo>
                  <a:pt x="1357" y="426"/>
                </a:lnTo>
                <a:lnTo>
                  <a:pt x="1357" y="413"/>
                </a:lnTo>
                <a:lnTo>
                  <a:pt x="1357" y="398"/>
                </a:lnTo>
                <a:lnTo>
                  <a:pt x="1357" y="398"/>
                </a:lnTo>
                <a:lnTo>
                  <a:pt x="1355" y="371"/>
                </a:lnTo>
                <a:lnTo>
                  <a:pt x="1355" y="371"/>
                </a:lnTo>
                <a:lnTo>
                  <a:pt x="1352" y="343"/>
                </a:lnTo>
                <a:lnTo>
                  <a:pt x="1352" y="343"/>
                </a:lnTo>
                <a:lnTo>
                  <a:pt x="1349" y="314"/>
                </a:lnTo>
                <a:lnTo>
                  <a:pt x="1349" y="314"/>
                </a:lnTo>
                <a:lnTo>
                  <a:pt x="1347" y="287"/>
                </a:lnTo>
                <a:lnTo>
                  <a:pt x="1347" y="287"/>
                </a:lnTo>
                <a:lnTo>
                  <a:pt x="1344" y="260"/>
                </a:lnTo>
                <a:lnTo>
                  <a:pt x="1344" y="260"/>
                </a:lnTo>
                <a:lnTo>
                  <a:pt x="1339" y="259"/>
                </a:lnTo>
                <a:lnTo>
                  <a:pt x="1337" y="257"/>
                </a:lnTo>
                <a:lnTo>
                  <a:pt x="1335" y="254"/>
                </a:lnTo>
                <a:lnTo>
                  <a:pt x="1334" y="250"/>
                </a:lnTo>
                <a:lnTo>
                  <a:pt x="1334" y="240"/>
                </a:lnTo>
                <a:lnTo>
                  <a:pt x="1335" y="233"/>
                </a:lnTo>
                <a:lnTo>
                  <a:pt x="1335" y="233"/>
                </a:lnTo>
                <a:lnTo>
                  <a:pt x="1334" y="231"/>
                </a:lnTo>
                <a:lnTo>
                  <a:pt x="1331" y="230"/>
                </a:lnTo>
                <a:lnTo>
                  <a:pt x="1331" y="226"/>
                </a:lnTo>
                <a:lnTo>
                  <a:pt x="1331" y="223"/>
                </a:lnTo>
                <a:lnTo>
                  <a:pt x="1330" y="221"/>
                </a:lnTo>
                <a:lnTo>
                  <a:pt x="1327" y="221"/>
                </a:lnTo>
                <a:lnTo>
                  <a:pt x="1327" y="221"/>
                </a:lnTo>
                <a:lnTo>
                  <a:pt x="1327" y="224"/>
                </a:lnTo>
                <a:lnTo>
                  <a:pt x="1327" y="229"/>
                </a:lnTo>
                <a:lnTo>
                  <a:pt x="1327" y="233"/>
                </a:lnTo>
                <a:lnTo>
                  <a:pt x="1325" y="234"/>
                </a:lnTo>
                <a:lnTo>
                  <a:pt x="1324" y="236"/>
                </a:lnTo>
                <a:lnTo>
                  <a:pt x="1324" y="236"/>
                </a:lnTo>
                <a:lnTo>
                  <a:pt x="1318" y="236"/>
                </a:lnTo>
                <a:lnTo>
                  <a:pt x="1315" y="237"/>
                </a:lnTo>
                <a:lnTo>
                  <a:pt x="1314" y="236"/>
                </a:lnTo>
                <a:lnTo>
                  <a:pt x="1314" y="236"/>
                </a:lnTo>
                <a:lnTo>
                  <a:pt x="1312" y="230"/>
                </a:lnTo>
                <a:lnTo>
                  <a:pt x="1312" y="224"/>
                </a:lnTo>
                <a:lnTo>
                  <a:pt x="1312" y="224"/>
                </a:lnTo>
                <a:lnTo>
                  <a:pt x="1314" y="216"/>
                </a:lnTo>
                <a:lnTo>
                  <a:pt x="1314" y="216"/>
                </a:lnTo>
                <a:lnTo>
                  <a:pt x="1314" y="209"/>
                </a:lnTo>
                <a:lnTo>
                  <a:pt x="1312" y="206"/>
                </a:lnTo>
                <a:lnTo>
                  <a:pt x="1311" y="203"/>
                </a:lnTo>
                <a:lnTo>
                  <a:pt x="1311" y="203"/>
                </a:lnTo>
                <a:lnTo>
                  <a:pt x="1311" y="206"/>
                </a:lnTo>
                <a:lnTo>
                  <a:pt x="1310" y="209"/>
                </a:lnTo>
                <a:lnTo>
                  <a:pt x="1307" y="216"/>
                </a:lnTo>
                <a:lnTo>
                  <a:pt x="1305" y="223"/>
                </a:lnTo>
                <a:lnTo>
                  <a:pt x="1304" y="227"/>
                </a:lnTo>
                <a:lnTo>
                  <a:pt x="1305" y="231"/>
                </a:lnTo>
                <a:lnTo>
                  <a:pt x="1305" y="231"/>
                </a:lnTo>
                <a:lnTo>
                  <a:pt x="1302" y="231"/>
                </a:lnTo>
                <a:lnTo>
                  <a:pt x="1298" y="231"/>
                </a:lnTo>
                <a:lnTo>
                  <a:pt x="1297" y="233"/>
                </a:lnTo>
                <a:lnTo>
                  <a:pt x="1295" y="233"/>
                </a:lnTo>
                <a:lnTo>
                  <a:pt x="1297" y="233"/>
                </a:lnTo>
                <a:lnTo>
                  <a:pt x="1297" y="233"/>
                </a:lnTo>
                <a:lnTo>
                  <a:pt x="1302" y="233"/>
                </a:lnTo>
                <a:lnTo>
                  <a:pt x="1302" y="234"/>
                </a:lnTo>
                <a:lnTo>
                  <a:pt x="1304" y="234"/>
                </a:lnTo>
                <a:lnTo>
                  <a:pt x="1304" y="239"/>
                </a:lnTo>
                <a:lnTo>
                  <a:pt x="1305" y="240"/>
                </a:lnTo>
                <a:lnTo>
                  <a:pt x="1307" y="240"/>
                </a:lnTo>
                <a:lnTo>
                  <a:pt x="1307" y="240"/>
                </a:lnTo>
                <a:lnTo>
                  <a:pt x="1307" y="243"/>
                </a:lnTo>
                <a:lnTo>
                  <a:pt x="1304" y="246"/>
                </a:lnTo>
                <a:lnTo>
                  <a:pt x="1298" y="249"/>
                </a:lnTo>
                <a:lnTo>
                  <a:pt x="1298" y="249"/>
                </a:lnTo>
                <a:lnTo>
                  <a:pt x="1294" y="246"/>
                </a:lnTo>
                <a:lnTo>
                  <a:pt x="1291" y="240"/>
                </a:lnTo>
                <a:lnTo>
                  <a:pt x="1288" y="236"/>
                </a:lnTo>
                <a:lnTo>
                  <a:pt x="1284" y="231"/>
                </a:lnTo>
                <a:lnTo>
                  <a:pt x="1284" y="231"/>
                </a:lnTo>
                <a:lnTo>
                  <a:pt x="1280" y="233"/>
                </a:lnTo>
                <a:lnTo>
                  <a:pt x="1278" y="236"/>
                </a:lnTo>
                <a:lnTo>
                  <a:pt x="1278" y="239"/>
                </a:lnTo>
                <a:lnTo>
                  <a:pt x="1280" y="241"/>
                </a:lnTo>
                <a:lnTo>
                  <a:pt x="1280" y="241"/>
                </a:lnTo>
                <a:lnTo>
                  <a:pt x="1277" y="249"/>
                </a:lnTo>
                <a:lnTo>
                  <a:pt x="1277" y="249"/>
                </a:lnTo>
                <a:lnTo>
                  <a:pt x="1277" y="257"/>
                </a:lnTo>
                <a:lnTo>
                  <a:pt x="1277" y="257"/>
                </a:lnTo>
                <a:lnTo>
                  <a:pt x="1278" y="267"/>
                </a:lnTo>
                <a:lnTo>
                  <a:pt x="1280" y="276"/>
                </a:lnTo>
                <a:lnTo>
                  <a:pt x="1280" y="276"/>
                </a:lnTo>
                <a:lnTo>
                  <a:pt x="1284" y="294"/>
                </a:lnTo>
                <a:lnTo>
                  <a:pt x="1284" y="294"/>
                </a:lnTo>
                <a:lnTo>
                  <a:pt x="1285" y="299"/>
                </a:lnTo>
                <a:lnTo>
                  <a:pt x="1285" y="299"/>
                </a:lnTo>
                <a:lnTo>
                  <a:pt x="1285" y="303"/>
                </a:lnTo>
                <a:lnTo>
                  <a:pt x="1285" y="303"/>
                </a:lnTo>
                <a:lnTo>
                  <a:pt x="1284" y="311"/>
                </a:lnTo>
                <a:lnTo>
                  <a:pt x="1284" y="311"/>
                </a:lnTo>
                <a:lnTo>
                  <a:pt x="1284" y="313"/>
                </a:lnTo>
                <a:lnTo>
                  <a:pt x="1282" y="313"/>
                </a:lnTo>
                <a:lnTo>
                  <a:pt x="1281" y="314"/>
                </a:lnTo>
                <a:lnTo>
                  <a:pt x="1281" y="316"/>
                </a:lnTo>
                <a:lnTo>
                  <a:pt x="1281" y="316"/>
                </a:lnTo>
                <a:lnTo>
                  <a:pt x="1284" y="326"/>
                </a:lnTo>
                <a:lnTo>
                  <a:pt x="1284" y="326"/>
                </a:lnTo>
                <a:lnTo>
                  <a:pt x="1285" y="336"/>
                </a:lnTo>
                <a:lnTo>
                  <a:pt x="1285" y="336"/>
                </a:lnTo>
                <a:lnTo>
                  <a:pt x="1285" y="341"/>
                </a:lnTo>
                <a:lnTo>
                  <a:pt x="1285" y="346"/>
                </a:lnTo>
                <a:lnTo>
                  <a:pt x="1285" y="346"/>
                </a:lnTo>
                <a:lnTo>
                  <a:pt x="1282" y="350"/>
                </a:lnTo>
                <a:lnTo>
                  <a:pt x="1280" y="354"/>
                </a:lnTo>
                <a:lnTo>
                  <a:pt x="1280" y="354"/>
                </a:lnTo>
                <a:lnTo>
                  <a:pt x="1280" y="360"/>
                </a:lnTo>
                <a:lnTo>
                  <a:pt x="1280" y="366"/>
                </a:lnTo>
                <a:lnTo>
                  <a:pt x="1280" y="366"/>
                </a:lnTo>
                <a:lnTo>
                  <a:pt x="1278" y="370"/>
                </a:lnTo>
                <a:lnTo>
                  <a:pt x="1278" y="370"/>
                </a:lnTo>
                <a:lnTo>
                  <a:pt x="1277" y="376"/>
                </a:lnTo>
                <a:lnTo>
                  <a:pt x="1277" y="376"/>
                </a:lnTo>
                <a:lnTo>
                  <a:pt x="1280" y="377"/>
                </a:lnTo>
                <a:lnTo>
                  <a:pt x="1281" y="378"/>
                </a:lnTo>
                <a:lnTo>
                  <a:pt x="1282" y="381"/>
                </a:lnTo>
                <a:lnTo>
                  <a:pt x="1281" y="384"/>
                </a:lnTo>
                <a:lnTo>
                  <a:pt x="1281" y="384"/>
                </a:lnTo>
                <a:lnTo>
                  <a:pt x="1280" y="383"/>
                </a:lnTo>
                <a:lnTo>
                  <a:pt x="1278" y="383"/>
                </a:lnTo>
                <a:lnTo>
                  <a:pt x="1275" y="383"/>
                </a:lnTo>
                <a:lnTo>
                  <a:pt x="1275" y="383"/>
                </a:lnTo>
                <a:lnTo>
                  <a:pt x="1274" y="378"/>
                </a:lnTo>
                <a:lnTo>
                  <a:pt x="1272" y="374"/>
                </a:lnTo>
                <a:lnTo>
                  <a:pt x="1272" y="374"/>
                </a:lnTo>
                <a:lnTo>
                  <a:pt x="1271" y="376"/>
                </a:lnTo>
                <a:lnTo>
                  <a:pt x="1271" y="377"/>
                </a:lnTo>
                <a:lnTo>
                  <a:pt x="1270" y="378"/>
                </a:lnTo>
                <a:lnTo>
                  <a:pt x="1265" y="378"/>
                </a:lnTo>
                <a:lnTo>
                  <a:pt x="1265" y="378"/>
                </a:lnTo>
                <a:lnTo>
                  <a:pt x="1265" y="373"/>
                </a:lnTo>
                <a:lnTo>
                  <a:pt x="1264" y="368"/>
                </a:lnTo>
                <a:lnTo>
                  <a:pt x="1264" y="368"/>
                </a:lnTo>
                <a:lnTo>
                  <a:pt x="1261" y="364"/>
                </a:lnTo>
                <a:lnTo>
                  <a:pt x="1260" y="360"/>
                </a:lnTo>
                <a:lnTo>
                  <a:pt x="1260" y="360"/>
                </a:lnTo>
                <a:lnTo>
                  <a:pt x="1257" y="361"/>
                </a:lnTo>
                <a:lnTo>
                  <a:pt x="1255" y="363"/>
                </a:lnTo>
                <a:lnTo>
                  <a:pt x="1255" y="366"/>
                </a:lnTo>
                <a:lnTo>
                  <a:pt x="1255" y="366"/>
                </a:lnTo>
                <a:lnTo>
                  <a:pt x="1258" y="367"/>
                </a:lnTo>
                <a:lnTo>
                  <a:pt x="1261" y="371"/>
                </a:lnTo>
                <a:lnTo>
                  <a:pt x="1264" y="377"/>
                </a:lnTo>
                <a:lnTo>
                  <a:pt x="1268" y="383"/>
                </a:lnTo>
                <a:lnTo>
                  <a:pt x="1271" y="386"/>
                </a:lnTo>
                <a:lnTo>
                  <a:pt x="1274" y="387"/>
                </a:lnTo>
                <a:lnTo>
                  <a:pt x="1274" y="387"/>
                </a:lnTo>
                <a:lnTo>
                  <a:pt x="1272" y="388"/>
                </a:lnTo>
                <a:lnTo>
                  <a:pt x="1270" y="390"/>
                </a:lnTo>
                <a:lnTo>
                  <a:pt x="1265" y="390"/>
                </a:lnTo>
                <a:lnTo>
                  <a:pt x="1262" y="388"/>
                </a:lnTo>
                <a:lnTo>
                  <a:pt x="1262" y="388"/>
                </a:lnTo>
                <a:lnTo>
                  <a:pt x="1260" y="391"/>
                </a:lnTo>
                <a:lnTo>
                  <a:pt x="1260" y="391"/>
                </a:lnTo>
                <a:lnTo>
                  <a:pt x="1258" y="396"/>
                </a:lnTo>
                <a:lnTo>
                  <a:pt x="1258" y="396"/>
                </a:lnTo>
                <a:lnTo>
                  <a:pt x="1257" y="403"/>
                </a:lnTo>
                <a:lnTo>
                  <a:pt x="1257" y="403"/>
                </a:lnTo>
                <a:lnTo>
                  <a:pt x="1255" y="411"/>
                </a:lnTo>
                <a:lnTo>
                  <a:pt x="1254" y="416"/>
                </a:lnTo>
                <a:lnTo>
                  <a:pt x="1251" y="418"/>
                </a:lnTo>
                <a:lnTo>
                  <a:pt x="1251" y="418"/>
                </a:lnTo>
                <a:lnTo>
                  <a:pt x="1248" y="417"/>
                </a:lnTo>
                <a:lnTo>
                  <a:pt x="1247" y="414"/>
                </a:lnTo>
                <a:lnTo>
                  <a:pt x="1245" y="413"/>
                </a:lnTo>
                <a:lnTo>
                  <a:pt x="1244" y="411"/>
                </a:lnTo>
                <a:lnTo>
                  <a:pt x="1244" y="411"/>
                </a:lnTo>
                <a:lnTo>
                  <a:pt x="1241" y="414"/>
                </a:lnTo>
                <a:lnTo>
                  <a:pt x="1240" y="413"/>
                </a:lnTo>
                <a:lnTo>
                  <a:pt x="1238" y="410"/>
                </a:lnTo>
                <a:lnTo>
                  <a:pt x="1235" y="408"/>
                </a:lnTo>
                <a:lnTo>
                  <a:pt x="1235" y="408"/>
                </a:lnTo>
                <a:lnTo>
                  <a:pt x="1238" y="414"/>
                </a:lnTo>
                <a:lnTo>
                  <a:pt x="1238" y="420"/>
                </a:lnTo>
                <a:lnTo>
                  <a:pt x="1237" y="433"/>
                </a:lnTo>
                <a:lnTo>
                  <a:pt x="1237" y="433"/>
                </a:lnTo>
                <a:lnTo>
                  <a:pt x="1225" y="453"/>
                </a:lnTo>
                <a:lnTo>
                  <a:pt x="1225" y="453"/>
                </a:lnTo>
                <a:lnTo>
                  <a:pt x="1217" y="473"/>
                </a:lnTo>
                <a:lnTo>
                  <a:pt x="1217" y="473"/>
                </a:lnTo>
                <a:lnTo>
                  <a:pt x="1208" y="493"/>
                </a:lnTo>
                <a:lnTo>
                  <a:pt x="1208" y="493"/>
                </a:lnTo>
                <a:lnTo>
                  <a:pt x="1200" y="514"/>
                </a:lnTo>
                <a:lnTo>
                  <a:pt x="1200" y="514"/>
                </a:lnTo>
                <a:lnTo>
                  <a:pt x="1191" y="534"/>
                </a:lnTo>
                <a:lnTo>
                  <a:pt x="1191" y="534"/>
                </a:lnTo>
                <a:lnTo>
                  <a:pt x="1181" y="554"/>
                </a:lnTo>
                <a:lnTo>
                  <a:pt x="1181" y="554"/>
                </a:lnTo>
                <a:lnTo>
                  <a:pt x="1170" y="571"/>
                </a:lnTo>
                <a:lnTo>
                  <a:pt x="1170" y="571"/>
                </a:lnTo>
                <a:lnTo>
                  <a:pt x="1155" y="587"/>
                </a:lnTo>
                <a:lnTo>
                  <a:pt x="1155" y="587"/>
                </a:lnTo>
                <a:lnTo>
                  <a:pt x="1150" y="598"/>
                </a:lnTo>
                <a:lnTo>
                  <a:pt x="1144" y="608"/>
                </a:lnTo>
                <a:lnTo>
                  <a:pt x="1144" y="608"/>
                </a:lnTo>
                <a:lnTo>
                  <a:pt x="1134" y="625"/>
                </a:lnTo>
                <a:lnTo>
                  <a:pt x="1134" y="625"/>
                </a:lnTo>
                <a:lnTo>
                  <a:pt x="1133" y="634"/>
                </a:lnTo>
                <a:lnTo>
                  <a:pt x="1130" y="641"/>
                </a:lnTo>
                <a:lnTo>
                  <a:pt x="1130" y="641"/>
                </a:lnTo>
                <a:lnTo>
                  <a:pt x="1126" y="647"/>
                </a:lnTo>
                <a:lnTo>
                  <a:pt x="1123" y="648"/>
                </a:lnTo>
                <a:lnTo>
                  <a:pt x="1120" y="650"/>
                </a:lnTo>
                <a:lnTo>
                  <a:pt x="1120" y="650"/>
                </a:lnTo>
                <a:lnTo>
                  <a:pt x="1118" y="654"/>
                </a:lnTo>
                <a:lnTo>
                  <a:pt x="1114" y="661"/>
                </a:lnTo>
                <a:lnTo>
                  <a:pt x="1104" y="671"/>
                </a:lnTo>
                <a:lnTo>
                  <a:pt x="1104" y="671"/>
                </a:lnTo>
                <a:lnTo>
                  <a:pt x="1106" y="668"/>
                </a:lnTo>
                <a:lnTo>
                  <a:pt x="1106" y="668"/>
                </a:lnTo>
                <a:lnTo>
                  <a:pt x="1103" y="668"/>
                </a:lnTo>
                <a:lnTo>
                  <a:pt x="1100" y="668"/>
                </a:lnTo>
                <a:lnTo>
                  <a:pt x="1100" y="668"/>
                </a:lnTo>
                <a:lnTo>
                  <a:pt x="1108" y="660"/>
                </a:lnTo>
                <a:lnTo>
                  <a:pt x="1111" y="655"/>
                </a:lnTo>
                <a:lnTo>
                  <a:pt x="1110" y="651"/>
                </a:lnTo>
                <a:lnTo>
                  <a:pt x="1110" y="651"/>
                </a:lnTo>
                <a:lnTo>
                  <a:pt x="1114" y="651"/>
                </a:lnTo>
                <a:lnTo>
                  <a:pt x="1114" y="651"/>
                </a:lnTo>
                <a:lnTo>
                  <a:pt x="1113" y="652"/>
                </a:lnTo>
                <a:lnTo>
                  <a:pt x="1113" y="654"/>
                </a:lnTo>
                <a:lnTo>
                  <a:pt x="1113" y="654"/>
                </a:lnTo>
                <a:lnTo>
                  <a:pt x="1116" y="652"/>
                </a:lnTo>
                <a:lnTo>
                  <a:pt x="1116" y="651"/>
                </a:lnTo>
                <a:lnTo>
                  <a:pt x="1113" y="648"/>
                </a:lnTo>
                <a:lnTo>
                  <a:pt x="1108" y="645"/>
                </a:lnTo>
                <a:lnTo>
                  <a:pt x="1108" y="644"/>
                </a:lnTo>
                <a:lnTo>
                  <a:pt x="1108" y="642"/>
                </a:lnTo>
                <a:lnTo>
                  <a:pt x="1108" y="642"/>
                </a:lnTo>
                <a:lnTo>
                  <a:pt x="1111" y="644"/>
                </a:lnTo>
                <a:lnTo>
                  <a:pt x="1113" y="644"/>
                </a:lnTo>
                <a:lnTo>
                  <a:pt x="1114" y="642"/>
                </a:lnTo>
                <a:lnTo>
                  <a:pt x="1117" y="641"/>
                </a:lnTo>
                <a:lnTo>
                  <a:pt x="1120" y="644"/>
                </a:lnTo>
                <a:lnTo>
                  <a:pt x="1120" y="644"/>
                </a:lnTo>
                <a:lnTo>
                  <a:pt x="1118" y="647"/>
                </a:lnTo>
                <a:lnTo>
                  <a:pt x="1117" y="647"/>
                </a:lnTo>
                <a:lnTo>
                  <a:pt x="1117" y="647"/>
                </a:lnTo>
                <a:lnTo>
                  <a:pt x="1117" y="650"/>
                </a:lnTo>
                <a:lnTo>
                  <a:pt x="1117" y="650"/>
                </a:lnTo>
                <a:lnTo>
                  <a:pt x="1123" y="644"/>
                </a:lnTo>
                <a:lnTo>
                  <a:pt x="1123" y="644"/>
                </a:lnTo>
                <a:lnTo>
                  <a:pt x="1127" y="638"/>
                </a:lnTo>
                <a:lnTo>
                  <a:pt x="1127" y="638"/>
                </a:lnTo>
                <a:lnTo>
                  <a:pt x="1133" y="630"/>
                </a:lnTo>
                <a:lnTo>
                  <a:pt x="1133" y="630"/>
                </a:lnTo>
                <a:lnTo>
                  <a:pt x="1130" y="630"/>
                </a:lnTo>
                <a:lnTo>
                  <a:pt x="1128" y="631"/>
                </a:lnTo>
                <a:lnTo>
                  <a:pt x="1126" y="634"/>
                </a:lnTo>
                <a:lnTo>
                  <a:pt x="1124" y="638"/>
                </a:lnTo>
                <a:lnTo>
                  <a:pt x="1121" y="642"/>
                </a:lnTo>
                <a:lnTo>
                  <a:pt x="1121" y="642"/>
                </a:lnTo>
                <a:lnTo>
                  <a:pt x="1114" y="638"/>
                </a:lnTo>
                <a:lnTo>
                  <a:pt x="1114" y="638"/>
                </a:lnTo>
                <a:lnTo>
                  <a:pt x="1110" y="640"/>
                </a:lnTo>
                <a:lnTo>
                  <a:pt x="1107" y="642"/>
                </a:lnTo>
                <a:lnTo>
                  <a:pt x="1103" y="644"/>
                </a:lnTo>
                <a:lnTo>
                  <a:pt x="1098" y="644"/>
                </a:lnTo>
                <a:lnTo>
                  <a:pt x="1098" y="644"/>
                </a:lnTo>
                <a:lnTo>
                  <a:pt x="1101" y="640"/>
                </a:lnTo>
                <a:lnTo>
                  <a:pt x="1104" y="637"/>
                </a:lnTo>
                <a:lnTo>
                  <a:pt x="1106" y="635"/>
                </a:lnTo>
                <a:lnTo>
                  <a:pt x="1108" y="635"/>
                </a:lnTo>
                <a:lnTo>
                  <a:pt x="1113" y="634"/>
                </a:lnTo>
                <a:lnTo>
                  <a:pt x="1116" y="634"/>
                </a:lnTo>
                <a:lnTo>
                  <a:pt x="1117" y="631"/>
                </a:lnTo>
                <a:lnTo>
                  <a:pt x="1117" y="631"/>
                </a:lnTo>
                <a:lnTo>
                  <a:pt x="1117" y="631"/>
                </a:lnTo>
                <a:lnTo>
                  <a:pt x="1117" y="630"/>
                </a:lnTo>
                <a:lnTo>
                  <a:pt x="1117" y="630"/>
                </a:lnTo>
                <a:lnTo>
                  <a:pt x="1120" y="627"/>
                </a:lnTo>
                <a:lnTo>
                  <a:pt x="1123" y="624"/>
                </a:lnTo>
                <a:lnTo>
                  <a:pt x="1124" y="621"/>
                </a:lnTo>
                <a:lnTo>
                  <a:pt x="1127" y="617"/>
                </a:lnTo>
                <a:lnTo>
                  <a:pt x="1127" y="617"/>
                </a:lnTo>
                <a:lnTo>
                  <a:pt x="1130" y="617"/>
                </a:lnTo>
                <a:lnTo>
                  <a:pt x="1134" y="615"/>
                </a:lnTo>
                <a:lnTo>
                  <a:pt x="1136" y="615"/>
                </a:lnTo>
                <a:lnTo>
                  <a:pt x="1137" y="614"/>
                </a:lnTo>
                <a:lnTo>
                  <a:pt x="1136" y="611"/>
                </a:lnTo>
                <a:lnTo>
                  <a:pt x="1133" y="608"/>
                </a:lnTo>
                <a:lnTo>
                  <a:pt x="1133" y="608"/>
                </a:lnTo>
                <a:lnTo>
                  <a:pt x="1131" y="613"/>
                </a:lnTo>
                <a:lnTo>
                  <a:pt x="1130" y="614"/>
                </a:lnTo>
                <a:lnTo>
                  <a:pt x="1126" y="615"/>
                </a:lnTo>
                <a:lnTo>
                  <a:pt x="1123" y="614"/>
                </a:lnTo>
                <a:lnTo>
                  <a:pt x="1123" y="614"/>
                </a:lnTo>
                <a:lnTo>
                  <a:pt x="1120" y="617"/>
                </a:lnTo>
                <a:lnTo>
                  <a:pt x="1118" y="620"/>
                </a:lnTo>
                <a:lnTo>
                  <a:pt x="1117" y="625"/>
                </a:lnTo>
                <a:lnTo>
                  <a:pt x="1117" y="625"/>
                </a:lnTo>
                <a:lnTo>
                  <a:pt x="1114" y="630"/>
                </a:lnTo>
                <a:lnTo>
                  <a:pt x="1113" y="631"/>
                </a:lnTo>
                <a:lnTo>
                  <a:pt x="1110" y="632"/>
                </a:lnTo>
                <a:lnTo>
                  <a:pt x="1110" y="632"/>
                </a:lnTo>
                <a:lnTo>
                  <a:pt x="1113" y="628"/>
                </a:lnTo>
                <a:lnTo>
                  <a:pt x="1113" y="625"/>
                </a:lnTo>
                <a:lnTo>
                  <a:pt x="1113" y="622"/>
                </a:lnTo>
                <a:lnTo>
                  <a:pt x="1111" y="620"/>
                </a:lnTo>
                <a:lnTo>
                  <a:pt x="1111" y="620"/>
                </a:lnTo>
                <a:lnTo>
                  <a:pt x="1110" y="621"/>
                </a:lnTo>
                <a:lnTo>
                  <a:pt x="1110" y="624"/>
                </a:lnTo>
                <a:lnTo>
                  <a:pt x="1111" y="627"/>
                </a:lnTo>
                <a:lnTo>
                  <a:pt x="1108" y="628"/>
                </a:lnTo>
                <a:lnTo>
                  <a:pt x="1108" y="628"/>
                </a:lnTo>
                <a:lnTo>
                  <a:pt x="1108" y="627"/>
                </a:lnTo>
                <a:lnTo>
                  <a:pt x="1107" y="624"/>
                </a:lnTo>
                <a:lnTo>
                  <a:pt x="1107" y="624"/>
                </a:lnTo>
                <a:lnTo>
                  <a:pt x="1106" y="628"/>
                </a:lnTo>
                <a:lnTo>
                  <a:pt x="1106" y="628"/>
                </a:lnTo>
                <a:lnTo>
                  <a:pt x="1103" y="632"/>
                </a:lnTo>
                <a:lnTo>
                  <a:pt x="1103" y="632"/>
                </a:lnTo>
                <a:lnTo>
                  <a:pt x="1098" y="635"/>
                </a:lnTo>
                <a:lnTo>
                  <a:pt x="1097" y="635"/>
                </a:lnTo>
                <a:lnTo>
                  <a:pt x="1094" y="634"/>
                </a:lnTo>
                <a:lnTo>
                  <a:pt x="1094" y="634"/>
                </a:lnTo>
                <a:lnTo>
                  <a:pt x="1101" y="622"/>
                </a:lnTo>
                <a:lnTo>
                  <a:pt x="1101" y="622"/>
                </a:lnTo>
                <a:lnTo>
                  <a:pt x="1107" y="613"/>
                </a:lnTo>
                <a:lnTo>
                  <a:pt x="1107" y="613"/>
                </a:lnTo>
                <a:lnTo>
                  <a:pt x="1108" y="615"/>
                </a:lnTo>
                <a:lnTo>
                  <a:pt x="1110" y="615"/>
                </a:lnTo>
                <a:lnTo>
                  <a:pt x="1110" y="614"/>
                </a:lnTo>
                <a:lnTo>
                  <a:pt x="1110" y="614"/>
                </a:lnTo>
                <a:lnTo>
                  <a:pt x="1107" y="613"/>
                </a:lnTo>
                <a:lnTo>
                  <a:pt x="1107" y="613"/>
                </a:lnTo>
                <a:lnTo>
                  <a:pt x="1104" y="614"/>
                </a:lnTo>
                <a:lnTo>
                  <a:pt x="1101" y="615"/>
                </a:lnTo>
                <a:lnTo>
                  <a:pt x="1098" y="620"/>
                </a:lnTo>
                <a:lnTo>
                  <a:pt x="1098" y="620"/>
                </a:lnTo>
                <a:lnTo>
                  <a:pt x="1098" y="622"/>
                </a:lnTo>
                <a:lnTo>
                  <a:pt x="1096" y="624"/>
                </a:lnTo>
                <a:lnTo>
                  <a:pt x="1094" y="624"/>
                </a:lnTo>
                <a:lnTo>
                  <a:pt x="1090" y="624"/>
                </a:lnTo>
                <a:lnTo>
                  <a:pt x="1090" y="624"/>
                </a:lnTo>
                <a:lnTo>
                  <a:pt x="1093" y="621"/>
                </a:lnTo>
                <a:lnTo>
                  <a:pt x="1094" y="618"/>
                </a:lnTo>
                <a:lnTo>
                  <a:pt x="1094" y="618"/>
                </a:lnTo>
                <a:lnTo>
                  <a:pt x="1096" y="615"/>
                </a:lnTo>
                <a:lnTo>
                  <a:pt x="1098" y="614"/>
                </a:lnTo>
                <a:lnTo>
                  <a:pt x="1098" y="614"/>
                </a:lnTo>
                <a:lnTo>
                  <a:pt x="1097" y="611"/>
                </a:lnTo>
                <a:lnTo>
                  <a:pt x="1097" y="608"/>
                </a:lnTo>
                <a:lnTo>
                  <a:pt x="1098" y="604"/>
                </a:lnTo>
                <a:lnTo>
                  <a:pt x="1101" y="598"/>
                </a:lnTo>
                <a:lnTo>
                  <a:pt x="1104" y="595"/>
                </a:lnTo>
                <a:lnTo>
                  <a:pt x="1104" y="595"/>
                </a:lnTo>
                <a:lnTo>
                  <a:pt x="1098" y="598"/>
                </a:lnTo>
                <a:lnTo>
                  <a:pt x="1096" y="601"/>
                </a:lnTo>
                <a:lnTo>
                  <a:pt x="1096" y="601"/>
                </a:lnTo>
                <a:lnTo>
                  <a:pt x="1093" y="605"/>
                </a:lnTo>
                <a:lnTo>
                  <a:pt x="1091" y="610"/>
                </a:lnTo>
                <a:lnTo>
                  <a:pt x="1091" y="610"/>
                </a:lnTo>
                <a:lnTo>
                  <a:pt x="1088" y="621"/>
                </a:lnTo>
                <a:lnTo>
                  <a:pt x="1088" y="621"/>
                </a:lnTo>
                <a:lnTo>
                  <a:pt x="1087" y="625"/>
                </a:lnTo>
                <a:lnTo>
                  <a:pt x="1086" y="631"/>
                </a:lnTo>
                <a:lnTo>
                  <a:pt x="1086" y="631"/>
                </a:lnTo>
                <a:lnTo>
                  <a:pt x="1083" y="627"/>
                </a:lnTo>
                <a:lnTo>
                  <a:pt x="1083" y="624"/>
                </a:lnTo>
                <a:lnTo>
                  <a:pt x="1083" y="621"/>
                </a:lnTo>
                <a:lnTo>
                  <a:pt x="1080" y="620"/>
                </a:lnTo>
                <a:lnTo>
                  <a:pt x="1080" y="620"/>
                </a:lnTo>
                <a:lnTo>
                  <a:pt x="1077" y="625"/>
                </a:lnTo>
                <a:lnTo>
                  <a:pt x="1073" y="630"/>
                </a:lnTo>
                <a:lnTo>
                  <a:pt x="1068" y="634"/>
                </a:lnTo>
                <a:lnTo>
                  <a:pt x="1063" y="637"/>
                </a:lnTo>
                <a:lnTo>
                  <a:pt x="1063" y="637"/>
                </a:lnTo>
                <a:lnTo>
                  <a:pt x="1057" y="640"/>
                </a:lnTo>
                <a:lnTo>
                  <a:pt x="1057" y="640"/>
                </a:lnTo>
                <a:lnTo>
                  <a:pt x="1051" y="641"/>
                </a:lnTo>
                <a:lnTo>
                  <a:pt x="1051" y="641"/>
                </a:lnTo>
                <a:lnTo>
                  <a:pt x="1046" y="644"/>
                </a:lnTo>
                <a:lnTo>
                  <a:pt x="1041" y="647"/>
                </a:lnTo>
                <a:lnTo>
                  <a:pt x="1041" y="647"/>
                </a:lnTo>
                <a:lnTo>
                  <a:pt x="1047" y="638"/>
                </a:lnTo>
                <a:lnTo>
                  <a:pt x="1051" y="632"/>
                </a:lnTo>
                <a:lnTo>
                  <a:pt x="1051" y="632"/>
                </a:lnTo>
                <a:lnTo>
                  <a:pt x="1057" y="627"/>
                </a:lnTo>
                <a:lnTo>
                  <a:pt x="1063" y="622"/>
                </a:lnTo>
                <a:lnTo>
                  <a:pt x="1063" y="622"/>
                </a:lnTo>
                <a:lnTo>
                  <a:pt x="1064" y="621"/>
                </a:lnTo>
                <a:lnTo>
                  <a:pt x="1063" y="621"/>
                </a:lnTo>
                <a:lnTo>
                  <a:pt x="1061" y="620"/>
                </a:lnTo>
                <a:lnTo>
                  <a:pt x="1061" y="618"/>
                </a:lnTo>
                <a:lnTo>
                  <a:pt x="1061" y="618"/>
                </a:lnTo>
                <a:lnTo>
                  <a:pt x="1064" y="617"/>
                </a:lnTo>
                <a:lnTo>
                  <a:pt x="1068" y="615"/>
                </a:lnTo>
                <a:lnTo>
                  <a:pt x="1074" y="608"/>
                </a:lnTo>
                <a:lnTo>
                  <a:pt x="1074" y="608"/>
                </a:lnTo>
                <a:lnTo>
                  <a:pt x="1080" y="600"/>
                </a:lnTo>
                <a:lnTo>
                  <a:pt x="1084" y="590"/>
                </a:lnTo>
                <a:lnTo>
                  <a:pt x="1084" y="590"/>
                </a:lnTo>
                <a:lnTo>
                  <a:pt x="1086" y="591"/>
                </a:lnTo>
                <a:lnTo>
                  <a:pt x="1088" y="593"/>
                </a:lnTo>
                <a:lnTo>
                  <a:pt x="1088" y="593"/>
                </a:lnTo>
                <a:lnTo>
                  <a:pt x="1087" y="588"/>
                </a:lnTo>
                <a:lnTo>
                  <a:pt x="1087" y="585"/>
                </a:lnTo>
                <a:lnTo>
                  <a:pt x="1091" y="580"/>
                </a:lnTo>
                <a:lnTo>
                  <a:pt x="1091" y="580"/>
                </a:lnTo>
                <a:lnTo>
                  <a:pt x="1096" y="575"/>
                </a:lnTo>
                <a:lnTo>
                  <a:pt x="1097" y="574"/>
                </a:lnTo>
                <a:lnTo>
                  <a:pt x="1098" y="571"/>
                </a:lnTo>
                <a:lnTo>
                  <a:pt x="1098" y="571"/>
                </a:lnTo>
                <a:lnTo>
                  <a:pt x="1097" y="571"/>
                </a:lnTo>
                <a:lnTo>
                  <a:pt x="1096" y="571"/>
                </a:lnTo>
                <a:lnTo>
                  <a:pt x="1096" y="571"/>
                </a:lnTo>
                <a:lnTo>
                  <a:pt x="1104" y="563"/>
                </a:lnTo>
                <a:lnTo>
                  <a:pt x="1104" y="563"/>
                </a:lnTo>
                <a:lnTo>
                  <a:pt x="1113" y="553"/>
                </a:lnTo>
                <a:lnTo>
                  <a:pt x="1113" y="553"/>
                </a:lnTo>
                <a:lnTo>
                  <a:pt x="1117" y="541"/>
                </a:lnTo>
                <a:lnTo>
                  <a:pt x="1117" y="541"/>
                </a:lnTo>
                <a:lnTo>
                  <a:pt x="1118" y="535"/>
                </a:lnTo>
                <a:lnTo>
                  <a:pt x="1118" y="535"/>
                </a:lnTo>
                <a:lnTo>
                  <a:pt x="1120" y="530"/>
                </a:lnTo>
                <a:lnTo>
                  <a:pt x="1120" y="530"/>
                </a:lnTo>
                <a:lnTo>
                  <a:pt x="1126" y="533"/>
                </a:lnTo>
                <a:lnTo>
                  <a:pt x="1126" y="533"/>
                </a:lnTo>
                <a:lnTo>
                  <a:pt x="1127" y="520"/>
                </a:lnTo>
                <a:lnTo>
                  <a:pt x="1127" y="520"/>
                </a:lnTo>
                <a:lnTo>
                  <a:pt x="1131" y="507"/>
                </a:lnTo>
                <a:lnTo>
                  <a:pt x="1131" y="507"/>
                </a:lnTo>
                <a:lnTo>
                  <a:pt x="1134" y="500"/>
                </a:lnTo>
                <a:lnTo>
                  <a:pt x="1134" y="500"/>
                </a:lnTo>
                <a:lnTo>
                  <a:pt x="1137" y="494"/>
                </a:lnTo>
                <a:lnTo>
                  <a:pt x="1137" y="494"/>
                </a:lnTo>
                <a:lnTo>
                  <a:pt x="1141" y="488"/>
                </a:lnTo>
                <a:lnTo>
                  <a:pt x="1141" y="488"/>
                </a:lnTo>
                <a:lnTo>
                  <a:pt x="1146" y="483"/>
                </a:lnTo>
                <a:lnTo>
                  <a:pt x="1146" y="483"/>
                </a:lnTo>
                <a:lnTo>
                  <a:pt x="1143" y="481"/>
                </a:lnTo>
                <a:lnTo>
                  <a:pt x="1143" y="478"/>
                </a:lnTo>
                <a:lnTo>
                  <a:pt x="1143" y="478"/>
                </a:lnTo>
                <a:lnTo>
                  <a:pt x="1147" y="471"/>
                </a:lnTo>
                <a:lnTo>
                  <a:pt x="1147" y="471"/>
                </a:lnTo>
                <a:lnTo>
                  <a:pt x="1150" y="464"/>
                </a:lnTo>
                <a:lnTo>
                  <a:pt x="1150" y="464"/>
                </a:lnTo>
                <a:lnTo>
                  <a:pt x="1154" y="448"/>
                </a:lnTo>
                <a:lnTo>
                  <a:pt x="1154" y="448"/>
                </a:lnTo>
                <a:lnTo>
                  <a:pt x="1158" y="433"/>
                </a:lnTo>
                <a:lnTo>
                  <a:pt x="1158" y="433"/>
                </a:lnTo>
                <a:lnTo>
                  <a:pt x="1160" y="417"/>
                </a:lnTo>
                <a:lnTo>
                  <a:pt x="1160" y="417"/>
                </a:lnTo>
                <a:lnTo>
                  <a:pt x="1163" y="384"/>
                </a:lnTo>
                <a:lnTo>
                  <a:pt x="1165" y="370"/>
                </a:lnTo>
                <a:lnTo>
                  <a:pt x="1167" y="356"/>
                </a:lnTo>
                <a:lnTo>
                  <a:pt x="1167" y="356"/>
                </a:lnTo>
                <a:lnTo>
                  <a:pt x="1167" y="357"/>
                </a:lnTo>
                <a:lnTo>
                  <a:pt x="1165" y="358"/>
                </a:lnTo>
                <a:lnTo>
                  <a:pt x="1164" y="358"/>
                </a:lnTo>
                <a:lnTo>
                  <a:pt x="1164" y="358"/>
                </a:lnTo>
                <a:lnTo>
                  <a:pt x="1167" y="351"/>
                </a:lnTo>
                <a:lnTo>
                  <a:pt x="1170" y="346"/>
                </a:lnTo>
                <a:lnTo>
                  <a:pt x="1170" y="346"/>
                </a:lnTo>
                <a:lnTo>
                  <a:pt x="1171" y="340"/>
                </a:lnTo>
                <a:lnTo>
                  <a:pt x="1171" y="340"/>
                </a:lnTo>
                <a:lnTo>
                  <a:pt x="1171" y="334"/>
                </a:lnTo>
                <a:lnTo>
                  <a:pt x="1171" y="334"/>
                </a:lnTo>
                <a:lnTo>
                  <a:pt x="1171" y="321"/>
                </a:lnTo>
                <a:lnTo>
                  <a:pt x="1171" y="321"/>
                </a:lnTo>
                <a:lnTo>
                  <a:pt x="1170" y="310"/>
                </a:lnTo>
                <a:lnTo>
                  <a:pt x="1170" y="310"/>
                </a:lnTo>
                <a:lnTo>
                  <a:pt x="1174" y="307"/>
                </a:lnTo>
                <a:lnTo>
                  <a:pt x="1180" y="306"/>
                </a:lnTo>
                <a:lnTo>
                  <a:pt x="1180" y="306"/>
                </a:lnTo>
                <a:lnTo>
                  <a:pt x="1174" y="306"/>
                </a:lnTo>
                <a:lnTo>
                  <a:pt x="1168" y="307"/>
                </a:lnTo>
                <a:lnTo>
                  <a:pt x="1168" y="307"/>
                </a:lnTo>
                <a:lnTo>
                  <a:pt x="1173" y="301"/>
                </a:lnTo>
                <a:lnTo>
                  <a:pt x="1173" y="301"/>
                </a:lnTo>
                <a:lnTo>
                  <a:pt x="1173" y="294"/>
                </a:lnTo>
                <a:lnTo>
                  <a:pt x="1173" y="294"/>
                </a:lnTo>
                <a:lnTo>
                  <a:pt x="1173" y="289"/>
                </a:lnTo>
                <a:lnTo>
                  <a:pt x="1170" y="283"/>
                </a:lnTo>
                <a:lnTo>
                  <a:pt x="1170" y="283"/>
                </a:lnTo>
                <a:lnTo>
                  <a:pt x="1174" y="281"/>
                </a:lnTo>
                <a:lnTo>
                  <a:pt x="1174" y="281"/>
                </a:lnTo>
                <a:lnTo>
                  <a:pt x="1170" y="277"/>
                </a:lnTo>
                <a:lnTo>
                  <a:pt x="1167" y="273"/>
                </a:lnTo>
                <a:lnTo>
                  <a:pt x="1167" y="269"/>
                </a:lnTo>
                <a:lnTo>
                  <a:pt x="1168" y="264"/>
                </a:lnTo>
                <a:lnTo>
                  <a:pt x="1168" y="264"/>
                </a:lnTo>
                <a:lnTo>
                  <a:pt x="1167" y="264"/>
                </a:lnTo>
                <a:lnTo>
                  <a:pt x="1164" y="266"/>
                </a:lnTo>
                <a:lnTo>
                  <a:pt x="1164" y="266"/>
                </a:lnTo>
                <a:lnTo>
                  <a:pt x="1163" y="260"/>
                </a:lnTo>
                <a:lnTo>
                  <a:pt x="1163" y="257"/>
                </a:lnTo>
                <a:lnTo>
                  <a:pt x="1165" y="256"/>
                </a:lnTo>
                <a:lnTo>
                  <a:pt x="1165" y="256"/>
                </a:lnTo>
                <a:lnTo>
                  <a:pt x="1164" y="254"/>
                </a:lnTo>
                <a:lnTo>
                  <a:pt x="1164" y="251"/>
                </a:lnTo>
                <a:lnTo>
                  <a:pt x="1165" y="250"/>
                </a:lnTo>
                <a:lnTo>
                  <a:pt x="1168" y="247"/>
                </a:lnTo>
                <a:lnTo>
                  <a:pt x="1168" y="247"/>
                </a:lnTo>
                <a:lnTo>
                  <a:pt x="1167" y="247"/>
                </a:lnTo>
                <a:lnTo>
                  <a:pt x="1164" y="247"/>
                </a:lnTo>
                <a:lnTo>
                  <a:pt x="1161" y="247"/>
                </a:lnTo>
                <a:lnTo>
                  <a:pt x="1160" y="247"/>
                </a:lnTo>
                <a:lnTo>
                  <a:pt x="1160" y="247"/>
                </a:lnTo>
                <a:lnTo>
                  <a:pt x="1158" y="234"/>
                </a:lnTo>
                <a:lnTo>
                  <a:pt x="1155" y="220"/>
                </a:lnTo>
                <a:lnTo>
                  <a:pt x="1155" y="220"/>
                </a:lnTo>
                <a:lnTo>
                  <a:pt x="1154" y="213"/>
                </a:lnTo>
                <a:lnTo>
                  <a:pt x="1154" y="210"/>
                </a:lnTo>
                <a:lnTo>
                  <a:pt x="1154" y="210"/>
                </a:lnTo>
                <a:lnTo>
                  <a:pt x="1154" y="209"/>
                </a:lnTo>
                <a:lnTo>
                  <a:pt x="1154" y="209"/>
                </a:lnTo>
                <a:lnTo>
                  <a:pt x="1153" y="204"/>
                </a:lnTo>
                <a:lnTo>
                  <a:pt x="1153" y="204"/>
                </a:lnTo>
                <a:lnTo>
                  <a:pt x="1150" y="197"/>
                </a:lnTo>
                <a:lnTo>
                  <a:pt x="1148" y="193"/>
                </a:lnTo>
                <a:lnTo>
                  <a:pt x="1148" y="191"/>
                </a:lnTo>
                <a:lnTo>
                  <a:pt x="1148" y="191"/>
                </a:lnTo>
                <a:lnTo>
                  <a:pt x="1147" y="191"/>
                </a:lnTo>
                <a:lnTo>
                  <a:pt x="1147" y="191"/>
                </a:lnTo>
                <a:lnTo>
                  <a:pt x="1147" y="191"/>
                </a:lnTo>
                <a:lnTo>
                  <a:pt x="1147" y="190"/>
                </a:lnTo>
                <a:lnTo>
                  <a:pt x="1147" y="190"/>
                </a:lnTo>
                <a:lnTo>
                  <a:pt x="1148" y="191"/>
                </a:lnTo>
                <a:lnTo>
                  <a:pt x="1147" y="190"/>
                </a:lnTo>
                <a:lnTo>
                  <a:pt x="1147" y="190"/>
                </a:lnTo>
                <a:lnTo>
                  <a:pt x="1141" y="174"/>
                </a:lnTo>
                <a:lnTo>
                  <a:pt x="1134" y="160"/>
                </a:lnTo>
                <a:lnTo>
                  <a:pt x="1126" y="147"/>
                </a:lnTo>
                <a:lnTo>
                  <a:pt x="1117" y="136"/>
                </a:lnTo>
                <a:lnTo>
                  <a:pt x="1120" y="140"/>
                </a:lnTo>
                <a:lnTo>
                  <a:pt x="1120" y="140"/>
                </a:lnTo>
                <a:lnTo>
                  <a:pt x="1123" y="146"/>
                </a:lnTo>
                <a:lnTo>
                  <a:pt x="1123" y="146"/>
                </a:lnTo>
                <a:lnTo>
                  <a:pt x="1127" y="156"/>
                </a:lnTo>
                <a:lnTo>
                  <a:pt x="1127" y="156"/>
                </a:lnTo>
                <a:lnTo>
                  <a:pt x="1136" y="179"/>
                </a:lnTo>
                <a:lnTo>
                  <a:pt x="1136" y="179"/>
                </a:lnTo>
                <a:lnTo>
                  <a:pt x="1140" y="189"/>
                </a:lnTo>
                <a:lnTo>
                  <a:pt x="1143" y="194"/>
                </a:lnTo>
                <a:lnTo>
                  <a:pt x="1143" y="194"/>
                </a:lnTo>
                <a:lnTo>
                  <a:pt x="1144" y="200"/>
                </a:lnTo>
                <a:lnTo>
                  <a:pt x="1144" y="200"/>
                </a:lnTo>
                <a:lnTo>
                  <a:pt x="1150" y="211"/>
                </a:lnTo>
                <a:lnTo>
                  <a:pt x="1150" y="211"/>
                </a:lnTo>
                <a:lnTo>
                  <a:pt x="1154" y="223"/>
                </a:lnTo>
                <a:lnTo>
                  <a:pt x="1154" y="223"/>
                </a:lnTo>
                <a:lnTo>
                  <a:pt x="1153" y="224"/>
                </a:lnTo>
                <a:lnTo>
                  <a:pt x="1154" y="226"/>
                </a:lnTo>
                <a:lnTo>
                  <a:pt x="1154" y="227"/>
                </a:lnTo>
                <a:lnTo>
                  <a:pt x="1151" y="229"/>
                </a:lnTo>
                <a:lnTo>
                  <a:pt x="1151" y="229"/>
                </a:lnTo>
                <a:lnTo>
                  <a:pt x="1154" y="234"/>
                </a:lnTo>
                <a:lnTo>
                  <a:pt x="1154" y="234"/>
                </a:lnTo>
                <a:lnTo>
                  <a:pt x="1155" y="241"/>
                </a:lnTo>
                <a:lnTo>
                  <a:pt x="1155" y="241"/>
                </a:lnTo>
                <a:lnTo>
                  <a:pt x="1157" y="249"/>
                </a:lnTo>
                <a:lnTo>
                  <a:pt x="1157" y="249"/>
                </a:lnTo>
                <a:lnTo>
                  <a:pt x="1157" y="256"/>
                </a:lnTo>
                <a:lnTo>
                  <a:pt x="1157" y="256"/>
                </a:lnTo>
                <a:lnTo>
                  <a:pt x="1157" y="271"/>
                </a:lnTo>
                <a:lnTo>
                  <a:pt x="1158" y="277"/>
                </a:lnTo>
                <a:lnTo>
                  <a:pt x="1161" y="284"/>
                </a:lnTo>
                <a:lnTo>
                  <a:pt x="1161" y="284"/>
                </a:lnTo>
                <a:lnTo>
                  <a:pt x="1158" y="284"/>
                </a:lnTo>
                <a:lnTo>
                  <a:pt x="1157" y="286"/>
                </a:lnTo>
                <a:lnTo>
                  <a:pt x="1157" y="286"/>
                </a:lnTo>
                <a:lnTo>
                  <a:pt x="1161" y="286"/>
                </a:lnTo>
                <a:lnTo>
                  <a:pt x="1163" y="286"/>
                </a:lnTo>
                <a:lnTo>
                  <a:pt x="1165" y="289"/>
                </a:lnTo>
                <a:lnTo>
                  <a:pt x="1165" y="289"/>
                </a:lnTo>
                <a:lnTo>
                  <a:pt x="1164" y="290"/>
                </a:lnTo>
                <a:lnTo>
                  <a:pt x="1163" y="291"/>
                </a:lnTo>
                <a:lnTo>
                  <a:pt x="1163" y="294"/>
                </a:lnTo>
                <a:lnTo>
                  <a:pt x="1161" y="297"/>
                </a:lnTo>
                <a:lnTo>
                  <a:pt x="1161" y="300"/>
                </a:lnTo>
                <a:lnTo>
                  <a:pt x="1158" y="301"/>
                </a:lnTo>
                <a:lnTo>
                  <a:pt x="1158" y="301"/>
                </a:lnTo>
                <a:lnTo>
                  <a:pt x="1161" y="303"/>
                </a:lnTo>
                <a:lnTo>
                  <a:pt x="1161" y="304"/>
                </a:lnTo>
                <a:lnTo>
                  <a:pt x="1161" y="308"/>
                </a:lnTo>
                <a:lnTo>
                  <a:pt x="1161" y="308"/>
                </a:lnTo>
                <a:lnTo>
                  <a:pt x="1157" y="316"/>
                </a:lnTo>
                <a:lnTo>
                  <a:pt x="1157" y="316"/>
                </a:lnTo>
                <a:lnTo>
                  <a:pt x="1161" y="317"/>
                </a:lnTo>
                <a:lnTo>
                  <a:pt x="1163" y="317"/>
                </a:lnTo>
                <a:lnTo>
                  <a:pt x="1164" y="318"/>
                </a:lnTo>
                <a:lnTo>
                  <a:pt x="1164" y="318"/>
                </a:lnTo>
                <a:lnTo>
                  <a:pt x="1161" y="320"/>
                </a:lnTo>
                <a:lnTo>
                  <a:pt x="1161" y="321"/>
                </a:lnTo>
                <a:lnTo>
                  <a:pt x="1161" y="321"/>
                </a:lnTo>
                <a:lnTo>
                  <a:pt x="1161" y="323"/>
                </a:lnTo>
                <a:lnTo>
                  <a:pt x="1160" y="324"/>
                </a:lnTo>
                <a:lnTo>
                  <a:pt x="1160" y="324"/>
                </a:lnTo>
                <a:lnTo>
                  <a:pt x="1163" y="327"/>
                </a:lnTo>
                <a:lnTo>
                  <a:pt x="1164" y="330"/>
                </a:lnTo>
                <a:lnTo>
                  <a:pt x="1163" y="333"/>
                </a:lnTo>
                <a:lnTo>
                  <a:pt x="1164" y="337"/>
                </a:lnTo>
                <a:lnTo>
                  <a:pt x="1164" y="337"/>
                </a:lnTo>
                <a:lnTo>
                  <a:pt x="1158" y="338"/>
                </a:lnTo>
                <a:lnTo>
                  <a:pt x="1158" y="340"/>
                </a:lnTo>
                <a:lnTo>
                  <a:pt x="1158" y="347"/>
                </a:lnTo>
                <a:lnTo>
                  <a:pt x="1158" y="347"/>
                </a:lnTo>
                <a:lnTo>
                  <a:pt x="1160" y="348"/>
                </a:lnTo>
                <a:lnTo>
                  <a:pt x="1161" y="348"/>
                </a:lnTo>
                <a:lnTo>
                  <a:pt x="1163" y="348"/>
                </a:lnTo>
                <a:lnTo>
                  <a:pt x="1163" y="348"/>
                </a:lnTo>
                <a:lnTo>
                  <a:pt x="1163" y="348"/>
                </a:lnTo>
                <a:lnTo>
                  <a:pt x="1161" y="357"/>
                </a:lnTo>
                <a:lnTo>
                  <a:pt x="1161" y="357"/>
                </a:lnTo>
                <a:lnTo>
                  <a:pt x="1160" y="366"/>
                </a:lnTo>
                <a:lnTo>
                  <a:pt x="1160" y="366"/>
                </a:lnTo>
                <a:lnTo>
                  <a:pt x="1158" y="374"/>
                </a:lnTo>
                <a:lnTo>
                  <a:pt x="1158" y="374"/>
                </a:lnTo>
                <a:lnTo>
                  <a:pt x="1157" y="383"/>
                </a:lnTo>
                <a:lnTo>
                  <a:pt x="1157" y="383"/>
                </a:lnTo>
                <a:lnTo>
                  <a:pt x="1155" y="391"/>
                </a:lnTo>
                <a:lnTo>
                  <a:pt x="1155" y="391"/>
                </a:lnTo>
                <a:lnTo>
                  <a:pt x="1153" y="400"/>
                </a:lnTo>
                <a:lnTo>
                  <a:pt x="1153" y="400"/>
                </a:lnTo>
                <a:lnTo>
                  <a:pt x="1150" y="408"/>
                </a:lnTo>
                <a:lnTo>
                  <a:pt x="1150" y="408"/>
                </a:lnTo>
                <a:lnTo>
                  <a:pt x="1146" y="417"/>
                </a:lnTo>
                <a:lnTo>
                  <a:pt x="1146" y="417"/>
                </a:lnTo>
                <a:lnTo>
                  <a:pt x="1146" y="416"/>
                </a:lnTo>
                <a:lnTo>
                  <a:pt x="1144" y="416"/>
                </a:lnTo>
                <a:lnTo>
                  <a:pt x="1144" y="416"/>
                </a:lnTo>
                <a:lnTo>
                  <a:pt x="1144" y="417"/>
                </a:lnTo>
                <a:lnTo>
                  <a:pt x="1146" y="417"/>
                </a:lnTo>
                <a:lnTo>
                  <a:pt x="1147" y="418"/>
                </a:lnTo>
                <a:lnTo>
                  <a:pt x="1147" y="420"/>
                </a:lnTo>
                <a:lnTo>
                  <a:pt x="1147" y="420"/>
                </a:lnTo>
                <a:lnTo>
                  <a:pt x="1143" y="420"/>
                </a:lnTo>
                <a:lnTo>
                  <a:pt x="1140" y="418"/>
                </a:lnTo>
                <a:lnTo>
                  <a:pt x="1140" y="418"/>
                </a:lnTo>
                <a:lnTo>
                  <a:pt x="1141" y="423"/>
                </a:lnTo>
                <a:lnTo>
                  <a:pt x="1140" y="426"/>
                </a:lnTo>
                <a:lnTo>
                  <a:pt x="1140" y="426"/>
                </a:lnTo>
                <a:lnTo>
                  <a:pt x="1136" y="431"/>
                </a:lnTo>
                <a:lnTo>
                  <a:pt x="1136" y="431"/>
                </a:lnTo>
                <a:lnTo>
                  <a:pt x="1137" y="433"/>
                </a:lnTo>
                <a:lnTo>
                  <a:pt x="1138" y="433"/>
                </a:lnTo>
                <a:lnTo>
                  <a:pt x="1141" y="433"/>
                </a:lnTo>
                <a:lnTo>
                  <a:pt x="1141" y="433"/>
                </a:lnTo>
                <a:lnTo>
                  <a:pt x="1141" y="433"/>
                </a:lnTo>
                <a:lnTo>
                  <a:pt x="1141" y="434"/>
                </a:lnTo>
                <a:lnTo>
                  <a:pt x="1143" y="436"/>
                </a:lnTo>
                <a:lnTo>
                  <a:pt x="1141" y="437"/>
                </a:lnTo>
                <a:lnTo>
                  <a:pt x="1141" y="437"/>
                </a:lnTo>
                <a:lnTo>
                  <a:pt x="1140" y="436"/>
                </a:lnTo>
                <a:lnTo>
                  <a:pt x="1140" y="436"/>
                </a:lnTo>
                <a:lnTo>
                  <a:pt x="1138" y="434"/>
                </a:lnTo>
                <a:lnTo>
                  <a:pt x="1136" y="433"/>
                </a:lnTo>
                <a:lnTo>
                  <a:pt x="1136" y="433"/>
                </a:lnTo>
                <a:lnTo>
                  <a:pt x="1136" y="436"/>
                </a:lnTo>
                <a:lnTo>
                  <a:pt x="1137" y="437"/>
                </a:lnTo>
                <a:lnTo>
                  <a:pt x="1138" y="438"/>
                </a:lnTo>
                <a:lnTo>
                  <a:pt x="1137" y="441"/>
                </a:lnTo>
                <a:lnTo>
                  <a:pt x="1137" y="441"/>
                </a:lnTo>
                <a:lnTo>
                  <a:pt x="1134" y="440"/>
                </a:lnTo>
                <a:lnTo>
                  <a:pt x="1133" y="441"/>
                </a:lnTo>
                <a:lnTo>
                  <a:pt x="1131" y="444"/>
                </a:lnTo>
                <a:lnTo>
                  <a:pt x="1128" y="446"/>
                </a:lnTo>
                <a:lnTo>
                  <a:pt x="1128" y="446"/>
                </a:lnTo>
                <a:lnTo>
                  <a:pt x="1133" y="448"/>
                </a:lnTo>
                <a:lnTo>
                  <a:pt x="1137" y="451"/>
                </a:lnTo>
                <a:lnTo>
                  <a:pt x="1137" y="451"/>
                </a:lnTo>
                <a:lnTo>
                  <a:pt x="1134" y="453"/>
                </a:lnTo>
                <a:lnTo>
                  <a:pt x="1134" y="454"/>
                </a:lnTo>
                <a:lnTo>
                  <a:pt x="1137" y="457"/>
                </a:lnTo>
                <a:lnTo>
                  <a:pt x="1137" y="457"/>
                </a:lnTo>
                <a:lnTo>
                  <a:pt x="1133" y="454"/>
                </a:lnTo>
                <a:lnTo>
                  <a:pt x="1133" y="454"/>
                </a:lnTo>
                <a:lnTo>
                  <a:pt x="1133" y="461"/>
                </a:lnTo>
                <a:lnTo>
                  <a:pt x="1133" y="461"/>
                </a:lnTo>
                <a:lnTo>
                  <a:pt x="1133" y="464"/>
                </a:lnTo>
                <a:lnTo>
                  <a:pt x="1131" y="464"/>
                </a:lnTo>
                <a:lnTo>
                  <a:pt x="1128" y="464"/>
                </a:lnTo>
                <a:lnTo>
                  <a:pt x="1128" y="464"/>
                </a:lnTo>
                <a:lnTo>
                  <a:pt x="1130" y="461"/>
                </a:lnTo>
                <a:lnTo>
                  <a:pt x="1128" y="457"/>
                </a:lnTo>
                <a:lnTo>
                  <a:pt x="1128" y="457"/>
                </a:lnTo>
                <a:lnTo>
                  <a:pt x="1130" y="454"/>
                </a:lnTo>
                <a:lnTo>
                  <a:pt x="1131" y="453"/>
                </a:lnTo>
                <a:lnTo>
                  <a:pt x="1133" y="453"/>
                </a:lnTo>
                <a:lnTo>
                  <a:pt x="1133" y="453"/>
                </a:lnTo>
                <a:lnTo>
                  <a:pt x="1130" y="451"/>
                </a:lnTo>
                <a:lnTo>
                  <a:pt x="1127" y="453"/>
                </a:lnTo>
                <a:lnTo>
                  <a:pt x="1127" y="453"/>
                </a:lnTo>
                <a:lnTo>
                  <a:pt x="1126" y="458"/>
                </a:lnTo>
                <a:lnTo>
                  <a:pt x="1126" y="458"/>
                </a:lnTo>
                <a:lnTo>
                  <a:pt x="1123" y="465"/>
                </a:lnTo>
                <a:lnTo>
                  <a:pt x="1120" y="467"/>
                </a:lnTo>
                <a:lnTo>
                  <a:pt x="1117" y="467"/>
                </a:lnTo>
                <a:lnTo>
                  <a:pt x="1117" y="467"/>
                </a:lnTo>
                <a:lnTo>
                  <a:pt x="1121" y="454"/>
                </a:lnTo>
                <a:lnTo>
                  <a:pt x="1121" y="454"/>
                </a:lnTo>
                <a:lnTo>
                  <a:pt x="1126" y="443"/>
                </a:lnTo>
                <a:lnTo>
                  <a:pt x="1126" y="443"/>
                </a:lnTo>
                <a:lnTo>
                  <a:pt x="1131" y="430"/>
                </a:lnTo>
                <a:lnTo>
                  <a:pt x="1131" y="430"/>
                </a:lnTo>
                <a:lnTo>
                  <a:pt x="1134" y="423"/>
                </a:lnTo>
                <a:lnTo>
                  <a:pt x="1134" y="423"/>
                </a:lnTo>
                <a:lnTo>
                  <a:pt x="1136" y="417"/>
                </a:lnTo>
                <a:lnTo>
                  <a:pt x="1136" y="417"/>
                </a:lnTo>
                <a:lnTo>
                  <a:pt x="1133" y="416"/>
                </a:lnTo>
                <a:lnTo>
                  <a:pt x="1131" y="416"/>
                </a:lnTo>
                <a:lnTo>
                  <a:pt x="1131" y="416"/>
                </a:lnTo>
                <a:lnTo>
                  <a:pt x="1133" y="411"/>
                </a:lnTo>
                <a:lnTo>
                  <a:pt x="1133" y="411"/>
                </a:lnTo>
                <a:lnTo>
                  <a:pt x="1134" y="410"/>
                </a:lnTo>
                <a:lnTo>
                  <a:pt x="1134" y="410"/>
                </a:lnTo>
                <a:lnTo>
                  <a:pt x="1136" y="411"/>
                </a:lnTo>
                <a:lnTo>
                  <a:pt x="1134" y="413"/>
                </a:lnTo>
                <a:lnTo>
                  <a:pt x="1134" y="414"/>
                </a:lnTo>
                <a:lnTo>
                  <a:pt x="1137" y="414"/>
                </a:lnTo>
                <a:lnTo>
                  <a:pt x="1137" y="414"/>
                </a:lnTo>
                <a:lnTo>
                  <a:pt x="1138" y="407"/>
                </a:lnTo>
                <a:lnTo>
                  <a:pt x="1138" y="407"/>
                </a:lnTo>
                <a:lnTo>
                  <a:pt x="1138" y="400"/>
                </a:lnTo>
                <a:lnTo>
                  <a:pt x="1138" y="400"/>
                </a:lnTo>
                <a:lnTo>
                  <a:pt x="1137" y="401"/>
                </a:lnTo>
                <a:lnTo>
                  <a:pt x="1136" y="403"/>
                </a:lnTo>
                <a:lnTo>
                  <a:pt x="1133" y="403"/>
                </a:lnTo>
                <a:lnTo>
                  <a:pt x="1130" y="400"/>
                </a:lnTo>
                <a:lnTo>
                  <a:pt x="1130" y="400"/>
                </a:lnTo>
                <a:lnTo>
                  <a:pt x="1134" y="396"/>
                </a:lnTo>
                <a:lnTo>
                  <a:pt x="1136" y="390"/>
                </a:lnTo>
                <a:lnTo>
                  <a:pt x="1136" y="390"/>
                </a:lnTo>
                <a:lnTo>
                  <a:pt x="1138" y="377"/>
                </a:lnTo>
                <a:lnTo>
                  <a:pt x="1138" y="377"/>
                </a:lnTo>
                <a:lnTo>
                  <a:pt x="1140" y="371"/>
                </a:lnTo>
                <a:lnTo>
                  <a:pt x="1140" y="371"/>
                </a:lnTo>
                <a:lnTo>
                  <a:pt x="1140" y="366"/>
                </a:lnTo>
                <a:lnTo>
                  <a:pt x="1140" y="366"/>
                </a:lnTo>
                <a:lnTo>
                  <a:pt x="1141" y="354"/>
                </a:lnTo>
                <a:lnTo>
                  <a:pt x="1141" y="354"/>
                </a:lnTo>
                <a:lnTo>
                  <a:pt x="1146" y="324"/>
                </a:lnTo>
                <a:lnTo>
                  <a:pt x="1147" y="310"/>
                </a:lnTo>
                <a:lnTo>
                  <a:pt x="1148" y="293"/>
                </a:lnTo>
                <a:lnTo>
                  <a:pt x="1151" y="293"/>
                </a:lnTo>
                <a:lnTo>
                  <a:pt x="1151" y="293"/>
                </a:lnTo>
                <a:lnTo>
                  <a:pt x="1150" y="290"/>
                </a:lnTo>
                <a:lnTo>
                  <a:pt x="1148" y="287"/>
                </a:lnTo>
                <a:lnTo>
                  <a:pt x="1148" y="281"/>
                </a:lnTo>
                <a:lnTo>
                  <a:pt x="1148" y="281"/>
                </a:lnTo>
                <a:lnTo>
                  <a:pt x="1148" y="276"/>
                </a:lnTo>
                <a:lnTo>
                  <a:pt x="1147" y="274"/>
                </a:lnTo>
                <a:lnTo>
                  <a:pt x="1144" y="271"/>
                </a:lnTo>
                <a:lnTo>
                  <a:pt x="1144" y="271"/>
                </a:lnTo>
                <a:lnTo>
                  <a:pt x="1147" y="269"/>
                </a:lnTo>
                <a:lnTo>
                  <a:pt x="1147" y="269"/>
                </a:lnTo>
                <a:lnTo>
                  <a:pt x="1148" y="267"/>
                </a:lnTo>
                <a:lnTo>
                  <a:pt x="1151" y="266"/>
                </a:lnTo>
                <a:lnTo>
                  <a:pt x="1151" y="266"/>
                </a:lnTo>
                <a:lnTo>
                  <a:pt x="1151" y="263"/>
                </a:lnTo>
                <a:lnTo>
                  <a:pt x="1150" y="261"/>
                </a:lnTo>
                <a:lnTo>
                  <a:pt x="1148" y="260"/>
                </a:lnTo>
                <a:lnTo>
                  <a:pt x="1148" y="260"/>
                </a:lnTo>
                <a:lnTo>
                  <a:pt x="1148" y="263"/>
                </a:lnTo>
                <a:lnTo>
                  <a:pt x="1148" y="266"/>
                </a:lnTo>
                <a:lnTo>
                  <a:pt x="1146" y="267"/>
                </a:lnTo>
                <a:lnTo>
                  <a:pt x="1141" y="267"/>
                </a:lnTo>
                <a:lnTo>
                  <a:pt x="1141" y="267"/>
                </a:lnTo>
                <a:lnTo>
                  <a:pt x="1140" y="257"/>
                </a:lnTo>
                <a:lnTo>
                  <a:pt x="1140" y="244"/>
                </a:lnTo>
                <a:lnTo>
                  <a:pt x="1140" y="244"/>
                </a:lnTo>
                <a:lnTo>
                  <a:pt x="1138" y="241"/>
                </a:lnTo>
                <a:lnTo>
                  <a:pt x="1136" y="239"/>
                </a:lnTo>
                <a:lnTo>
                  <a:pt x="1136" y="239"/>
                </a:lnTo>
                <a:lnTo>
                  <a:pt x="1136" y="234"/>
                </a:lnTo>
                <a:lnTo>
                  <a:pt x="1136" y="234"/>
                </a:lnTo>
                <a:lnTo>
                  <a:pt x="1134" y="231"/>
                </a:lnTo>
                <a:lnTo>
                  <a:pt x="1134" y="231"/>
                </a:lnTo>
                <a:lnTo>
                  <a:pt x="1131" y="224"/>
                </a:lnTo>
                <a:lnTo>
                  <a:pt x="1130" y="223"/>
                </a:lnTo>
                <a:lnTo>
                  <a:pt x="1127" y="220"/>
                </a:lnTo>
                <a:lnTo>
                  <a:pt x="1127" y="220"/>
                </a:lnTo>
                <a:lnTo>
                  <a:pt x="1127" y="223"/>
                </a:lnTo>
                <a:lnTo>
                  <a:pt x="1127" y="224"/>
                </a:lnTo>
                <a:lnTo>
                  <a:pt x="1130" y="230"/>
                </a:lnTo>
                <a:lnTo>
                  <a:pt x="1130" y="230"/>
                </a:lnTo>
                <a:lnTo>
                  <a:pt x="1130" y="231"/>
                </a:lnTo>
                <a:lnTo>
                  <a:pt x="1128" y="234"/>
                </a:lnTo>
                <a:lnTo>
                  <a:pt x="1127" y="236"/>
                </a:lnTo>
                <a:lnTo>
                  <a:pt x="1123" y="237"/>
                </a:lnTo>
                <a:lnTo>
                  <a:pt x="1123" y="237"/>
                </a:lnTo>
                <a:lnTo>
                  <a:pt x="1123" y="236"/>
                </a:lnTo>
                <a:lnTo>
                  <a:pt x="1123" y="234"/>
                </a:lnTo>
                <a:lnTo>
                  <a:pt x="1120" y="231"/>
                </a:lnTo>
                <a:lnTo>
                  <a:pt x="1120" y="231"/>
                </a:lnTo>
                <a:lnTo>
                  <a:pt x="1117" y="229"/>
                </a:lnTo>
                <a:lnTo>
                  <a:pt x="1117" y="227"/>
                </a:lnTo>
                <a:lnTo>
                  <a:pt x="1117" y="226"/>
                </a:lnTo>
                <a:lnTo>
                  <a:pt x="1117" y="226"/>
                </a:lnTo>
                <a:lnTo>
                  <a:pt x="1114" y="226"/>
                </a:lnTo>
                <a:lnTo>
                  <a:pt x="1113" y="226"/>
                </a:lnTo>
                <a:lnTo>
                  <a:pt x="1113" y="226"/>
                </a:lnTo>
                <a:lnTo>
                  <a:pt x="1113" y="224"/>
                </a:lnTo>
                <a:lnTo>
                  <a:pt x="1113" y="224"/>
                </a:lnTo>
                <a:lnTo>
                  <a:pt x="1113" y="221"/>
                </a:lnTo>
                <a:lnTo>
                  <a:pt x="1113" y="221"/>
                </a:lnTo>
                <a:lnTo>
                  <a:pt x="1108" y="220"/>
                </a:lnTo>
                <a:lnTo>
                  <a:pt x="1106" y="219"/>
                </a:lnTo>
                <a:lnTo>
                  <a:pt x="1104" y="214"/>
                </a:lnTo>
                <a:lnTo>
                  <a:pt x="1103" y="211"/>
                </a:lnTo>
                <a:lnTo>
                  <a:pt x="1103" y="211"/>
                </a:lnTo>
                <a:lnTo>
                  <a:pt x="1103" y="207"/>
                </a:lnTo>
                <a:lnTo>
                  <a:pt x="1103" y="206"/>
                </a:lnTo>
                <a:lnTo>
                  <a:pt x="1101" y="206"/>
                </a:lnTo>
                <a:lnTo>
                  <a:pt x="1101" y="206"/>
                </a:lnTo>
                <a:lnTo>
                  <a:pt x="1101" y="206"/>
                </a:lnTo>
                <a:lnTo>
                  <a:pt x="1101" y="206"/>
                </a:lnTo>
                <a:lnTo>
                  <a:pt x="1101" y="206"/>
                </a:lnTo>
                <a:lnTo>
                  <a:pt x="1103" y="207"/>
                </a:lnTo>
                <a:lnTo>
                  <a:pt x="1103" y="207"/>
                </a:lnTo>
                <a:lnTo>
                  <a:pt x="1103" y="207"/>
                </a:lnTo>
                <a:lnTo>
                  <a:pt x="1101" y="206"/>
                </a:lnTo>
                <a:lnTo>
                  <a:pt x="1101" y="206"/>
                </a:lnTo>
                <a:lnTo>
                  <a:pt x="1100" y="203"/>
                </a:lnTo>
                <a:lnTo>
                  <a:pt x="1097" y="201"/>
                </a:lnTo>
                <a:lnTo>
                  <a:pt x="1097" y="201"/>
                </a:lnTo>
                <a:lnTo>
                  <a:pt x="1100" y="197"/>
                </a:lnTo>
                <a:lnTo>
                  <a:pt x="1101" y="191"/>
                </a:lnTo>
                <a:lnTo>
                  <a:pt x="1101" y="191"/>
                </a:lnTo>
                <a:lnTo>
                  <a:pt x="1098" y="193"/>
                </a:lnTo>
                <a:lnTo>
                  <a:pt x="1098" y="194"/>
                </a:lnTo>
                <a:lnTo>
                  <a:pt x="1098" y="194"/>
                </a:lnTo>
                <a:lnTo>
                  <a:pt x="1096" y="194"/>
                </a:lnTo>
                <a:lnTo>
                  <a:pt x="1096" y="194"/>
                </a:lnTo>
                <a:lnTo>
                  <a:pt x="1097" y="197"/>
                </a:lnTo>
                <a:lnTo>
                  <a:pt x="1097" y="199"/>
                </a:lnTo>
                <a:lnTo>
                  <a:pt x="1096" y="200"/>
                </a:lnTo>
                <a:lnTo>
                  <a:pt x="1096" y="200"/>
                </a:lnTo>
                <a:lnTo>
                  <a:pt x="1090" y="190"/>
                </a:lnTo>
                <a:lnTo>
                  <a:pt x="1083" y="180"/>
                </a:lnTo>
                <a:lnTo>
                  <a:pt x="1083" y="180"/>
                </a:lnTo>
                <a:lnTo>
                  <a:pt x="1076" y="173"/>
                </a:lnTo>
                <a:lnTo>
                  <a:pt x="1076" y="173"/>
                </a:lnTo>
                <a:lnTo>
                  <a:pt x="1070" y="164"/>
                </a:lnTo>
                <a:lnTo>
                  <a:pt x="1070" y="164"/>
                </a:lnTo>
                <a:lnTo>
                  <a:pt x="1066" y="166"/>
                </a:lnTo>
                <a:lnTo>
                  <a:pt x="1063" y="166"/>
                </a:lnTo>
                <a:lnTo>
                  <a:pt x="1061" y="166"/>
                </a:lnTo>
                <a:lnTo>
                  <a:pt x="1061" y="164"/>
                </a:lnTo>
                <a:lnTo>
                  <a:pt x="1061" y="164"/>
                </a:lnTo>
                <a:lnTo>
                  <a:pt x="1060" y="160"/>
                </a:lnTo>
                <a:lnTo>
                  <a:pt x="1060" y="159"/>
                </a:lnTo>
                <a:lnTo>
                  <a:pt x="1059" y="157"/>
                </a:lnTo>
                <a:lnTo>
                  <a:pt x="1059" y="157"/>
                </a:lnTo>
                <a:lnTo>
                  <a:pt x="1057" y="160"/>
                </a:lnTo>
                <a:lnTo>
                  <a:pt x="1056" y="160"/>
                </a:lnTo>
                <a:lnTo>
                  <a:pt x="1054" y="157"/>
                </a:lnTo>
                <a:lnTo>
                  <a:pt x="1054" y="157"/>
                </a:lnTo>
                <a:lnTo>
                  <a:pt x="1051" y="151"/>
                </a:lnTo>
                <a:lnTo>
                  <a:pt x="1051" y="151"/>
                </a:lnTo>
                <a:lnTo>
                  <a:pt x="1049" y="147"/>
                </a:lnTo>
                <a:lnTo>
                  <a:pt x="1044" y="144"/>
                </a:lnTo>
                <a:lnTo>
                  <a:pt x="1036" y="142"/>
                </a:lnTo>
                <a:lnTo>
                  <a:pt x="1036" y="142"/>
                </a:lnTo>
                <a:lnTo>
                  <a:pt x="1034" y="143"/>
                </a:lnTo>
                <a:lnTo>
                  <a:pt x="1034" y="144"/>
                </a:lnTo>
                <a:lnTo>
                  <a:pt x="1037" y="147"/>
                </a:lnTo>
                <a:lnTo>
                  <a:pt x="1037" y="147"/>
                </a:lnTo>
                <a:lnTo>
                  <a:pt x="1040" y="149"/>
                </a:lnTo>
                <a:lnTo>
                  <a:pt x="1041" y="150"/>
                </a:lnTo>
                <a:lnTo>
                  <a:pt x="1041" y="151"/>
                </a:lnTo>
                <a:lnTo>
                  <a:pt x="1041" y="151"/>
                </a:lnTo>
                <a:lnTo>
                  <a:pt x="1036" y="153"/>
                </a:lnTo>
                <a:lnTo>
                  <a:pt x="1033" y="154"/>
                </a:lnTo>
                <a:lnTo>
                  <a:pt x="1033" y="154"/>
                </a:lnTo>
                <a:lnTo>
                  <a:pt x="1033" y="153"/>
                </a:lnTo>
                <a:lnTo>
                  <a:pt x="1031" y="151"/>
                </a:lnTo>
                <a:lnTo>
                  <a:pt x="1030" y="151"/>
                </a:lnTo>
                <a:lnTo>
                  <a:pt x="1027" y="153"/>
                </a:lnTo>
                <a:lnTo>
                  <a:pt x="1027" y="153"/>
                </a:lnTo>
                <a:lnTo>
                  <a:pt x="1029" y="154"/>
                </a:lnTo>
                <a:lnTo>
                  <a:pt x="1030" y="157"/>
                </a:lnTo>
                <a:lnTo>
                  <a:pt x="1030" y="157"/>
                </a:lnTo>
                <a:lnTo>
                  <a:pt x="1029" y="163"/>
                </a:lnTo>
                <a:lnTo>
                  <a:pt x="1029" y="163"/>
                </a:lnTo>
                <a:lnTo>
                  <a:pt x="1019" y="161"/>
                </a:lnTo>
                <a:lnTo>
                  <a:pt x="1019" y="161"/>
                </a:lnTo>
                <a:lnTo>
                  <a:pt x="1017" y="160"/>
                </a:lnTo>
                <a:lnTo>
                  <a:pt x="1016" y="159"/>
                </a:lnTo>
                <a:lnTo>
                  <a:pt x="1016" y="157"/>
                </a:lnTo>
                <a:lnTo>
                  <a:pt x="1017" y="154"/>
                </a:lnTo>
                <a:lnTo>
                  <a:pt x="1017" y="154"/>
                </a:lnTo>
                <a:lnTo>
                  <a:pt x="1013" y="154"/>
                </a:lnTo>
                <a:lnTo>
                  <a:pt x="1010" y="153"/>
                </a:lnTo>
                <a:lnTo>
                  <a:pt x="1010" y="153"/>
                </a:lnTo>
                <a:lnTo>
                  <a:pt x="1007" y="150"/>
                </a:lnTo>
                <a:lnTo>
                  <a:pt x="1004" y="147"/>
                </a:lnTo>
                <a:lnTo>
                  <a:pt x="1004" y="147"/>
                </a:lnTo>
                <a:lnTo>
                  <a:pt x="1000" y="150"/>
                </a:lnTo>
                <a:lnTo>
                  <a:pt x="997" y="150"/>
                </a:lnTo>
                <a:lnTo>
                  <a:pt x="997" y="150"/>
                </a:lnTo>
                <a:lnTo>
                  <a:pt x="993" y="144"/>
                </a:lnTo>
                <a:lnTo>
                  <a:pt x="993" y="144"/>
                </a:lnTo>
                <a:lnTo>
                  <a:pt x="989" y="147"/>
                </a:lnTo>
                <a:lnTo>
                  <a:pt x="986" y="149"/>
                </a:lnTo>
                <a:lnTo>
                  <a:pt x="983" y="150"/>
                </a:lnTo>
                <a:lnTo>
                  <a:pt x="980" y="150"/>
                </a:lnTo>
                <a:lnTo>
                  <a:pt x="980" y="150"/>
                </a:lnTo>
                <a:lnTo>
                  <a:pt x="980" y="151"/>
                </a:lnTo>
                <a:lnTo>
                  <a:pt x="980" y="151"/>
                </a:lnTo>
                <a:lnTo>
                  <a:pt x="981" y="151"/>
                </a:lnTo>
                <a:lnTo>
                  <a:pt x="981" y="153"/>
                </a:lnTo>
                <a:lnTo>
                  <a:pt x="981" y="153"/>
                </a:lnTo>
                <a:lnTo>
                  <a:pt x="971" y="159"/>
                </a:lnTo>
                <a:lnTo>
                  <a:pt x="969" y="160"/>
                </a:lnTo>
                <a:lnTo>
                  <a:pt x="966" y="159"/>
                </a:lnTo>
                <a:lnTo>
                  <a:pt x="966" y="159"/>
                </a:lnTo>
                <a:lnTo>
                  <a:pt x="970" y="156"/>
                </a:lnTo>
                <a:lnTo>
                  <a:pt x="970" y="156"/>
                </a:lnTo>
                <a:lnTo>
                  <a:pt x="964" y="154"/>
                </a:lnTo>
                <a:lnTo>
                  <a:pt x="960" y="156"/>
                </a:lnTo>
                <a:lnTo>
                  <a:pt x="960" y="156"/>
                </a:lnTo>
                <a:lnTo>
                  <a:pt x="960" y="154"/>
                </a:lnTo>
                <a:lnTo>
                  <a:pt x="959" y="154"/>
                </a:lnTo>
                <a:lnTo>
                  <a:pt x="956" y="154"/>
                </a:lnTo>
                <a:lnTo>
                  <a:pt x="956" y="154"/>
                </a:lnTo>
                <a:lnTo>
                  <a:pt x="954" y="153"/>
                </a:lnTo>
                <a:lnTo>
                  <a:pt x="952" y="151"/>
                </a:lnTo>
                <a:lnTo>
                  <a:pt x="952" y="151"/>
                </a:lnTo>
                <a:lnTo>
                  <a:pt x="950" y="150"/>
                </a:lnTo>
                <a:lnTo>
                  <a:pt x="946" y="153"/>
                </a:lnTo>
                <a:lnTo>
                  <a:pt x="946" y="153"/>
                </a:lnTo>
                <a:lnTo>
                  <a:pt x="946" y="154"/>
                </a:lnTo>
                <a:lnTo>
                  <a:pt x="947" y="156"/>
                </a:lnTo>
                <a:lnTo>
                  <a:pt x="947" y="157"/>
                </a:lnTo>
                <a:lnTo>
                  <a:pt x="946" y="160"/>
                </a:lnTo>
                <a:lnTo>
                  <a:pt x="946" y="160"/>
                </a:lnTo>
                <a:lnTo>
                  <a:pt x="943" y="160"/>
                </a:lnTo>
                <a:lnTo>
                  <a:pt x="943" y="159"/>
                </a:lnTo>
                <a:lnTo>
                  <a:pt x="943" y="159"/>
                </a:lnTo>
                <a:lnTo>
                  <a:pt x="942" y="159"/>
                </a:lnTo>
                <a:lnTo>
                  <a:pt x="942" y="159"/>
                </a:lnTo>
                <a:lnTo>
                  <a:pt x="942" y="161"/>
                </a:lnTo>
                <a:lnTo>
                  <a:pt x="943" y="163"/>
                </a:lnTo>
                <a:lnTo>
                  <a:pt x="944" y="164"/>
                </a:lnTo>
                <a:lnTo>
                  <a:pt x="942" y="169"/>
                </a:lnTo>
                <a:lnTo>
                  <a:pt x="942" y="169"/>
                </a:lnTo>
                <a:lnTo>
                  <a:pt x="940" y="166"/>
                </a:lnTo>
                <a:lnTo>
                  <a:pt x="940" y="166"/>
                </a:lnTo>
                <a:lnTo>
                  <a:pt x="937" y="170"/>
                </a:lnTo>
                <a:lnTo>
                  <a:pt x="936" y="171"/>
                </a:lnTo>
                <a:lnTo>
                  <a:pt x="934" y="174"/>
                </a:lnTo>
                <a:lnTo>
                  <a:pt x="934" y="174"/>
                </a:lnTo>
                <a:lnTo>
                  <a:pt x="934" y="174"/>
                </a:lnTo>
                <a:lnTo>
                  <a:pt x="936" y="176"/>
                </a:lnTo>
                <a:lnTo>
                  <a:pt x="937" y="174"/>
                </a:lnTo>
                <a:lnTo>
                  <a:pt x="937" y="174"/>
                </a:lnTo>
                <a:lnTo>
                  <a:pt x="937" y="173"/>
                </a:lnTo>
                <a:lnTo>
                  <a:pt x="939" y="170"/>
                </a:lnTo>
                <a:lnTo>
                  <a:pt x="939" y="170"/>
                </a:lnTo>
                <a:lnTo>
                  <a:pt x="943" y="176"/>
                </a:lnTo>
                <a:lnTo>
                  <a:pt x="943" y="176"/>
                </a:lnTo>
                <a:lnTo>
                  <a:pt x="936" y="177"/>
                </a:lnTo>
                <a:lnTo>
                  <a:pt x="936" y="177"/>
                </a:lnTo>
                <a:lnTo>
                  <a:pt x="932" y="176"/>
                </a:lnTo>
                <a:lnTo>
                  <a:pt x="932" y="176"/>
                </a:lnTo>
                <a:lnTo>
                  <a:pt x="927" y="173"/>
                </a:lnTo>
                <a:lnTo>
                  <a:pt x="926" y="170"/>
                </a:lnTo>
                <a:lnTo>
                  <a:pt x="926" y="170"/>
                </a:lnTo>
                <a:lnTo>
                  <a:pt x="919" y="176"/>
                </a:lnTo>
                <a:lnTo>
                  <a:pt x="919" y="176"/>
                </a:lnTo>
                <a:lnTo>
                  <a:pt x="922" y="177"/>
                </a:lnTo>
                <a:lnTo>
                  <a:pt x="922" y="177"/>
                </a:lnTo>
                <a:lnTo>
                  <a:pt x="922" y="176"/>
                </a:lnTo>
                <a:lnTo>
                  <a:pt x="923" y="174"/>
                </a:lnTo>
                <a:lnTo>
                  <a:pt x="923" y="174"/>
                </a:lnTo>
                <a:lnTo>
                  <a:pt x="923" y="176"/>
                </a:lnTo>
                <a:lnTo>
                  <a:pt x="923" y="177"/>
                </a:lnTo>
                <a:lnTo>
                  <a:pt x="920" y="180"/>
                </a:lnTo>
                <a:lnTo>
                  <a:pt x="920" y="180"/>
                </a:lnTo>
                <a:lnTo>
                  <a:pt x="917" y="181"/>
                </a:lnTo>
                <a:lnTo>
                  <a:pt x="916" y="180"/>
                </a:lnTo>
                <a:lnTo>
                  <a:pt x="917" y="179"/>
                </a:lnTo>
                <a:lnTo>
                  <a:pt x="917" y="177"/>
                </a:lnTo>
                <a:lnTo>
                  <a:pt x="916" y="177"/>
                </a:lnTo>
                <a:lnTo>
                  <a:pt x="916" y="177"/>
                </a:lnTo>
                <a:lnTo>
                  <a:pt x="916" y="180"/>
                </a:lnTo>
                <a:lnTo>
                  <a:pt x="912" y="184"/>
                </a:lnTo>
                <a:close/>
                <a:moveTo>
                  <a:pt x="1474" y="622"/>
                </a:moveTo>
                <a:lnTo>
                  <a:pt x="1474" y="622"/>
                </a:lnTo>
                <a:lnTo>
                  <a:pt x="1475" y="624"/>
                </a:lnTo>
                <a:lnTo>
                  <a:pt x="1475" y="627"/>
                </a:lnTo>
                <a:lnTo>
                  <a:pt x="1471" y="631"/>
                </a:lnTo>
                <a:lnTo>
                  <a:pt x="1471" y="631"/>
                </a:lnTo>
                <a:lnTo>
                  <a:pt x="1469" y="628"/>
                </a:lnTo>
                <a:lnTo>
                  <a:pt x="1471" y="625"/>
                </a:lnTo>
                <a:lnTo>
                  <a:pt x="1474" y="622"/>
                </a:lnTo>
                <a:close/>
                <a:moveTo>
                  <a:pt x="1318" y="865"/>
                </a:moveTo>
                <a:lnTo>
                  <a:pt x="1318" y="865"/>
                </a:lnTo>
                <a:lnTo>
                  <a:pt x="1310" y="881"/>
                </a:lnTo>
                <a:lnTo>
                  <a:pt x="1310" y="881"/>
                </a:lnTo>
                <a:lnTo>
                  <a:pt x="1308" y="878"/>
                </a:lnTo>
                <a:lnTo>
                  <a:pt x="1307" y="875"/>
                </a:lnTo>
                <a:lnTo>
                  <a:pt x="1307" y="875"/>
                </a:lnTo>
                <a:lnTo>
                  <a:pt x="1312" y="871"/>
                </a:lnTo>
                <a:lnTo>
                  <a:pt x="1312" y="868"/>
                </a:lnTo>
                <a:lnTo>
                  <a:pt x="1312" y="865"/>
                </a:lnTo>
                <a:lnTo>
                  <a:pt x="1312" y="865"/>
                </a:lnTo>
                <a:lnTo>
                  <a:pt x="1314" y="865"/>
                </a:lnTo>
                <a:lnTo>
                  <a:pt x="1315" y="865"/>
                </a:lnTo>
                <a:lnTo>
                  <a:pt x="1317" y="865"/>
                </a:lnTo>
                <a:lnTo>
                  <a:pt x="1318" y="865"/>
                </a:lnTo>
                <a:close/>
                <a:moveTo>
                  <a:pt x="643" y="1119"/>
                </a:moveTo>
                <a:lnTo>
                  <a:pt x="643" y="1119"/>
                </a:lnTo>
                <a:lnTo>
                  <a:pt x="643" y="1115"/>
                </a:lnTo>
                <a:lnTo>
                  <a:pt x="641" y="1113"/>
                </a:lnTo>
                <a:lnTo>
                  <a:pt x="641" y="1113"/>
                </a:lnTo>
                <a:lnTo>
                  <a:pt x="642" y="1112"/>
                </a:lnTo>
                <a:lnTo>
                  <a:pt x="645" y="1111"/>
                </a:lnTo>
                <a:lnTo>
                  <a:pt x="652" y="1112"/>
                </a:lnTo>
                <a:lnTo>
                  <a:pt x="652" y="1112"/>
                </a:lnTo>
                <a:lnTo>
                  <a:pt x="649" y="1113"/>
                </a:lnTo>
                <a:lnTo>
                  <a:pt x="649" y="1115"/>
                </a:lnTo>
                <a:lnTo>
                  <a:pt x="651" y="1116"/>
                </a:lnTo>
                <a:lnTo>
                  <a:pt x="648" y="1118"/>
                </a:lnTo>
                <a:lnTo>
                  <a:pt x="648" y="1118"/>
                </a:lnTo>
                <a:lnTo>
                  <a:pt x="655" y="1119"/>
                </a:lnTo>
                <a:lnTo>
                  <a:pt x="658" y="1121"/>
                </a:lnTo>
                <a:lnTo>
                  <a:pt x="658" y="1121"/>
                </a:lnTo>
                <a:lnTo>
                  <a:pt x="658" y="1122"/>
                </a:lnTo>
                <a:lnTo>
                  <a:pt x="658" y="1122"/>
                </a:lnTo>
                <a:lnTo>
                  <a:pt x="655" y="1121"/>
                </a:lnTo>
                <a:lnTo>
                  <a:pt x="652" y="1121"/>
                </a:lnTo>
                <a:lnTo>
                  <a:pt x="643" y="1119"/>
                </a:lnTo>
                <a:close/>
                <a:moveTo>
                  <a:pt x="191" y="269"/>
                </a:moveTo>
                <a:lnTo>
                  <a:pt x="191" y="269"/>
                </a:lnTo>
                <a:lnTo>
                  <a:pt x="190" y="267"/>
                </a:lnTo>
                <a:lnTo>
                  <a:pt x="191" y="267"/>
                </a:lnTo>
                <a:lnTo>
                  <a:pt x="193" y="264"/>
                </a:lnTo>
                <a:lnTo>
                  <a:pt x="193" y="263"/>
                </a:lnTo>
                <a:lnTo>
                  <a:pt x="193" y="263"/>
                </a:lnTo>
                <a:lnTo>
                  <a:pt x="197" y="263"/>
                </a:lnTo>
                <a:lnTo>
                  <a:pt x="197" y="263"/>
                </a:lnTo>
                <a:lnTo>
                  <a:pt x="196" y="266"/>
                </a:lnTo>
                <a:lnTo>
                  <a:pt x="196" y="269"/>
                </a:lnTo>
                <a:lnTo>
                  <a:pt x="196" y="269"/>
                </a:lnTo>
                <a:lnTo>
                  <a:pt x="193" y="267"/>
                </a:lnTo>
                <a:lnTo>
                  <a:pt x="193" y="267"/>
                </a:lnTo>
                <a:lnTo>
                  <a:pt x="191" y="269"/>
                </a:lnTo>
                <a:close/>
                <a:moveTo>
                  <a:pt x="795" y="316"/>
                </a:moveTo>
                <a:lnTo>
                  <a:pt x="795" y="316"/>
                </a:lnTo>
                <a:lnTo>
                  <a:pt x="795" y="316"/>
                </a:lnTo>
                <a:lnTo>
                  <a:pt x="795" y="316"/>
                </a:lnTo>
                <a:lnTo>
                  <a:pt x="795" y="316"/>
                </a:lnTo>
                <a:close/>
                <a:moveTo>
                  <a:pt x="825" y="377"/>
                </a:moveTo>
                <a:lnTo>
                  <a:pt x="825" y="377"/>
                </a:lnTo>
                <a:lnTo>
                  <a:pt x="825" y="380"/>
                </a:lnTo>
                <a:lnTo>
                  <a:pt x="825" y="380"/>
                </a:lnTo>
                <a:lnTo>
                  <a:pt x="823" y="378"/>
                </a:lnTo>
                <a:lnTo>
                  <a:pt x="823" y="378"/>
                </a:lnTo>
                <a:lnTo>
                  <a:pt x="823" y="377"/>
                </a:lnTo>
                <a:lnTo>
                  <a:pt x="823" y="377"/>
                </a:lnTo>
                <a:lnTo>
                  <a:pt x="823" y="376"/>
                </a:lnTo>
                <a:lnTo>
                  <a:pt x="823" y="376"/>
                </a:lnTo>
                <a:lnTo>
                  <a:pt x="825" y="377"/>
                </a:lnTo>
                <a:close/>
                <a:moveTo>
                  <a:pt x="922" y="180"/>
                </a:moveTo>
                <a:lnTo>
                  <a:pt x="922" y="180"/>
                </a:lnTo>
                <a:lnTo>
                  <a:pt x="924" y="179"/>
                </a:lnTo>
                <a:lnTo>
                  <a:pt x="927" y="176"/>
                </a:lnTo>
                <a:lnTo>
                  <a:pt x="927" y="176"/>
                </a:lnTo>
                <a:lnTo>
                  <a:pt x="927" y="176"/>
                </a:lnTo>
                <a:lnTo>
                  <a:pt x="927" y="177"/>
                </a:lnTo>
                <a:lnTo>
                  <a:pt x="927" y="179"/>
                </a:lnTo>
                <a:lnTo>
                  <a:pt x="929" y="179"/>
                </a:lnTo>
                <a:lnTo>
                  <a:pt x="929" y="179"/>
                </a:lnTo>
                <a:lnTo>
                  <a:pt x="927" y="180"/>
                </a:lnTo>
                <a:lnTo>
                  <a:pt x="926" y="179"/>
                </a:lnTo>
                <a:lnTo>
                  <a:pt x="926" y="179"/>
                </a:lnTo>
                <a:lnTo>
                  <a:pt x="924" y="181"/>
                </a:lnTo>
                <a:lnTo>
                  <a:pt x="924" y="181"/>
                </a:lnTo>
                <a:lnTo>
                  <a:pt x="923" y="183"/>
                </a:lnTo>
                <a:lnTo>
                  <a:pt x="922" y="183"/>
                </a:lnTo>
                <a:lnTo>
                  <a:pt x="922" y="180"/>
                </a:lnTo>
                <a:close/>
                <a:moveTo>
                  <a:pt x="977" y="159"/>
                </a:moveTo>
                <a:lnTo>
                  <a:pt x="977" y="159"/>
                </a:lnTo>
                <a:lnTo>
                  <a:pt x="980" y="157"/>
                </a:lnTo>
                <a:lnTo>
                  <a:pt x="981" y="159"/>
                </a:lnTo>
                <a:lnTo>
                  <a:pt x="981" y="159"/>
                </a:lnTo>
                <a:lnTo>
                  <a:pt x="977" y="160"/>
                </a:lnTo>
                <a:lnTo>
                  <a:pt x="974" y="160"/>
                </a:lnTo>
                <a:lnTo>
                  <a:pt x="974" y="160"/>
                </a:lnTo>
                <a:lnTo>
                  <a:pt x="977" y="159"/>
                </a:lnTo>
                <a:close/>
                <a:moveTo>
                  <a:pt x="1036" y="156"/>
                </a:moveTo>
                <a:lnTo>
                  <a:pt x="1036" y="156"/>
                </a:lnTo>
                <a:lnTo>
                  <a:pt x="1039" y="156"/>
                </a:lnTo>
                <a:lnTo>
                  <a:pt x="1041" y="156"/>
                </a:lnTo>
                <a:lnTo>
                  <a:pt x="1043" y="159"/>
                </a:lnTo>
                <a:lnTo>
                  <a:pt x="1040" y="161"/>
                </a:lnTo>
                <a:lnTo>
                  <a:pt x="1040" y="161"/>
                </a:lnTo>
                <a:lnTo>
                  <a:pt x="1039" y="159"/>
                </a:lnTo>
                <a:lnTo>
                  <a:pt x="1036" y="156"/>
                </a:lnTo>
                <a:close/>
                <a:moveTo>
                  <a:pt x="923" y="279"/>
                </a:moveTo>
                <a:lnTo>
                  <a:pt x="923" y="279"/>
                </a:lnTo>
                <a:lnTo>
                  <a:pt x="923" y="279"/>
                </a:lnTo>
                <a:lnTo>
                  <a:pt x="924" y="279"/>
                </a:lnTo>
                <a:lnTo>
                  <a:pt x="926" y="280"/>
                </a:lnTo>
                <a:lnTo>
                  <a:pt x="926" y="280"/>
                </a:lnTo>
                <a:lnTo>
                  <a:pt x="927" y="281"/>
                </a:lnTo>
                <a:lnTo>
                  <a:pt x="927" y="281"/>
                </a:lnTo>
                <a:lnTo>
                  <a:pt x="927" y="283"/>
                </a:lnTo>
                <a:lnTo>
                  <a:pt x="927" y="283"/>
                </a:lnTo>
                <a:lnTo>
                  <a:pt x="927" y="283"/>
                </a:lnTo>
                <a:lnTo>
                  <a:pt x="927" y="283"/>
                </a:lnTo>
                <a:lnTo>
                  <a:pt x="924" y="284"/>
                </a:lnTo>
                <a:lnTo>
                  <a:pt x="924" y="284"/>
                </a:lnTo>
                <a:lnTo>
                  <a:pt x="924" y="284"/>
                </a:lnTo>
                <a:lnTo>
                  <a:pt x="924" y="284"/>
                </a:lnTo>
                <a:lnTo>
                  <a:pt x="924" y="283"/>
                </a:lnTo>
                <a:lnTo>
                  <a:pt x="924" y="283"/>
                </a:lnTo>
                <a:lnTo>
                  <a:pt x="924" y="283"/>
                </a:lnTo>
                <a:lnTo>
                  <a:pt x="924" y="281"/>
                </a:lnTo>
                <a:lnTo>
                  <a:pt x="924" y="281"/>
                </a:lnTo>
                <a:lnTo>
                  <a:pt x="923" y="280"/>
                </a:lnTo>
                <a:lnTo>
                  <a:pt x="923" y="279"/>
                </a:lnTo>
                <a:close/>
                <a:moveTo>
                  <a:pt x="917" y="286"/>
                </a:moveTo>
                <a:lnTo>
                  <a:pt x="917" y="286"/>
                </a:lnTo>
                <a:lnTo>
                  <a:pt x="920" y="286"/>
                </a:lnTo>
                <a:lnTo>
                  <a:pt x="922" y="286"/>
                </a:lnTo>
                <a:lnTo>
                  <a:pt x="922" y="286"/>
                </a:lnTo>
                <a:lnTo>
                  <a:pt x="924" y="287"/>
                </a:lnTo>
                <a:lnTo>
                  <a:pt x="923" y="287"/>
                </a:lnTo>
                <a:lnTo>
                  <a:pt x="920" y="289"/>
                </a:lnTo>
                <a:lnTo>
                  <a:pt x="920" y="289"/>
                </a:lnTo>
                <a:lnTo>
                  <a:pt x="920" y="287"/>
                </a:lnTo>
                <a:lnTo>
                  <a:pt x="920" y="287"/>
                </a:lnTo>
                <a:lnTo>
                  <a:pt x="917" y="286"/>
                </a:lnTo>
                <a:close/>
                <a:moveTo>
                  <a:pt x="1427" y="475"/>
                </a:moveTo>
                <a:lnTo>
                  <a:pt x="1427" y="475"/>
                </a:lnTo>
                <a:lnTo>
                  <a:pt x="1427" y="477"/>
                </a:lnTo>
                <a:lnTo>
                  <a:pt x="1428" y="478"/>
                </a:lnTo>
                <a:lnTo>
                  <a:pt x="1428" y="483"/>
                </a:lnTo>
                <a:lnTo>
                  <a:pt x="1428" y="483"/>
                </a:lnTo>
                <a:lnTo>
                  <a:pt x="1427" y="487"/>
                </a:lnTo>
                <a:lnTo>
                  <a:pt x="1424" y="488"/>
                </a:lnTo>
                <a:lnTo>
                  <a:pt x="1424" y="488"/>
                </a:lnTo>
                <a:lnTo>
                  <a:pt x="1422" y="487"/>
                </a:lnTo>
                <a:lnTo>
                  <a:pt x="1422" y="485"/>
                </a:lnTo>
                <a:lnTo>
                  <a:pt x="1422" y="483"/>
                </a:lnTo>
                <a:lnTo>
                  <a:pt x="1422" y="483"/>
                </a:lnTo>
                <a:lnTo>
                  <a:pt x="1427" y="475"/>
                </a:lnTo>
                <a:close/>
                <a:moveTo>
                  <a:pt x="1137" y="443"/>
                </a:moveTo>
                <a:lnTo>
                  <a:pt x="1137" y="443"/>
                </a:lnTo>
                <a:lnTo>
                  <a:pt x="1140" y="444"/>
                </a:lnTo>
                <a:lnTo>
                  <a:pt x="1138" y="446"/>
                </a:lnTo>
                <a:lnTo>
                  <a:pt x="1136" y="448"/>
                </a:lnTo>
                <a:lnTo>
                  <a:pt x="1136" y="448"/>
                </a:lnTo>
                <a:lnTo>
                  <a:pt x="1134" y="447"/>
                </a:lnTo>
                <a:lnTo>
                  <a:pt x="1134" y="446"/>
                </a:lnTo>
                <a:lnTo>
                  <a:pt x="1134" y="444"/>
                </a:lnTo>
                <a:lnTo>
                  <a:pt x="1137" y="443"/>
                </a:lnTo>
                <a:close/>
                <a:moveTo>
                  <a:pt x="1093" y="540"/>
                </a:moveTo>
                <a:lnTo>
                  <a:pt x="1093" y="540"/>
                </a:lnTo>
                <a:lnTo>
                  <a:pt x="1090" y="537"/>
                </a:lnTo>
                <a:lnTo>
                  <a:pt x="1091" y="535"/>
                </a:lnTo>
                <a:lnTo>
                  <a:pt x="1091" y="534"/>
                </a:lnTo>
                <a:lnTo>
                  <a:pt x="1091" y="533"/>
                </a:lnTo>
                <a:lnTo>
                  <a:pt x="1091" y="533"/>
                </a:lnTo>
                <a:lnTo>
                  <a:pt x="1090" y="533"/>
                </a:lnTo>
                <a:lnTo>
                  <a:pt x="1090" y="533"/>
                </a:lnTo>
                <a:lnTo>
                  <a:pt x="1090" y="534"/>
                </a:lnTo>
                <a:lnTo>
                  <a:pt x="1087" y="535"/>
                </a:lnTo>
                <a:lnTo>
                  <a:pt x="1087" y="535"/>
                </a:lnTo>
                <a:lnTo>
                  <a:pt x="1090" y="541"/>
                </a:lnTo>
                <a:lnTo>
                  <a:pt x="1088" y="547"/>
                </a:lnTo>
                <a:lnTo>
                  <a:pt x="1087" y="551"/>
                </a:lnTo>
                <a:lnTo>
                  <a:pt x="1083" y="555"/>
                </a:lnTo>
                <a:lnTo>
                  <a:pt x="1083" y="555"/>
                </a:lnTo>
                <a:lnTo>
                  <a:pt x="1076" y="563"/>
                </a:lnTo>
                <a:lnTo>
                  <a:pt x="1076" y="563"/>
                </a:lnTo>
                <a:lnTo>
                  <a:pt x="1067" y="570"/>
                </a:lnTo>
                <a:lnTo>
                  <a:pt x="1067" y="570"/>
                </a:lnTo>
                <a:lnTo>
                  <a:pt x="1063" y="577"/>
                </a:lnTo>
                <a:lnTo>
                  <a:pt x="1060" y="585"/>
                </a:lnTo>
                <a:lnTo>
                  <a:pt x="1060" y="585"/>
                </a:lnTo>
                <a:lnTo>
                  <a:pt x="1057" y="591"/>
                </a:lnTo>
                <a:lnTo>
                  <a:pt x="1053" y="595"/>
                </a:lnTo>
                <a:lnTo>
                  <a:pt x="1053" y="595"/>
                </a:lnTo>
                <a:lnTo>
                  <a:pt x="1050" y="595"/>
                </a:lnTo>
                <a:lnTo>
                  <a:pt x="1047" y="594"/>
                </a:lnTo>
                <a:lnTo>
                  <a:pt x="1047" y="594"/>
                </a:lnTo>
                <a:lnTo>
                  <a:pt x="1047" y="597"/>
                </a:lnTo>
                <a:lnTo>
                  <a:pt x="1044" y="598"/>
                </a:lnTo>
                <a:lnTo>
                  <a:pt x="1044" y="598"/>
                </a:lnTo>
                <a:lnTo>
                  <a:pt x="1041" y="600"/>
                </a:lnTo>
                <a:lnTo>
                  <a:pt x="1040" y="601"/>
                </a:lnTo>
                <a:lnTo>
                  <a:pt x="1040" y="601"/>
                </a:lnTo>
                <a:lnTo>
                  <a:pt x="1037" y="598"/>
                </a:lnTo>
                <a:lnTo>
                  <a:pt x="1034" y="601"/>
                </a:lnTo>
                <a:lnTo>
                  <a:pt x="1034" y="601"/>
                </a:lnTo>
                <a:lnTo>
                  <a:pt x="1033" y="598"/>
                </a:lnTo>
                <a:lnTo>
                  <a:pt x="1030" y="595"/>
                </a:lnTo>
                <a:lnTo>
                  <a:pt x="1030" y="595"/>
                </a:lnTo>
                <a:lnTo>
                  <a:pt x="1030" y="594"/>
                </a:lnTo>
                <a:lnTo>
                  <a:pt x="1031" y="595"/>
                </a:lnTo>
                <a:lnTo>
                  <a:pt x="1034" y="597"/>
                </a:lnTo>
                <a:lnTo>
                  <a:pt x="1034" y="597"/>
                </a:lnTo>
                <a:lnTo>
                  <a:pt x="1034" y="593"/>
                </a:lnTo>
                <a:lnTo>
                  <a:pt x="1031" y="588"/>
                </a:lnTo>
                <a:lnTo>
                  <a:pt x="1031" y="588"/>
                </a:lnTo>
                <a:lnTo>
                  <a:pt x="1036" y="590"/>
                </a:lnTo>
                <a:lnTo>
                  <a:pt x="1039" y="591"/>
                </a:lnTo>
                <a:lnTo>
                  <a:pt x="1039" y="591"/>
                </a:lnTo>
                <a:lnTo>
                  <a:pt x="1039" y="590"/>
                </a:lnTo>
                <a:lnTo>
                  <a:pt x="1039" y="588"/>
                </a:lnTo>
                <a:lnTo>
                  <a:pt x="1039" y="585"/>
                </a:lnTo>
                <a:lnTo>
                  <a:pt x="1039" y="585"/>
                </a:lnTo>
                <a:lnTo>
                  <a:pt x="1036" y="584"/>
                </a:lnTo>
                <a:lnTo>
                  <a:pt x="1033" y="585"/>
                </a:lnTo>
                <a:lnTo>
                  <a:pt x="1030" y="587"/>
                </a:lnTo>
                <a:lnTo>
                  <a:pt x="1026" y="587"/>
                </a:lnTo>
                <a:lnTo>
                  <a:pt x="1026" y="587"/>
                </a:lnTo>
                <a:lnTo>
                  <a:pt x="1027" y="584"/>
                </a:lnTo>
                <a:lnTo>
                  <a:pt x="1030" y="584"/>
                </a:lnTo>
                <a:lnTo>
                  <a:pt x="1033" y="584"/>
                </a:lnTo>
                <a:lnTo>
                  <a:pt x="1034" y="583"/>
                </a:lnTo>
                <a:lnTo>
                  <a:pt x="1034" y="583"/>
                </a:lnTo>
                <a:lnTo>
                  <a:pt x="1030" y="583"/>
                </a:lnTo>
                <a:lnTo>
                  <a:pt x="1026" y="584"/>
                </a:lnTo>
                <a:lnTo>
                  <a:pt x="1026" y="584"/>
                </a:lnTo>
                <a:lnTo>
                  <a:pt x="1026" y="587"/>
                </a:lnTo>
                <a:lnTo>
                  <a:pt x="1026" y="591"/>
                </a:lnTo>
                <a:lnTo>
                  <a:pt x="1029" y="598"/>
                </a:lnTo>
                <a:lnTo>
                  <a:pt x="1029" y="598"/>
                </a:lnTo>
                <a:lnTo>
                  <a:pt x="1030" y="605"/>
                </a:lnTo>
                <a:lnTo>
                  <a:pt x="1030" y="605"/>
                </a:lnTo>
                <a:lnTo>
                  <a:pt x="1030" y="608"/>
                </a:lnTo>
                <a:lnTo>
                  <a:pt x="1029" y="611"/>
                </a:lnTo>
                <a:lnTo>
                  <a:pt x="1029" y="611"/>
                </a:lnTo>
                <a:lnTo>
                  <a:pt x="1030" y="613"/>
                </a:lnTo>
                <a:lnTo>
                  <a:pt x="1033" y="613"/>
                </a:lnTo>
                <a:lnTo>
                  <a:pt x="1036" y="611"/>
                </a:lnTo>
                <a:lnTo>
                  <a:pt x="1036" y="611"/>
                </a:lnTo>
                <a:lnTo>
                  <a:pt x="1036" y="614"/>
                </a:lnTo>
                <a:lnTo>
                  <a:pt x="1034" y="617"/>
                </a:lnTo>
                <a:lnTo>
                  <a:pt x="1030" y="620"/>
                </a:lnTo>
                <a:lnTo>
                  <a:pt x="1030" y="620"/>
                </a:lnTo>
                <a:lnTo>
                  <a:pt x="1026" y="622"/>
                </a:lnTo>
                <a:lnTo>
                  <a:pt x="1026" y="625"/>
                </a:lnTo>
                <a:lnTo>
                  <a:pt x="1024" y="628"/>
                </a:lnTo>
                <a:lnTo>
                  <a:pt x="1024" y="628"/>
                </a:lnTo>
                <a:lnTo>
                  <a:pt x="1021" y="628"/>
                </a:lnTo>
                <a:lnTo>
                  <a:pt x="1020" y="628"/>
                </a:lnTo>
                <a:lnTo>
                  <a:pt x="1019" y="627"/>
                </a:lnTo>
                <a:lnTo>
                  <a:pt x="1019" y="627"/>
                </a:lnTo>
                <a:lnTo>
                  <a:pt x="1017" y="632"/>
                </a:lnTo>
                <a:lnTo>
                  <a:pt x="1014" y="634"/>
                </a:lnTo>
                <a:lnTo>
                  <a:pt x="1014" y="634"/>
                </a:lnTo>
                <a:lnTo>
                  <a:pt x="1013" y="634"/>
                </a:lnTo>
                <a:lnTo>
                  <a:pt x="1013" y="634"/>
                </a:lnTo>
                <a:lnTo>
                  <a:pt x="1013" y="635"/>
                </a:lnTo>
                <a:lnTo>
                  <a:pt x="1013" y="637"/>
                </a:lnTo>
                <a:lnTo>
                  <a:pt x="1013" y="638"/>
                </a:lnTo>
                <a:lnTo>
                  <a:pt x="1013" y="640"/>
                </a:lnTo>
                <a:lnTo>
                  <a:pt x="1013" y="640"/>
                </a:lnTo>
                <a:lnTo>
                  <a:pt x="1009" y="638"/>
                </a:lnTo>
                <a:lnTo>
                  <a:pt x="1006" y="640"/>
                </a:lnTo>
                <a:lnTo>
                  <a:pt x="1000" y="644"/>
                </a:lnTo>
                <a:lnTo>
                  <a:pt x="1000" y="644"/>
                </a:lnTo>
                <a:lnTo>
                  <a:pt x="996" y="650"/>
                </a:lnTo>
                <a:lnTo>
                  <a:pt x="993" y="651"/>
                </a:lnTo>
                <a:lnTo>
                  <a:pt x="990" y="651"/>
                </a:lnTo>
                <a:lnTo>
                  <a:pt x="990" y="651"/>
                </a:lnTo>
                <a:lnTo>
                  <a:pt x="989" y="654"/>
                </a:lnTo>
                <a:lnTo>
                  <a:pt x="987" y="657"/>
                </a:lnTo>
                <a:lnTo>
                  <a:pt x="983" y="661"/>
                </a:lnTo>
                <a:lnTo>
                  <a:pt x="983" y="661"/>
                </a:lnTo>
                <a:lnTo>
                  <a:pt x="979" y="662"/>
                </a:lnTo>
                <a:lnTo>
                  <a:pt x="979" y="662"/>
                </a:lnTo>
                <a:lnTo>
                  <a:pt x="974" y="664"/>
                </a:lnTo>
                <a:lnTo>
                  <a:pt x="974" y="664"/>
                </a:lnTo>
                <a:lnTo>
                  <a:pt x="973" y="668"/>
                </a:lnTo>
                <a:lnTo>
                  <a:pt x="971" y="672"/>
                </a:lnTo>
                <a:lnTo>
                  <a:pt x="969" y="675"/>
                </a:lnTo>
                <a:lnTo>
                  <a:pt x="964" y="677"/>
                </a:lnTo>
                <a:lnTo>
                  <a:pt x="964" y="677"/>
                </a:lnTo>
                <a:lnTo>
                  <a:pt x="960" y="678"/>
                </a:lnTo>
                <a:lnTo>
                  <a:pt x="956" y="678"/>
                </a:lnTo>
                <a:lnTo>
                  <a:pt x="947" y="677"/>
                </a:lnTo>
                <a:lnTo>
                  <a:pt x="947" y="677"/>
                </a:lnTo>
                <a:lnTo>
                  <a:pt x="943" y="680"/>
                </a:lnTo>
                <a:lnTo>
                  <a:pt x="942" y="682"/>
                </a:lnTo>
                <a:lnTo>
                  <a:pt x="940" y="685"/>
                </a:lnTo>
                <a:lnTo>
                  <a:pt x="936" y="687"/>
                </a:lnTo>
                <a:lnTo>
                  <a:pt x="936" y="687"/>
                </a:lnTo>
                <a:lnTo>
                  <a:pt x="942" y="688"/>
                </a:lnTo>
                <a:lnTo>
                  <a:pt x="943" y="688"/>
                </a:lnTo>
                <a:lnTo>
                  <a:pt x="944" y="687"/>
                </a:lnTo>
                <a:lnTo>
                  <a:pt x="944" y="687"/>
                </a:lnTo>
                <a:lnTo>
                  <a:pt x="944" y="691"/>
                </a:lnTo>
                <a:lnTo>
                  <a:pt x="943" y="692"/>
                </a:lnTo>
                <a:lnTo>
                  <a:pt x="934" y="697"/>
                </a:lnTo>
                <a:lnTo>
                  <a:pt x="934" y="697"/>
                </a:lnTo>
                <a:lnTo>
                  <a:pt x="934" y="695"/>
                </a:lnTo>
                <a:lnTo>
                  <a:pt x="936" y="694"/>
                </a:lnTo>
                <a:lnTo>
                  <a:pt x="936" y="694"/>
                </a:lnTo>
                <a:lnTo>
                  <a:pt x="932" y="695"/>
                </a:lnTo>
                <a:lnTo>
                  <a:pt x="927" y="698"/>
                </a:lnTo>
                <a:lnTo>
                  <a:pt x="927" y="698"/>
                </a:lnTo>
                <a:lnTo>
                  <a:pt x="923" y="701"/>
                </a:lnTo>
                <a:lnTo>
                  <a:pt x="923" y="701"/>
                </a:lnTo>
                <a:lnTo>
                  <a:pt x="917" y="705"/>
                </a:lnTo>
                <a:lnTo>
                  <a:pt x="917" y="705"/>
                </a:lnTo>
                <a:lnTo>
                  <a:pt x="913" y="708"/>
                </a:lnTo>
                <a:lnTo>
                  <a:pt x="907" y="708"/>
                </a:lnTo>
                <a:lnTo>
                  <a:pt x="907" y="708"/>
                </a:lnTo>
                <a:lnTo>
                  <a:pt x="902" y="707"/>
                </a:lnTo>
                <a:lnTo>
                  <a:pt x="894" y="702"/>
                </a:lnTo>
                <a:lnTo>
                  <a:pt x="894" y="702"/>
                </a:lnTo>
                <a:lnTo>
                  <a:pt x="900" y="701"/>
                </a:lnTo>
                <a:lnTo>
                  <a:pt x="903" y="697"/>
                </a:lnTo>
                <a:lnTo>
                  <a:pt x="903" y="697"/>
                </a:lnTo>
                <a:lnTo>
                  <a:pt x="900" y="698"/>
                </a:lnTo>
                <a:lnTo>
                  <a:pt x="896" y="700"/>
                </a:lnTo>
                <a:lnTo>
                  <a:pt x="896" y="700"/>
                </a:lnTo>
                <a:lnTo>
                  <a:pt x="892" y="701"/>
                </a:lnTo>
                <a:lnTo>
                  <a:pt x="890" y="702"/>
                </a:lnTo>
                <a:lnTo>
                  <a:pt x="890" y="705"/>
                </a:lnTo>
                <a:lnTo>
                  <a:pt x="890" y="705"/>
                </a:lnTo>
                <a:lnTo>
                  <a:pt x="889" y="707"/>
                </a:lnTo>
                <a:lnTo>
                  <a:pt x="887" y="705"/>
                </a:lnTo>
                <a:lnTo>
                  <a:pt x="884" y="702"/>
                </a:lnTo>
                <a:lnTo>
                  <a:pt x="884" y="702"/>
                </a:lnTo>
                <a:lnTo>
                  <a:pt x="884" y="698"/>
                </a:lnTo>
                <a:lnTo>
                  <a:pt x="884" y="695"/>
                </a:lnTo>
                <a:lnTo>
                  <a:pt x="887" y="695"/>
                </a:lnTo>
                <a:lnTo>
                  <a:pt x="887" y="695"/>
                </a:lnTo>
                <a:lnTo>
                  <a:pt x="886" y="694"/>
                </a:lnTo>
                <a:lnTo>
                  <a:pt x="884" y="694"/>
                </a:lnTo>
                <a:lnTo>
                  <a:pt x="883" y="694"/>
                </a:lnTo>
                <a:lnTo>
                  <a:pt x="883" y="691"/>
                </a:lnTo>
                <a:lnTo>
                  <a:pt x="883" y="691"/>
                </a:lnTo>
                <a:lnTo>
                  <a:pt x="887" y="691"/>
                </a:lnTo>
                <a:lnTo>
                  <a:pt x="892" y="691"/>
                </a:lnTo>
                <a:lnTo>
                  <a:pt x="894" y="691"/>
                </a:lnTo>
                <a:lnTo>
                  <a:pt x="899" y="690"/>
                </a:lnTo>
                <a:lnTo>
                  <a:pt x="899" y="690"/>
                </a:lnTo>
                <a:lnTo>
                  <a:pt x="897" y="688"/>
                </a:lnTo>
                <a:lnTo>
                  <a:pt x="893" y="688"/>
                </a:lnTo>
                <a:lnTo>
                  <a:pt x="886" y="690"/>
                </a:lnTo>
                <a:lnTo>
                  <a:pt x="886" y="690"/>
                </a:lnTo>
                <a:lnTo>
                  <a:pt x="893" y="681"/>
                </a:lnTo>
                <a:lnTo>
                  <a:pt x="893" y="681"/>
                </a:lnTo>
                <a:lnTo>
                  <a:pt x="897" y="678"/>
                </a:lnTo>
                <a:lnTo>
                  <a:pt x="897" y="678"/>
                </a:lnTo>
                <a:lnTo>
                  <a:pt x="902" y="677"/>
                </a:lnTo>
                <a:lnTo>
                  <a:pt x="902" y="677"/>
                </a:lnTo>
                <a:lnTo>
                  <a:pt x="910" y="672"/>
                </a:lnTo>
                <a:lnTo>
                  <a:pt x="910" y="672"/>
                </a:lnTo>
                <a:lnTo>
                  <a:pt x="914" y="672"/>
                </a:lnTo>
                <a:lnTo>
                  <a:pt x="914" y="672"/>
                </a:lnTo>
                <a:lnTo>
                  <a:pt x="916" y="671"/>
                </a:lnTo>
                <a:lnTo>
                  <a:pt x="917" y="671"/>
                </a:lnTo>
                <a:lnTo>
                  <a:pt x="917" y="671"/>
                </a:lnTo>
                <a:lnTo>
                  <a:pt x="917" y="671"/>
                </a:lnTo>
                <a:lnTo>
                  <a:pt x="917" y="671"/>
                </a:lnTo>
                <a:lnTo>
                  <a:pt x="917" y="671"/>
                </a:lnTo>
                <a:lnTo>
                  <a:pt x="917" y="671"/>
                </a:lnTo>
                <a:lnTo>
                  <a:pt x="917" y="671"/>
                </a:lnTo>
                <a:lnTo>
                  <a:pt x="917" y="671"/>
                </a:lnTo>
                <a:lnTo>
                  <a:pt x="917" y="671"/>
                </a:lnTo>
                <a:lnTo>
                  <a:pt x="917" y="671"/>
                </a:lnTo>
                <a:lnTo>
                  <a:pt x="920" y="671"/>
                </a:lnTo>
                <a:lnTo>
                  <a:pt x="920" y="671"/>
                </a:lnTo>
                <a:lnTo>
                  <a:pt x="917" y="668"/>
                </a:lnTo>
                <a:lnTo>
                  <a:pt x="917" y="668"/>
                </a:lnTo>
                <a:lnTo>
                  <a:pt x="916" y="667"/>
                </a:lnTo>
                <a:lnTo>
                  <a:pt x="916" y="667"/>
                </a:lnTo>
                <a:lnTo>
                  <a:pt x="916" y="667"/>
                </a:lnTo>
                <a:lnTo>
                  <a:pt x="916" y="667"/>
                </a:lnTo>
                <a:lnTo>
                  <a:pt x="916" y="667"/>
                </a:lnTo>
                <a:lnTo>
                  <a:pt x="916" y="667"/>
                </a:lnTo>
                <a:lnTo>
                  <a:pt x="916" y="667"/>
                </a:lnTo>
                <a:lnTo>
                  <a:pt x="916" y="667"/>
                </a:lnTo>
                <a:lnTo>
                  <a:pt x="916" y="667"/>
                </a:lnTo>
                <a:lnTo>
                  <a:pt x="916" y="667"/>
                </a:lnTo>
                <a:lnTo>
                  <a:pt x="916" y="667"/>
                </a:lnTo>
                <a:lnTo>
                  <a:pt x="916" y="667"/>
                </a:lnTo>
                <a:lnTo>
                  <a:pt x="913" y="665"/>
                </a:lnTo>
                <a:lnTo>
                  <a:pt x="910" y="662"/>
                </a:lnTo>
                <a:lnTo>
                  <a:pt x="910" y="662"/>
                </a:lnTo>
                <a:lnTo>
                  <a:pt x="914" y="662"/>
                </a:lnTo>
                <a:lnTo>
                  <a:pt x="914" y="662"/>
                </a:lnTo>
                <a:lnTo>
                  <a:pt x="914" y="662"/>
                </a:lnTo>
                <a:lnTo>
                  <a:pt x="914" y="662"/>
                </a:lnTo>
                <a:lnTo>
                  <a:pt x="914" y="662"/>
                </a:lnTo>
                <a:lnTo>
                  <a:pt x="914" y="662"/>
                </a:lnTo>
                <a:lnTo>
                  <a:pt x="914" y="662"/>
                </a:lnTo>
                <a:lnTo>
                  <a:pt x="914" y="662"/>
                </a:lnTo>
                <a:lnTo>
                  <a:pt x="914" y="662"/>
                </a:lnTo>
                <a:lnTo>
                  <a:pt x="914" y="662"/>
                </a:lnTo>
                <a:lnTo>
                  <a:pt x="914" y="662"/>
                </a:lnTo>
                <a:lnTo>
                  <a:pt x="916" y="662"/>
                </a:lnTo>
                <a:lnTo>
                  <a:pt x="916" y="662"/>
                </a:lnTo>
                <a:lnTo>
                  <a:pt x="917" y="661"/>
                </a:lnTo>
                <a:lnTo>
                  <a:pt x="917" y="661"/>
                </a:lnTo>
                <a:lnTo>
                  <a:pt x="922" y="657"/>
                </a:lnTo>
                <a:lnTo>
                  <a:pt x="922" y="657"/>
                </a:lnTo>
                <a:lnTo>
                  <a:pt x="926" y="652"/>
                </a:lnTo>
                <a:lnTo>
                  <a:pt x="927" y="652"/>
                </a:lnTo>
                <a:lnTo>
                  <a:pt x="930" y="651"/>
                </a:lnTo>
                <a:lnTo>
                  <a:pt x="932" y="654"/>
                </a:lnTo>
                <a:lnTo>
                  <a:pt x="932" y="654"/>
                </a:lnTo>
                <a:lnTo>
                  <a:pt x="932" y="657"/>
                </a:lnTo>
                <a:lnTo>
                  <a:pt x="932" y="657"/>
                </a:lnTo>
                <a:lnTo>
                  <a:pt x="930" y="658"/>
                </a:lnTo>
                <a:lnTo>
                  <a:pt x="930" y="658"/>
                </a:lnTo>
                <a:lnTo>
                  <a:pt x="932" y="660"/>
                </a:lnTo>
                <a:lnTo>
                  <a:pt x="933" y="658"/>
                </a:lnTo>
                <a:lnTo>
                  <a:pt x="933" y="658"/>
                </a:lnTo>
                <a:lnTo>
                  <a:pt x="933" y="655"/>
                </a:lnTo>
                <a:lnTo>
                  <a:pt x="930" y="651"/>
                </a:lnTo>
                <a:lnTo>
                  <a:pt x="930" y="651"/>
                </a:lnTo>
                <a:lnTo>
                  <a:pt x="934" y="648"/>
                </a:lnTo>
                <a:lnTo>
                  <a:pt x="936" y="647"/>
                </a:lnTo>
                <a:lnTo>
                  <a:pt x="937" y="647"/>
                </a:lnTo>
                <a:lnTo>
                  <a:pt x="937" y="647"/>
                </a:lnTo>
                <a:lnTo>
                  <a:pt x="937" y="648"/>
                </a:lnTo>
                <a:lnTo>
                  <a:pt x="937" y="650"/>
                </a:lnTo>
                <a:lnTo>
                  <a:pt x="934" y="651"/>
                </a:lnTo>
                <a:lnTo>
                  <a:pt x="934" y="651"/>
                </a:lnTo>
                <a:lnTo>
                  <a:pt x="936" y="652"/>
                </a:lnTo>
                <a:lnTo>
                  <a:pt x="939" y="652"/>
                </a:lnTo>
                <a:lnTo>
                  <a:pt x="940" y="650"/>
                </a:lnTo>
                <a:lnTo>
                  <a:pt x="944" y="641"/>
                </a:lnTo>
                <a:lnTo>
                  <a:pt x="944" y="641"/>
                </a:lnTo>
                <a:lnTo>
                  <a:pt x="946" y="640"/>
                </a:lnTo>
                <a:lnTo>
                  <a:pt x="947" y="642"/>
                </a:lnTo>
                <a:lnTo>
                  <a:pt x="949" y="644"/>
                </a:lnTo>
                <a:lnTo>
                  <a:pt x="949" y="644"/>
                </a:lnTo>
                <a:lnTo>
                  <a:pt x="949" y="644"/>
                </a:lnTo>
                <a:lnTo>
                  <a:pt x="953" y="640"/>
                </a:lnTo>
                <a:lnTo>
                  <a:pt x="960" y="635"/>
                </a:lnTo>
                <a:lnTo>
                  <a:pt x="960" y="635"/>
                </a:lnTo>
                <a:lnTo>
                  <a:pt x="967" y="632"/>
                </a:lnTo>
                <a:lnTo>
                  <a:pt x="967" y="632"/>
                </a:lnTo>
                <a:lnTo>
                  <a:pt x="970" y="632"/>
                </a:lnTo>
                <a:lnTo>
                  <a:pt x="973" y="632"/>
                </a:lnTo>
                <a:lnTo>
                  <a:pt x="973" y="632"/>
                </a:lnTo>
                <a:lnTo>
                  <a:pt x="974" y="628"/>
                </a:lnTo>
                <a:lnTo>
                  <a:pt x="971" y="625"/>
                </a:lnTo>
                <a:lnTo>
                  <a:pt x="971" y="625"/>
                </a:lnTo>
                <a:lnTo>
                  <a:pt x="973" y="624"/>
                </a:lnTo>
                <a:lnTo>
                  <a:pt x="974" y="624"/>
                </a:lnTo>
                <a:lnTo>
                  <a:pt x="979" y="627"/>
                </a:lnTo>
                <a:lnTo>
                  <a:pt x="979" y="627"/>
                </a:lnTo>
                <a:lnTo>
                  <a:pt x="979" y="624"/>
                </a:lnTo>
                <a:lnTo>
                  <a:pt x="979" y="621"/>
                </a:lnTo>
                <a:lnTo>
                  <a:pt x="981" y="620"/>
                </a:lnTo>
                <a:lnTo>
                  <a:pt x="990" y="620"/>
                </a:lnTo>
                <a:lnTo>
                  <a:pt x="990" y="620"/>
                </a:lnTo>
                <a:lnTo>
                  <a:pt x="990" y="618"/>
                </a:lnTo>
                <a:lnTo>
                  <a:pt x="989" y="618"/>
                </a:lnTo>
                <a:lnTo>
                  <a:pt x="987" y="617"/>
                </a:lnTo>
                <a:lnTo>
                  <a:pt x="989" y="615"/>
                </a:lnTo>
                <a:lnTo>
                  <a:pt x="989" y="615"/>
                </a:lnTo>
                <a:lnTo>
                  <a:pt x="989" y="615"/>
                </a:lnTo>
                <a:lnTo>
                  <a:pt x="990" y="615"/>
                </a:lnTo>
                <a:lnTo>
                  <a:pt x="990" y="618"/>
                </a:lnTo>
                <a:lnTo>
                  <a:pt x="990" y="618"/>
                </a:lnTo>
                <a:lnTo>
                  <a:pt x="991" y="615"/>
                </a:lnTo>
                <a:lnTo>
                  <a:pt x="991" y="614"/>
                </a:lnTo>
                <a:lnTo>
                  <a:pt x="991" y="611"/>
                </a:lnTo>
                <a:lnTo>
                  <a:pt x="994" y="610"/>
                </a:lnTo>
                <a:lnTo>
                  <a:pt x="994" y="610"/>
                </a:lnTo>
                <a:lnTo>
                  <a:pt x="997" y="615"/>
                </a:lnTo>
                <a:lnTo>
                  <a:pt x="1001" y="622"/>
                </a:lnTo>
                <a:lnTo>
                  <a:pt x="1001" y="622"/>
                </a:lnTo>
                <a:lnTo>
                  <a:pt x="1001" y="621"/>
                </a:lnTo>
                <a:lnTo>
                  <a:pt x="1000" y="618"/>
                </a:lnTo>
                <a:lnTo>
                  <a:pt x="996" y="614"/>
                </a:lnTo>
                <a:lnTo>
                  <a:pt x="996" y="614"/>
                </a:lnTo>
                <a:lnTo>
                  <a:pt x="999" y="613"/>
                </a:lnTo>
                <a:lnTo>
                  <a:pt x="1000" y="613"/>
                </a:lnTo>
                <a:lnTo>
                  <a:pt x="1003" y="614"/>
                </a:lnTo>
                <a:lnTo>
                  <a:pt x="1004" y="614"/>
                </a:lnTo>
                <a:lnTo>
                  <a:pt x="1004" y="614"/>
                </a:lnTo>
                <a:lnTo>
                  <a:pt x="1001" y="610"/>
                </a:lnTo>
                <a:lnTo>
                  <a:pt x="1000" y="604"/>
                </a:lnTo>
                <a:lnTo>
                  <a:pt x="1000" y="604"/>
                </a:lnTo>
                <a:lnTo>
                  <a:pt x="1000" y="603"/>
                </a:lnTo>
                <a:lnTo>
                  <a:pt x="1001" y="603"/>
                </a:lnTo>
                <a:lnTo>
                  <a:pt x="1003" y="603"/>
                </a:lnTo>
                <a:lnTo>
                  <a:pt x="1006" y="604"/>
                </a:lnTo>
                <a:lnTo>
                  <a:pt x="1006" y="604"/>
                </a:lnTo>
                <a:lnTo>
                  <a:pt x="1004" y="605"/>
                </a:lnTo>
                <a:lnTo>
                  <a:pt x="1003" y="605"/>
                </a:lnTo>
                <a:lnTo>
                  <a:pt x="1000" y="605"/>
                </a:lnTo>
                <a:lnTo>
                  <a:pt x="1000" y="605"/>
                </a:lnTo>
                <a:lnTo>
                  <a:pt x="1003" y="608"/>
                </a:lnTo>
                <a:lnTo>
                  <a:pt x="1004" y="611"/>
                </a:lnTo>
                <a:lnTo>
                  <a:pt x="1004" y="611"/>
                </a:lnTo>
                <a:lnTo>
                  <a:pt x="1006" y="608"/>
                </a:lnTo>
                <a:lnTo>
                  <a:pt x="1007" y="607"/>
                </a:lnTo>
                <a:lnTo>
                  <a:pt x="1013" y="607"/>
                </a:lnTo>
                <a:lnTo>
                  <a:pt x="1013" y="607"/>
                </a:lnTo>
                <a:lnTo>
                  <a:pt x="1010" y="601"/>
                </a:lnTo>
                <a:lnTo>
                  <a:pt x="1007" y="598"/>
                </a:lnTo>
                <a:lnTo>
                  <a:pt x="1004" y="595"/>
                </a:lnTo>
                <a:lnTo>
                  <a:pt x="1004" y="595"/>
                </a:lnTo>
                <a:lnTo>
                  <a:pt x="1010" y="595"/>
                </a:lnTo>
                <a:lnTo>
                  <a:pt x="1014" y="595"/>
                </a:lnTo>
                <a:lnTo>
                  <a:pt x="1014" y="595"/>
                </a:lnTo>
                <a:lnTo>
                  <a:pt x="1016" y="597"/>
                </a:lnTo>
                <a:lnTo>
                  <a:pt x="1016" y="600"/>
                </a:lnTo>
                <a:lnTo>
                  <a:pt x="1013" y="601"/>
                </a:lnTo>
                <a:lnTo>
                  <a:pt x="1013" y="601"/>
                </a:lnTo>
                <a:lnTo>
                  <a:pt x="1013" y="603"/>
                </a:lnTo>
                <a:lnTo>
                  <a:pt x="1014" y="604"/>
                </a:lnTo>
                <a:lnTo>
                  <a:pt x="1019" y="607"/>
                </a:lnTo>
                <a:lnTo>
                  <a:pt x="1019" y="607"/>
                </a:lnTo>
                <a:lnTo>
                  <a:pt x="1019" y="605"/>
                </a:lnTo>
                <a:lnTo>
                  <a:pt x="1019" y="604"/>
                </a:lnTo>
                <a:lnTo>
                  <a:pt x="1017" y="604"/>
                </a:lnTo>
                <a:lnTo>
                  <a:pt x="1017" y="603"/>
                </a:lnTo>
                <a:lnTo>
                  <a:pt x="1017" y="603"/>
                </a:lnTo>
                <a:lnTo>
                  <a:pt x="1020" y="601"/>
                </a:lnTo>
                <a:lnTo>
                  <a:pt x="1023" y="600"/>
                </a:lnTo>
                <a:lnTo>
                  <a:pt x="1023" y="600"/>
                </a:lnTo>
                <a:lnTo>
                  <a:pt x="1024" y="601"/>
                </a:lnTo>
                <a:lnTo>
                  <a:pt x="1027" y="604"/>
                </a:lnTo>
                <a:lnTo>
                  <a:pt x="1027" y="604"/>
                </a:lnTo>
                <a:lnTo>
                  <a:pt x="1026" y="598"/>
                </a:lnTo>
                <a:lnTo>
                  <a:pt x="1024" y="594"/>
                </a:lnTo>
                <a:lnTo>
                  <a:pt x="1024" y="594"/>
                </a:lnTo>
                <a:lnTo>
                  <a:pt x="1023" y="590"/>
                </a:lnTo>
                <a:lnTo>
                  <a:pt x="1023" y="588"/>
                </a:lnTo>
                <a:lnTo>
                  <a:pt x="1024" y="587"/>
                </a:lnTo>
                <a:lnTo>
                  <a:pt x="1024" y="587"/>
                </a:lnTo>
                <a:lnTo>
                  <a:pt x="1021" y="587"/>
                </a:lnTo>
                <a:lnTo>
                  <a:pt x="1020" y="587"/>
                </a:lnTo>
                <a:lnTo>
                  <a:pt x="1020" y="587"/>
                </a:lnTo>
                <a:lnTo>
                  <a:pt x="1020" y="581"/>
                </a:lnTo>
                <a:lnTo>
                  <a:pt x="1023" y="578"/>
                </a:lnTo>
                <a:lnTo>
                  <a:pt x="1023" y="578"/>
                </a:lnTo>
                <a:lnTo>
                  <a:pt x="1026" y="575"/>
                </a:lnTo>
                <a:lnTo>
                  <a:pt x="1030" y="573"/>
                </a:lnTo>
                <a:lnTo>
                  <a:pt x="1030" y="573"/>
                </a:lnTo>
                <a:lnTo>
                  <a:pt x="1037" y="568"/>
                </a:lnTo>
                <a:lnTo>
                  <a:pt x="1039" y="565"/>
                </a:lnTo>
                <a:lnTo>
                  <a:pt x="1039" y="561"/>
                </a:lnTo>
                <a:lnTo>
                  <a:pt x="1039" y="561"/>
                </a:lnTo>
                <a:lnTo>
                  <a:pt x="1043" y="563"/>
                </a:lnTo>
                <a:lnTo>
                  <a:pt x="1043" y="560"/>
                </a:lnTo>
                <a:lnTo>
                  <a:pt x="1043" y="560"/>
                </a:lnTo>
                <a:lnTo>
                  <a:pt x="1047" y="563"/>
                </a:lnTo>
                <a:lnTo>
                  <a:pt x="1049" y="567"/>
                </a:lnTo>
                <a:lnTo>
                  <a:pt x="1050" y="574"/>
                </a:lnTo>
                <a:lnTo>
                  <a:pt x="1050" y="574"/>
                </a:lnTo>
                <a:lnTo>
                  <a:pt x="1047" y="571"/>
                </a:lnTo>
                <a:lnTo>
                  <a:pt x="1046" y="568"/>
                </a:lnTo>
                <a:lnTo>
                  <a:pt x="1046" y="568"/>
                </a:lnTo>
                <a:lnTo>
                  <a:pt x="1039" y="571"/>
                </a:lnTo>
                <a:lnTo>
                  <a:pt x="1034" y="574"/>
                </a:lnTo>
                <a:lnTo>
                  <a:pt x="1034" y="577"/>
                </a:lnTo>
                <a:lnTo>
                  <a:pt x="1034" y="580"/>
                </a:lnTo>
                <a:lnTo>
                  <a:pt x="1034" y="580"/>
                </a:lnTo>
                <a:lnTo>
                  <a:pt x="1039" y="577"/>
                </a:lnTo>
                <a:lnTo>
                  <a:pt x="1043" y="575"/>
                </a:lnTo>
                <a:lnTo>
                  <a:pt x="1043" y="575"/>
                </a:lnTo>
                <a:lnTo>
                  <a:pt x="1049" y="574"/>
                </a:lnTo>
                <a:lnTo>
                  <a:pt x="1053" y="571"/>
                </a:lnTo>
                <a:lnTo>
                  <a:pt x="1053" y="571"/>
                </a:lnTo>
                <a:lnTo>
                  <a:pt x="1056" y="574"/>
                </a:lnTo>
                <a:lnTo>
                  <a:pt x="1059" y="575"/>
                </a:lnTo>
                <a:lnTo>
                  <a:pt x="1059" y="575"/>
                </a:lnTo>
                <a:lnTo>
                  <a:pt x="1057" y="574"/>
                </a:lnTo>
                <a:lnTo>
                  <a:pt x="1054" y="571"/>
                </a:lnTo>
                <a:lnTo>
                  <a:pt x="1051" y="570"/>
                </a:lnTo>
                <a:lnTo>
                  <a:pt x="1051" y="567"/>
                </a:lnTo>
                <a:lnTo>
                  <a:pt x="1051" y="567"/>
                </a:lnTo>
                <a:lnTo>
                  <a:pt x="1053" y="568"/>
                </a:lnTo>
                <a:lnTo>
                  <a:pt x="1053" y="567"/>
                </a:lnTo>
                <a:lnTo>
                  <a:pt x="1056" y="564"/>
                </a:lnTo>
                <a:lnTo>
                  <a:pt x="1057" y="561"/>
                </a:lnTo>
                <a:lnTo>
                  <a:pt x="1059" y="561"/>
                </a:lnTo>
                <a:lnTo>
                  <a:pt x="1061" y="561"/>
                </a:lnTo>
                <a:lnTo>
                  <a:pt x="1061" y="561"/>
                </a:lnTo>
                <a:lnTo>
                  <a:pt x="1060" y="560"/>
                </a:lnTo>
                <a:lnTo>
                  <a:pt x="1059" y="560"/>
                </a:lnTo>
                <a:lnTo>
                  <a:pt x="1059" y="560"/>
                </a:lnTo>
                <a:lnTo>
                  <a:pt x="1059" y="558"/>
                </a:lnTo>
                <a:lnTo>
                  <a:pt x="1060" y="558"/>
                </a:lnTo>
                <a:lnTo>
                  <a:pt x="1063" y="558"/>
                </a:lnTo>
                <a:lnTo>
                  <a:pt x="1064" y="557"/>
                </a:lnTo>
                <a:lnTo>
                  <a:pt x="1064" y="557"/>
                </a:lnTo>
                <a:lnTo>
                  <a:pt x="1060" y="557"/>
                </a:lnTo>
                <a:lnTo>
                  <a:pt x="1060" y="557"/>
                </a:lnTo>
                <a:lnTo>
                  <a:pt x="1060" y="555"/>
                </a:lnTo>
                <a:lnTo>
                  <a:pt x="1060" y="555"/>
                </a:lnTo>
                <a:lnTo>
                  <a:pt x="1061" y="555"/>
                </a:lnTo>
                <a:lnTo>
                  <a:pt x="1063" y="554"/>
                </a:lnTo>
                <a:lnTo>
                  <a:pt x="1063" y="554"/>
                </a:lnTo>
                <a:lnTo>
                  <a:pt x="1061" y="554"/>
                </a:lnTo>
                <a:lnTo>
                  <a:pt x="1060" y="554"/>
                </a:lnTo>
                <a:lnTo>
                  <a:pt x="1060" y="554"/>
                </a:lnTo>
                <a:lnTo>
                  <a:pt x="1060" y="553"/>
                </a:lnTo>
                <a:lnTo>
                  <a:pt x="1060" y="551"/>
                </a:lnTo>
                <a:lnTo>
                  <a:pt x="1061" y="548"/>
                </a:lnTo>
                <a:lnTo>
                  <a:pt x="1060" y="547"/>
                </a:lnTo>
                <a:lnTo>
                  <a:pt x="1060" y="547"/>
                </a:lnTo>
                <a:lnTo>
                  <a:pt x="1066" y="548"/>
                </a:lnTo>
                <a:lnTo>
                  <a:pt x="1067" y="547"/>
                </a:lnTo>
                <a:lnTo>
                  <a:pt x="1066" y="544"/>
                </a:lnTo>
                <a:lnTo>
                  <a:pt x="1066" y="544"/>
                </a:lnTo>
                <a:lnTo>
                  <a:pt x="1074" y="540"/>
                </a:lnTo>
                <a:lnTo>
                  <a:pt x="1074" y="540"/>
                </a:lnTo>
                <a:lnTo>
                  <a:pt x="1081" y="533"/>
                </a:lnTo>
                <a:lnTo>
                  <a:pt x="1081" y="533"/>
                </a:lnTo>
                <a:lnTo>
                  <a:pt x="1087" y="525"/>
                </a:lnTo>
                <a:lnTo>
                  <a:pt x="1093" y="518"/>
                </a:lnTo>
                <a:lnTo>
                  <a:pt x="1097" y="521"/>
                </a:lnTo>
                <a:lnTo>
                  <a:pt x="1097" y="521"/>
                </a:lnTo>
                <a:lnTo>
                  <a:pt x="1097" y="514"/>
                </a:lnTo>
                <a:lnTo>
                  <a:pt x="1100" y="508"/>
                </a:lnTo>
                <a:lnTo>
                  <a:pt x="1100" y="508"/>
                </a:lnTo>
                <a:lnTo>
                  <a:pt x="1104" y="504"/>
                </a:lnTo>
                <a:lnTo>
                  <a:pt x="1104" y="504"/>
                </a:lnTo>
                <a:lnTo>
                  <a:pt x="1107" y="498"/>
                </a:lnTo>
                <a:lnTo>
                  <a:pt x="1107" y="498"/>
                </a:lnTo>
                <a:lnTo>
                  <a:pt x="1108" y="503"/>
                </a:lnTo>
                <a:lnTo>
                  <a:pt x="1108" y="505"/>
                </a:lnTo>
                <a:lnTo>
                  <a:pt x="1108" y="505"/>
                </a:lnTo>
                <a:lnTo>
                  <a:pt x="1108" y="508"/>
                </a:lnTo>
                <a:lnTo>
                  <a:pt x="1106" y="511"/>
                </a:lnTo>
                <a:lnTo>
                  <a:pt x="1106" y="511"/>
                </a:lnTo>
                <a:lnTo>
                  <a:pt x="1101" y="517"/>
                </a:lnTo>
                <a:lnTo>
                  <a:pt x="1101" y="517"/>
                </a:lnTo>
                <a:lnTo>
                  <a:pt x="1097" y="524"/>
                </a:lnTo>
                <a:lnTo>
                  <a:pt x="1097" y="524"/>
                </a:lnTo>
                <a:lnTo>
                  <a:pt x="1096" y="528"/>
                </a:lnTo>
                <a:lnTo>
                  <a:pt x="1096" y="533"/>
                </a:lnTo>
                <a:lnTo>
                  <a:pt x="1096" y="537"/>
                </a:lnTo>
                <a:lnTo>
                  <a:pt x="1093" y="540"/>
                </a:lnTo>
                <a:close/>
                <a:moveTo>
                  <a:pt x="1118" y="474"/>
                </a:moveTo>
                <a:lnTo>
                  <a:pt x="1118" y="474"/>
                </a:lnTo>
                <a:lnTo>
                  <a:pt x="1121" y="478"/>
                </a:lnTo>
                <a:lnTo>
                  <a:pt x="1121" y="481"/>
                </a:lnTo>
                <a:lnTo>
                  <a:pt x="1120" y="484"/>
                </a:lnTo>
                <a:lnTo>
                  <a:pt x="1118" y="488"/>
                </a:lnTo>
                <a:lnTo>
                  <a:pt x="1118" y="488"/>
                </a:lnTo>
                <a:lnTo>
                  <a:pt x="1116" y="491"/>
                </a:lnTo>
                <a:lnTo>
                  <a:pt x="1116" y="491"/>
                </a:lnTo>
                <a:lnTo>
                  <a:pt x="1114" y="494"/>
                </a:lnTo>
                <a:lnTo>
                  <a:pt x="1114" y="494"/>
                </a:lnTo>
                <a:lnTo>
                  <a:pt x="1111" y="497"/>
                </a:lnTo>
                <a:lnTo>
                  <a:pt x="1111" y="500"/>
                </a:lnTo>
                <a:lnTo>
                  <a:pt x="1111" y="500"/>
                </a:lnTo>
                <a:lnTo>
                  <a:pt x="1110" y="497"/>
                </a:lnTo>
                <a:lnTo>
                  <a:pt x="1110" y="493"/>
                </a:lnTo>
                <a:lnTo>
                  <a:pt x="1111" y="485"/>
                </a:lnTo>
                <a:lnTo>
                  <a:pt x="1111" y="485"/>
                </a:lnTo>
                <a:lnTo>
                  <a:pt x="1118" y="474"/>
                </a:lnTo>
                <a:close/>
                <a:moveTo>
                  <a:pt x="879" y="373"/>
                </a:moveTo>
                <a:lnTo>
                  <a:pt x="879" y="373"/>
                </a:lnTo>
                <a:lnTo>
                  <a:pt x="882" y="376"/>
                </a:lnTo>
                <a:lnTo>
                  <a:pt x="882" y="376"/>
                </a:lnTo>
                <a:lnTo>
                  <a:pt x="880" y="377"/>
                </a:lnTo>
                <a:lnTo>
                  <a:pt x="880" y="378"/>
                </a:lnTo>
                <a:lnTo>
                  <a:pt x="880" y="378"/>
                </a:lnTo>
                <a:lnTo>
                  <a:pt x="877" y="374"/>
                </a:lnTo>
                <a:lnTo>
                  <a:pt x="877" y="373"/>
                </a:lnTo>
                <a:lnTo>
                  <a:pt x="879" y="373"/>
                </a:lnTo>
                <a:close/>
                <a:moveTo>
                  <a:pt x="1043" y="603"/>
                </a:moveTo>
                <a:lnTo>
                  <a:pt x="1043" y="603"/>
                </a:lnTo>
                <a:lnTo>
                  <a:pt x="1046" y="605"/>
                </a:lnTo>
                <a:lnTo>
                  <a:pt x="1043" y="608"/>
                </a:lnTo>
                <a:lnTo>
                  <a:pt x="1040" y="605"/>
                </a:lnTo>
                <a:lnTo>
                  <a:pt x="1040" y="605"/>
                </a:lnTo>
                <a:lnTo>
                  <a:pt x="1043" y="603"/>
                </a:lnTo>
                <a:close/>
                <a:moveTo>
                  <a:pt x="827" y="356"/>
                </a:moveTo>
                <a:lnTo>
                  <a:pt x="827" y="356"/>
                </a:lnTo>
                <a:lnTo>
                  <a:pt x="829" y="358"/>
                </a:lnTo>
                <a:lnTo>
                  <a:pt x="827" y="358"/>
                </a:lnTo>
                <a:lnTo>
                  <a:pt x="826" y="357"/>
                </a:lnTo>
                <a:lnTo>
                  <a:pt x="826" y="357"/>
                </a:lnTo>
                <a:lnTo>
                  <a:pt x="826" y="356"/>
                </a:lnTo>
                <a:lnTo>
                  <a:pt x="826" y="356"/>
                </a:lnTo>
                <a:lnTo>
                  <a:pt x="826" y="356"/>
                </a:lnTo>
                <a:lnTo>
                  <a:pt x="826" y="356"/>
                </a:lnTo>
                <a:lnTo>
                  <a:pt x="827" y="356"/>
                </a:lnTo>
                <a:close/>
                <a:moveTo>
                  <a:pt x="1021" y="594"/>
                </a:moveTo>
                <a:lnTo>
                  <a:pt x="1021" y="594"/>
                </a:lnTo>
                <a:lnTo>
                  <a:pt x="1020" y="593"/>
                </a:lnTo>
                <a:lnTo>
                  <a:pt x="1017" y="591"/>
                </a:lnTo>
                <a:lnTo>
                  <a:pt x="1014" y="585"/>
                </a:lnTo>
                <a:lnTo>
                  <a:pt x="1014" y="585"/>
                </a:lnTo>
                <a:lnTo>
                  <a:pt x="1017" y="585"/>
                </a:lnTo>
                <a:lnTo>
                  <a:pt x="1019" y="588"/>
                </a:lnTo>
                <a:lnTo>
                  <a:pt x="1021" y="594"/>
                </a:lnTo>
                <a:close/>
                <a:moveTo>
                  <a:pt x="1019" y="594"/>
                </a:moveTo>
                <a:lnTo>
                  <a:pt x="1019" y="594"/>
                </a:lnTo>
                <a:lnTo>
                  <a:pt x="1019" y="595"/>
                </a:lnTo>
                <a:lnTo>
                  <a:pt x="1019" y="597"/>
                </a:lnTo>
                <a:lnTo>
                  <a:pt x="1019" y="597"/>
                </a:lnTo>
                <a:lnTo>
                  <a:pt x="1016" y="594"/>
                </a:lnTo>
                <a:lnTo>
                  <a:pt x="1013" y="591"/>
                </a:lnTo>
                <a:lnTo>
                  <a:pt x="1013" y="591"/>
                </a:lnTo>
                <a:lnTo>
                  <a:pt x="1014" y="591"/>
                </a:lnTo>
                <a:lnTo>
                  <a:pt x="1016" y="591"/>
                </a:lnTo>
                <a:lnTo>
                  <a:pt x="1019" y="594"/>
                </a:lnTo>
                <a:close/>
                <a:moveTo>
                  <a:pt x="845" y="380"/>
                </a:moveTo>
                <a:lnTo>
                  <a:pt x="845" y="380"/>
                </a:lnTo>
                <a:lnTo>
                  <a:pt x="846" y="383"/>
                </a:lnTo>
                <a:lnTo>
                  <a:pt x="843" y="378"/>
                </a:lnTo>
                <a:lnTo>
                  <a:pt x="843" y="378"/>
                </a:lnTo>
                <a:lnTo>
                  <a:pt x="843" y="378"/>
                </a:lnTo>
                <a:lnTo>
                  <a:pt x="843" y="378"/>
                </a:lnTo>
                <a:lnTo>
                  <a:pt x="845" y="380"/>
                </a:lnTo>
                <a:close/>
                <a:moveTo>
                  <a:pt x="830" y="368"/>
                </a:moveTo>
                <a:lnTo>
                  <a:pt x="830" y="368"/>
                </a:lnTo>
                <a:lnTo>
                  <a:pt x="829" y="368"/>
                </a:lnTo>
                <a:lnTo>
                  <a:pt x="829" y="368"/>
                </a:lnTo>
                <a:lnTo>
                  <a:pt x="829" y="370"/>
                </a:lnTo>
                <a:lnTo>
                  <a:pt x="829" y="370"/>
                </a:lnTo>
                <a:lnTo>
                  <a:pt x="827" y="366"/>
                </a:lnTo>
                <a:lnTo>
                  <a:pt x="827" y="366"/>
                </a:lnTo>
                <a:lnTo>
                  <a:pt x="827" y="366"/>
                </a:lnTo>
                <a:lnTo>
                  <a:pt x="827" y="366"/>
                </a:lnTo>
                <a:lnTo>
                  <a:pt x="830" y="368"/>
                </a:lnTo>
                <a:close/>
                <a:moveTo>
                  <a:pt x="1026" y="655"/>
                </a:moveTo>
                <a:lnTo>
                  <a:pt x="1026" y="655"/>
                </a:lnTo>
                <a:lnTo>
                  <a:pt x="1026" y="658"/>
                </a:lnTo>
                <a:lnTo>
                  <a:pt x="1024" y="660"/>
                </a:lnTo>
                <a:lnTo>
                  <a:pt x="1020" y="661"/>
                </a:lnTo>
                <a:lnTo>
                  <a:pt x="1020" y="661"/>
                </a:lnTo>
                <a:lnTo>
                  <a:pt x="1020" y="658"/>
                </a:lnTo>
                <a:lnTo>
                  <a:pt x="1021" y="657"/>
                </a:lnTo>
                <a:lnTo>
                  <a:pt x="1021" y="657"/>
                </a:lnTo>
                <a:lnTo>
                  <a:pt x="1023" y="657"/>
                </a:lnTo>
                <a:lnTo>
                  <a:pt x="1026" y="655"/>
                </a:lnTo>
                <a:close/>
                <a:moveTo>
                  <a:pt x="822" y="357"/>
                </a:moveTo>
                <a:lnTo>
                  <a:pt x="822" y="357"/>
                </a:lnTo>
                <a:lnTo>
                  <a:pt x="823" y="360"/>
                </a:lnTo>
                <a:lnTo>
                  <a:pt x="823" y="361"/>
                </a:lnTo>
                <a:lnTo>
                  <a:pt x="823" y="363"/>
                </a:lnTo>
                <a:lnTo>
                  <a:pt x="823" y="363"/>
                </a:lnTo>
                <a:lnTo>
                  <a:pt x="820" y="357"/>
                </a:lnTo>
                <a:lnTo>
                  <a:pt x="820" y="357"/>
                </a:lnTo>
                <a:lnTo>
                  <a:pt x="820" y="357"/>
                </a:lnTo>
                <a:lnTo>
                  <a:pt x="822" y="357"/>
                </a:lnTo>
                <a:close/>
                <a:moveTo>
                  <a:pt x="1168" y="919"/>
                </a:moveTo>
                <a:lnTo>
                  <a:pt x="1168" y="919"/>
                </a:lnTo>
                <a:lnTo>
                  <a:pt x="1168" y="921"/>
                </a:lnTo>
                <a:lnTo>
                  <a:pt x="1168" y="924"/>
                </a:lnTo>
                <a:lnTo>
                  <a:pt x="1167" y="925"/>
                </a:lnTo>
                <a:lnTo>
                  <a:pt x="1168" y="928"/>
                </a:lnTo>
                <a:lnTo>
                  <a:pt x="1168" y="928"/>
                </a:lnTo>
                <a:lnTo>
                  <a:pt x="1165" y="928"/>
                </a:lnTo>
                <a:lnTo>
                  <a:pt x="1164" y="927"/>
                </a:lnTo>
                <a:lnTo>
                  <a:pt x="1163" y="927"/>
                </a:lnTo>
                <a:lnTo>
                  <a:pt x="1160" y="928"/>
                </a:lnTo>
                <a:lnTo>
                  <a:pt x="1160" y="928"/>
                </a:lnTo>
                <a:lnTo>
                  <a:pt x="1160" y="927"/>
                </a:lnTo>
                <a:lnTo>
                  <a:pt x="1163" y="924"/>
                </a:lnTo>
                <a:lnTo>
                  <a:pt x="1168" y="919"/>
                </a:lnTo>
                <a:close/>
                <a:moveTo>
                  <a:pt x="1153" y="927"/>
                </a:moveTo>
                <a:lnTo>
                  <a:pt x="1153" y="927"/>
                </a:lnTo>
                <a:lnTo>
                  <a:pt x="1144" y="934"/>
                </a:lnTo>
                <a:lnTo>
                  <a:pt x="1138" y="936"/>
                </a:lnTo>
                <a:lnTo>
                  <a:pt x="1133" y="939"/>
                </a:lnTo>
                <a:lnTo>
                  <a:pt x="1133" y="939"/>
                </a:lnTo>
                <a:lnTo>
                  <a:pt x="1134" y="936"/>
                </a:lnTo>
                <a:lnTo>
                  <a:pt x="1136" y="934"/>
                </a:lnTo>
                <a:lnTo>
                  <a:pt x="1140" y="931"/>
                </a:lnTo>
                <a:lnTo>
                  <a:pt x="1153" y="927"/>
                </a:lnTo>
                <a:close/>
                <a:moveTo>
                  <a:pt x="1168" y="962"/>
                </a:moveTo>
                <a:lnTo>
                  <a:pt x="1168" y="962"/>
                </a:lnTo>
                <a:lnTo>
                  <a:pt x="1164" y="964"/>
                </a:lnTo>
                <a:lnTo>
                  <a:pt x="1161" y="965"/>
                </a:lnTo>
                <a:lnTo>
                  <a:pt x="1158" y="968"/>
                </a:lnTo>
                <a:lnTo>
                  <a:pt x="1157" y="968"/>
                </a:lnTo>
                <a:lnTo>
                  <a:pt x="1157" y="968"/>
                </a:lnTo>
                <a:lnTo>
                  <a:pt x="1155" y="966"/>
                </a:lnTo>
                <a:lnTo>
                  <a:pt x="1157" y="964"/>
                </a:lnTo>
                <a:lnTo>
                  <a:pt x="1161" y="961"/>
                </a:lnTo>
                <a:lnTo>
                  <a:pt x="1165" y="959"/>
                </a:lnTo>
                <a:lnTo>
                  <a:pt x="1167" y="961"/>
                </a:lnTo>
                <a:lnTo>
                  <a:pt x="1168" y="962"/>
                </a:lnTo>
                <a:close/>
                <a:moveTo>
                  <a:pt x="1148" y="934"/>
                </a:moveTo>
                <a:lnTo>
                  <a:pt x="1148" y="934"/>
                </a:lnTo>
                <a:lnTo>
                  <a:pt x="1148" y="936"/>
                </a:lnTo>
                <a:lnTo>
                  <a:pt x="1147" y="939"/>
                </a:lnTo>
                <a:lnTo>
                  <a:pt x="1144" y="941"/>
                </a:lnTo>
                <a:lnTo>
                  <a:pt x="1141" y="942"/>
                </a:lnTo>
                <a:lnTo>
                  <a:pt x="1141" y="942"/>
                </a:lnTo>
                <a:lnTo>
                  <a:pt x="1144" y="936"/>
                </a:lnTo>
                <a:lnTo>
                  <a:pt x="1146" y="934"/>
                </a:lnTo>
                <a:lnTo>
                  <a:pt x="1148" y="934"/>
                </a:lnTo>
                <a:close/>
                <a:moveTo>
                  <a:pt x="1124" y="946"/>
                </a:moveTo>
                <a:lnTo>
                  <a:pt x="1124" y="946"/>
                </a:lnTo>
                <a:lnTo>
                  <a:pt x="1121" y="949"/>
                </a:lnTo>
                <a:lnTo>
                  <a:pt x="1120" y="952"/>
                </a:lnTo>
                <a:lnTo>
                  <a:pt x="1117" y="955"/>
                </a:lnTo>
                <a:lnTo>
                  <a:pt x="1113" y="955"/>
                </a:lnTo>
                <a:lnTo>
                  <a:pt x="1113" y="955"/>
                </a:lnTo>
                <a:lnTo>
                  <a:pt x="1113" y="954"/>
                </a:lnTo>
                <a:lnTo>
                  <a:pt x="1114" y="952"/>
                </a:lnTo>
                <a:lnTo>
                  <a:pt x="1120" y="949"/>
                </a:lnTo>
                <a:lnTo>
                  <a:pt x="1120" y="949"/>
                </a:lnTo>
                <a:lnTo>
                  <a:pt x="1118" y="949"/>
                </a:lnTo>
                <a:lnTo>
                  <a:pt x="1116" y="949"/>
                </a:lnTo>
                <a:lnTo>
                  <a:pt x="1111" y="952"/>
                </a:lnTo>
                <a:lnTo>
                  <a:pt x="1111" y="952"/>
                </a:lnTo>
                <a:lnTo>
                  <a:pt x="1113" y="949"/>
                </a:lnTo>
                <a:lnTo>
                  <a:pt x="1116" y="948"/>
                </a:lnTo>
                <a:lnTo>
                  <a:pt x="1124" y="946"/>
                </a:lnTo>
                <a:close/>
                <a:moveTo>
                  <a:pt x="1076" y="981"/>
                </a:moveTo>
                <a:lnTo>
                  <a:pt x="1076" y="981"/>
                </a:lnTo>
                <a:lnTo>
                  <a:pt x="1076" y="982"/>
                </a:lnTo>
                <a:lnTo>
                  <a:pt x="1074" y="984"/>
                </a:lnTo>
                <a:lnTo>
                  <a:pt x="1070" y="986"/>
                </a:lnTo>
                <a:lnTo>
                  <a:pt x="1070" y="986"/>
                </a:lnTo>
                <a:lnTo>
                  <a:pt x="1064" y="988"/>
                </a:lnTo>
                <a:lnTo>
                  <a:pt x="1061" y="988"/>
                </a:lnTo>
                <a:lnTo>
                  <a:pt x="1060" y="989"/>
                </a:lnTo>
                <a:lnTo>
                  <a:pt x="1060" y="989"/>
                </a:lnTo>
                <a:lnTo>
                  <a:pt x="1063" y="986"/>
                </a:lnTo>
                <a:lnTo>
                  <a:pt x="1066" y="985"/>
                </a:lnTo>
                <a:lnTo>
                  <a:pt x="1066" y="985"/>
                </a:lnTo>
                <a:lnTo>
                  <a:pt x="1071" y="982"/>
                </a:lnTo>
                <a:lnTo>
                  <a:pt x="1076" y="981"/>
                </a:lnTo>
                <a:close/>
                <a:moveTo>
                  <a:pt x="1067" y="976"/>
                </a:moveTo>
                <a:lnTo>
                  <a:pt x="1067" y="976"/>
                </a:lnTo>
                <a:lnTo>
                  <a:pt x="1064" y="979"/>
                </a:lnTo>
                <a:lnTo>
                  <a:pt x="1060" y="982"/>
                </a:lnTo>
                <a:lnTo>
                  <a:pt x="1056" y="984"/>
                </a:lnTo>
                <a:lnTo>
                  <a:pt x="1051" y="984"/>
                </a:lnTo>
                <a:lnTo>
                  <a:pt x="1051" y="984"/>
                </a:lnTo>
                <a:lnTo>
                  <a:pt x="1051" y="982"/>
                </a:lnTo>
                <a:lnTo>
                  <a:pt x="1053" y="981"/>
                </a:lnTo>
                <a:lnTo>
                  <a:pt x="1054" y="981"/>
                </a:lnTo>
                <a:lnTo>
                  <a:pt x="1056" y="979"/>
                </a:lnTo>
                <a:lnTo>
                  <a:pt x="1056" y="976"/>
                </a:lnTo>
                <a:lnTo>
                  <a:pt x="1056" y="976"/>
                </a:lnTo>
                <a:lnTo>
                  <a:pt x="1060" y="978"/>
                </a:lnTo>
                <a:lnTo>
                  <a:pt x="1067" y="976"/>
                </a:lnTo>
                <a:close/>
                <a:moveTo>
                  <a:pt x="944" y="695"/>
                </a:moveTo>
                <a:lnTo>
                  <a:pt x="944" y="695"/>
                </a:lnTo>
                <a:lnTo>
                  <a:pt x="940" y="701"/>
                </a:lnTo>
                <a:lnTo>
                  <a:pt x="937" y="705"/>
                </a:lnTo>
                <a:lnTo>
                  <a:pt x="937" y="705"/>
                </a:lnTo>
                <a:lnTo>
                  <a:pt x="933" y="708"/>
                </a:lnTo>
                <a:lnTo>
                  <a:pt x="933" y="708"/>
                </a:lnTo>
                <a:lnTo>
                  <a:pt x="932" y="710"/>
                </a:lnTo>
                <a:lnTo>
                  <a:pt x="932" y="710"/>
                </a:lnTo>
                <a:lnTo>
                  <a:pt x="932" y="710"/>
                </a:lnTo>
                <a:lnTo>
                  <a:pt x="930" y="711"/>
                </a:lnTo>
                <a:lnTo>
                  <a:pt x="930" y="711"/>
                </a:lnTo>
                <a:lnTo>
                  <a:pt x="930" y="711"/>
                </a:lnTo>
                <a:lnTo>
                  <a:pt x="930" y="711"/>
                </a:lnTo>
                <a:lnTo>
                  <a:pt x="930" y="711"/>
                </a:lnTo>
                <a:lnTo>
                  <a:pt x="930" y="711"/>
                </a:lnTo>
                <a:lnTo>
                  <a:pt x="930" y="711"/>
                </a:lnTo>
                <a:lnTo>
                  <a:pt x="930" y="711"/>
                </a:lnTo>
                <a:lnTo>
                  <a:pt x="930" y="711"/>
                </a:lnTo>
                <a:lnTo>
                  <a:pt x="930" y="711"/>
                </a:lnTo>
                <a:lnTo>
                  <a:pt x="927" y="712"/>
                </a:lnTo>
                <a:lnTo>
                  <a:pt x="927" y="712"/>
                </a:lnTo>
                <a:lnTo>
                  <a:pt x="927" y="711"/>
                </a:lnTo>
                <a:lnTo>
                  <a:pt x="929" y="710"/>
                </a:lnTo>
                <a:lnTo>
                  <a:pt x="929" y="708"/>
                </a:lnTo>
                <a:lnTo>
                  <a:pt x="929" y="705"/>
                </a:lnTo>
                <a:lnTo>
                  <a:pt x="929" y="705"/>
                </a:lnTo>
                <a:lnTo>
                  <a:pt x="929" y="705"/>
                </a:lnTo>
                <a:lnTo>
                  <a:pt x="929" y="705"/>
                </a:lnTo>
                <a:lnTo>
                  <a:pt x="929" y="705"/>
                </a:lnTo>
                <a:lnTo>
                  <a:pt x="929" y="705"/>
                </a:lnTo>
                <a:lnTo>
                  <a:pt x="929" y="705"/>
                </a:lnTo>
                <a:lnTo>
                  <a:pt x="930" y="705"/>
                </a:lnTo>
                <a:lnTo>
                  <a:pt x="930" y="705"/>
                </a:lnTo>
                <a:lnTo>
                  <a:pt x="930" y="705"/>
                </a:lnTo>
                <a:lnTo>
                  <a:pt x="930" y="705"/>
                </a:lnTo>
                <a:lnTo>
                  <a:pt x="933" y="704"/>
                </a:lnTo>
                <a:lnTo>
                  <a:pt x="933" y="704"/>
                </a:lnTo>
                <a:lnTo>
                  <a:pt x="937" y="701"/>
                </a:lnTo>
                <a:lnTo>
                  <a:pt x="937" y="701"/>
                </a:lnTo>
                <a:lnTo>
                  <a:pt x="944" y="695"/>
                </a:lnTo>
                <a:close/>
                <a:moveTo>
                  <a:pt x="1057" y="988"/>
                </a:moveTo>
                <a:lnTo>
                  <a:pt x="1057" y="988"/>
                </a:lnTo>
                <a:lnTo>
                  <a:pt x="1054" y="991"/>
                </a:lnTo>
                <a:lnTo>
                  <a:pt x="1049" y="996"/>
                </a:lnTo>
                <a:lnTo>
                  <a:pt x="1046" y="998"/>
                </a:lnTo>
                <a:lnTo>
                  <a:pt x="1043" y="998"/>
                </a:lnTo>
                <a:lnTo>
                  <a:pt x="1039" y="998"/>
                </a:lnTo>
                <a:lnTo>
                  <a:pt x="1036" y="996"/>
                </a:lnTo>
                <a:lnTo>
                  <a:pt x="1036" y="996"/>
                </a:lnTo>
                <a:lnTo>
                  <a:pt x="1041" y="996"/>
                </a:lnTo>
                <a:lnTo>
                  <a:pt x="1047" y="994"/>
                </a:lnTo>
                <a:lnTo>
                  <a:pt x="1057" y="988"/>
                </a:lnTo>
                <a:close/>
                <a:moveTo>
                  <a:pt x="1044" y="979"/>
                </a:moveTo>
                <a:lnTo>
                  <a:pt x="1044" y="979"/>
                </a:lnTo>
                <a:lnTo>
                  <a:pt x="1044" y="982"/>
                </a:lnTo>
                <a:lnTo>
                  <a:pt x="1043" y="985"/>
                </a:lnTo>
                <a:lnTo>
                  <a:pt x="1041" y="986"/>
                </a:lnTo>
                <a:lnTo>
                  <a:pt x="1039" y="986"/>
                </a:lnTo>
                <a:lnTo>
                  <a:pt x="1039" y="986"/>
                </a:lnTo>
                <a:lnTo>
                  <a:pt x="1040" y="982"/>
                </a:lnTo>
                <a:lnTo>
                  <a:pt x="1041" y="981"/>
                </a:lnTo>
                <a:lnTo>
                  <a:pt x="1044" y="979"/>
                </a:lnTo>
                <a:close/>
                <a:moveTo>
                  <a:pt x="1039" y="988"/>
                </a:moveTo>
                <a:lnTo>
                  <a:pt x="1039" y="988"/>
                </a:lnTo>
                <a:lnTo>
                  <a:pt x="1034" y="991"/>
                </a:lnTo>
                <a:lnTo>
                  <a:pt x="1034" y="991"/>
                </a:lnTo>
                <a:lnTo>
                  <a:pt x="1031" y="992"/>
                </a:lnTo>
                <a:lnTo>
                  <a:pt x="1031" y="992"/>
                </a:lnTo>
                <a:lnTo>
                  <a:pt x="1030" y="994"/>
                </a:lnTo>
                <a:lnTo>
                  <a:pt x="1029" y="994"/>
                </a:lnTo>
                <a:lnTo>
                  <a:pt x="1029" y="994"/>
                </a:lnTo>
                <a:lnTo>
                  <a:pt x="1029" y="994"/>
                </a:lnTo>
                <a:lnTo>
                  <a:pt x="1021" y="996"/>
                </a:lnTo>
                <a:lnTo>
                  <a:pt x="1021" y="996"/>
                </a:lnTo>
                <a:lnTo>
                  <a:pt x="1021" y="996"/>
                </a:lnTo>
                <a:lnTo>
                  <a:pt x="1013" y="999"/>
                </a:lnTo>
                <a:lnTo>
                  <a:pt x="1013" y="999"/>
                </a:lnTo>
                <a:lnTo>
                  <a:pt x="1013" y="996"/>
                </a:lnTo>
                <a:lnTo>
                  <a:pt x="1014" y="995"/>
                </a:lnTo>
                <a:lnTo>
                  <a:pt x="1017" y="994"/>
                </a:lnTo>
                <a:lnTo>
                  <a:pt x="1017" y="994"/>
                </a:lnTo>
                <a:lnTo>
                  <a:pt x="1019" y="994"/>
                </a:lnTo>
                <a:lnTo>
                  <a:pt x="1019" y="994"/>
                </a:lnTo>
                <a:lnTo>
                  <a:pt x="1020" y="994"/>
                </a:lnTo>
                <a:lnTo>
                  <a:pt x="1020" y="994"/>
                </a:lnTo>
                <a:lnTo>
                  <a:pt x="1020" y="992"/>
                </a:lnTo>
                <a:lnTo>
                  <a:pt x="1020" y="992"/>
                </a:lnTo>
                <a:lnTo>
                  <a:pt x="1020" y="992"/>
                </a:lnTo>
                <a:lnTo>
                  <a:pt x="1020" y="992"/>
                </a:lnTo>
                <a:lnTo>
                  <a:pt x="1020" y="992"/>
                </a:lnTo>
                <a:lnTo>
                  <a:pt x="1020" y="992"/>
                </a:lnTo>
                <a:lnTo>
                  <a:pt x="1027" y="991"/>
                </a:lnTo>
                <a:lnTo>
                  <a:pt x="1027" y="991"/>
                </a:lnTo>
                <a:lnTo>
                  <a:pt x="1029" y="989"/>
                </a:lnTo>
                <a:lnTo>
                  <a:pt x="1029" y="989"/>
                </a:lnTo>
                <a:lnTo>
                  <a:pt x="1029" y="988"/>
                </a:lnTo>
                <a:lnTo>
                  <a:pt x="1029" y="985"/>
                </a:lnTo>
                <a:lnTo>
                  <a:pt x="1029" y="985"/>
                </a:lnTo>
                <a:lnTo>
                  <a:pt x="1033" y="984"/>
                </a:lnTo>
                <a:lnTo>
                  <a:pt x="1036" y="985"/>
                </a:lnTo>
                <a:lnTo>
                  <a:pt x="1036" y="985"/>
                </a:lnTo>
                <a:lnTo>
                  <a:pt x="1034" y="986"/>
                </a:lnTo>
                <a:lnTo>
                  <a:pt x="1034" y="989"/>
                </a:lnTo>
                <a:lnTo>
                  <a:pt x="1036" y="989"/>
                </a:lnTo>
                <a:lnTo>
                  <a:pt x="1039" y="988"/>
                </a:lnTo>
                <a:close/>
                <a:moveTo>
                  <a:pt x="803" y="380"/>
                </a:moveTo>
                <a:lnTo>
                  <a:pt x="803" y="380"/>
                </a:lnTo>
                <a:lnTo>
                  <a:pt x="805" y="383"/>
                </a:lnTo>
                <a:lnTo>
                  <a:pt x="806" y="383"/>
                </a:lnTo>
                <a:lnTo>
                  <a:pt x="806" y="383"/>
                </a:lnTo>
                <a:lnTo>
                  <a:pt x="803" y="378"/>
                </a:lnTo>
                <a:lnTo>
                  <a:pt x="803" y="380"/>
                </a:lnTo>
                <a:close/>
                <a:moveTo>
                  <a:pt x="1003" y="999"/>
                </a:moveTo>
                <a:lnTo>
                  <a:pt x="1003" y="999"/>
                </a:lnTo>
                <a:lnTo>
                  <a:pt x="1001" y="1001"/>
                </a:lnTo>
                <a:lnTo>
                  <a:pt x="1001" y="1001"/>
                </a:lnTo>
                <a:lnTo>
                  <a:pt x="1001" y="1001"/>
                </a:lnTo>
                <a:lnTo>
                  <a:pt x="1001" y="1001"/>
                </a:lnTo>
                <a:lnTo>
                  <a:pt x="1000" y="1001"/>
                </a:lnTo>
                <a:lnTo>
                  <a:pt x="1000" y="1001"/>
                </a:lnTo>
                <a:lnTo>
                  <a:pt x="1000" y="1001"/>
                </a:lnTo>
                <a:lnTo>
                  <a:pt x="993" y="1004"/>
                </a:lnTo>
                <a:lnTo>
                  <a:pt x="993" y="1004"/>
                </a:lnTo>
                <a:lnTo>
                  <a:pt x="979" y="1008"/>
                </a:lnTo>
                <a:lnTo>
                  <a:pt x="979" y="1008"/>
                </a:lnTo>
                <a:lnTo>
                  <a:pt x="963" y="1014"/>
                </a:lnTo>
                <a:lnTo>
                  <a:pt x="963" y="1014"/>
                </a:lnTo>
                <a:lnTo>
                  <a:pt x="959" y="1015"/>
                </a:lnTo>
                <a:lnTo>
                  <a:pt x="959" y="1015"/>
                </a:lnTo>
                <a:lnTo>
                  <a:pt x="954" y="1016"/>
                </a:lnTo>
                <a:lnTo>
                  <a:pt x="954" y="1016"/>
                </a:lnTo>
                <a:lnTo>
                  <a:pt x="947" y="1019"/>
                </a:lnTo>
                <a:lnTo>
                  <a:pt x="947" y="1019"/>
                </a:lnTo>
                <a:lnTo>
                  <a:pt x="949" y="1021"/>
                </a:lnTo>
                <a:lnTo>
                  <a:pt x="950" y="1022"/>
                </a:lnTo>
                <a:lnTo>
                  <a:pt x="953" y="1021"/>
                </a:lnTo>
                <a:lnTo>
                  <a:pt x="953" y="1021"/>
                </a:lnTo>
                <a:lnTo>
                  <a:pt x="957" y="1019"/>
                </a:lnTo>
                <a:lnTo>
                  <a:pt x="959" y="1019"/>
                </a:lnTo>
                <a:lnTo>
                  <a:pt x="960" y="1019"/>
                </a:lnTo>
                <a:lnTo>
                  <a:pt x="960" y="1019"/>
                </a:lnTo>
                <a:lnTo>
                  <a:pt x="960" y="1022"/>
                </a:lnTo>
                <a:lnTo>
                  <a:pt x="959" y="1022"/>
                </a:lnTo>
                <a:lnTo>
                  <a:pt x="956" y="1025"/>
                </a:lnTo>
                <a:lnTo>
                  <a:pt x="946" y="1026"/>
                </a:lnTo>
                <a:lnTo>
                  <a:pt x="946" y="1026"/>
                </a:lnTo>
                <a:lnTo>
                  <a:pt x="943" y="1024"/>
                </a:lnTo>
                <a:lnTo>
                  <a:pt x="943" y="1019"/>
                </a:lnTo>
                <a:lnTo>
                  <a:pt x="944" y="1016"/>
                </a:lnTo>
                <a:lnTo>
                  <a:pt x="943" y="1012"/>
                </a:lnTo>
                <a:lnTo>
                  <a:pt x="943" y="1012"/>
                </a:lnTo>
                <a:lnTo>
                  <a:pt x="957" y="1009"/>
                </a:lnTo>
                <a:lnTo>
                  <a:pt x="957" y="1009"/>
                </a:lnTo>
                <a:lnTo>
                  <a:pt x="973" y="1004"/>
                </a:lnTo>
                <a:lnTo>
                  <a:pt x="973" y="1004"/>
                </a:lnTo>
                <a:lnTo>
                  <a:pt x="989" y="1001"/>
                </a:lnTo>
                <a:lnTo>
                  <a:pt x="989" y="1001"/>
                </a:lnTo>
                <a:lnTo>
                  <a:pt x="997" y="999"/>
                </a:lnTo>
                <a:lnTo>
                  <a:pt x="997" y="999"/>
                </a:lnTo>
                <a:lnTo>
                  <a:pt x="999" y="999"/>
                </a:lnTo>
                <a:lnTo>
                  <a:pt x="1000" y="999"/>
                </a:lnTo>
                <a:lnTo>
                  <a:pt x="1000" y="999"/>
                </a:lnTo>
                <a:lnTo>
                  <a:pt x="1000" y="999"/>
                </a:lnTo>
                <a:lnTo>
                  <a:pt x="1001" y="999"/>
                </a:lnTo>
                <a:lnTo>
                  <a:pt x="1001" y="999"/>
                </a:lnTo>
                <a:lnTo>
                  <a:pt x="1003" y="999"/>
                </a:lnTo>
                <a:close/>
                <a:moveTo>
                  <a:pt x="883" y="694"/>
                </a:moveTo>
                <a:lnTo>
                  <a:pt x="883" y="694"/>
                </a:lnTo>
                <a:lnTo>
                  <a:pt x="883" y="698"/>
                </a:lnTo>
                <a:lnTo>
                  <a:pt x="880" y="700"/>
                </a:lnTo>
                <a:lnTo>
                  <a:pt x="873" y="702"/>
                </a:lnTo>
                <a:lnTo>
                  <a:pt x="873" y="702"/>
                </a:lnTo>
                <a:lnTo>
                  <a:pt x="875" y="697"/>
                </a:lnTo>
                <a:lnTo>
                  <a:pt x="876" y="695"/>
                </a:lnTo>
                <a:lnTo>
                  <a:pt x="879" y="694"/>
                </a:lnTo>
                <a:lnTo>
                  <a:pt x="883" y="694"/>
                </a:lnTo>
                <a:close/>
                <a:moveTo>
                  <a:pt x="873" y="708"/>
                </a:moveTo>
                <a:lnTo>
                  <a:pt x="873" y="708"/>
                </a:lnTo>
                <a:lnTo>
                  <a:pt x="873" y="711"/>
                </a:lnTo>
                <a:lnTo>
                  <a:pt x="872" y="712"/>
                </a:lnTo>
                <a:lnTo>
                  <a:pt x="867" y="714"/>
                </a:lnTo>
                <a:lnTo>
                  <a:pt x="867" y="714"/>
                </a:lnTo>
                <a:lnTo>
                  <a:pt x="866" y="712"/>
                </a:lnTo>
                <a:lnTo>
                  <a:pt x="866" y="712"/>
                </a:lnTo>
                <a:lnTo>
                  <a:pt x="870" y="711"/>
                </a:lnTo>
                <a:lnTo>
                  <a:pt x="870" y="711"/>
                </a:lnTo>
                <a:lnTo>
                  <a:pt x="870" y="710"/>
                </a:lnTo>
                <a:lnTo>
                  <a:pt x="873" y="708"/>
                </a:lnTo>
                <a:close/>
                <a:moveTo>
                  <a:pt x="922" y="1028"/>
                </a:moveTo>
                <a:lnTo>
                  <a:pt x="922" y="1028"/>
                </a:lnTo>
                <a:lnTo>
                  <a:pt x="923" y="1031"/>
                </a:lnTo>
                <a:lnTo>
                  <a:pt x="922" y="1031"/>
                </a:lnTo>
                <a:lnTo>
                  <a:pt x="919" y="1032"/>
                </a:lnTo>
                <a:lnTo>
                  <a:pt x="914" y="1034"/>
                </a:lnTo>
                <a:lnTo>
                  <a:pt x="910" y="1034"/>
                </a:lnTo>
                <a:lnTo>
                  <a:pt x="910" y="1034"/>
                </a:lnTo>
                <a:lnTo>
                  <a:pt x="912" y="1031"/>
                </a:lnTo>
                <a:lnTo>
                  <a:pt x="914" y="1031"/>
                </a:lnTo>
                <a:lnTo>
                  <a:pt x="922" y="1028"/>
                </a:lnTo>
                <a:close/>
                <a:moveTo>
                  <a:pt x="907" y="1026"/>
                </a:moveTo>
                <a:lnTo>
                  <a:pt x="907" y="1026"/>
                </a:lnTo>
                <a:lnTo>
                  <a:pt x="907" y="1029"/>
                </a:lnTo>
                <a:lnTo>
                  <a:pt x="904" y="1031"/>
                </a:lnTo>
                <a:lnTo>
                  <a:pt x="900" y="1034"/>
                </a:lnTo>
                <a:lnTo>
                  <a:pt x="900" y="1034"/>
                </a:lnTo>
                <a:lnTo>
                  <a:pt x="900" y="1031"/>
                </a:lnTo>
                <a:lnTo>
                  <a:pt x="900" y="1028"/>
                </a:lnTo>
                <a:lnTo>
                  <a:pt x="907" y="1026"/>
                </a:lnTo>
                <a:close/>
                <a:moveTo>
                  <a:pt x="867" y="1049"/>
                </a:moveTo>
                <a:lnTo>
                  <a:pt x="867" y="1049"/>
                </a:lnTo>
                <a:lnTo>
                  <a:pt x="865" y="1052"/>
                </a:lnTo>
                <a:lnTo>
                  <a:pt x="862" y="1054"/>
                </a:lnTo>
                <a:lnTo>
                  <a:pt x="860" y="1052"/>
                </a:lnTo>
                <a:lnTo>
                  <a:pt x="860" y="1052"/>
                </a:lnTo>
                <a:lnTo>
                  <a:pt x="859" y="1054"/>
                </a:lnTo>
                <a:lnTo>
                  <a:pt x="859" y="1055"/>
                </a:lnTo>
                <a:lnTo>
                  <a:pt x="859" y="1055"/>
                </a:lnTo>
                <a:lnTo>
                  <a:pt x="856" y="1055"/>
                </a:lnTo>
                <a:lnTo>
                  <a:pt x="856" y="1054"/>
                </a:lnTo>
                <a:lnTo>
                  <a:pt x="856" y="1049"/>
                </a:lnTo>
                <a:lnTo>
                  <a:pt x="856" y="1049"/>
                </a:lnTo>
                <a:lnTo>
                  <a:pt x="859" y="1049"/>
                </a:lnTo>
                <a:lnTo>
                  <a:pt x="862" y="1049"/>
                </a:lnTo>
                <a:lnTo>
                  <a:pt x="865" y="1051"/>
                </a:lnTo>
                <a:lnTo>
                  <a:pt x="867" y="1049"/>
                </a:lnTo>
                <a:close/>
                <a:moveTo>
                  <a:pt x="849" y="1049"/>
                </a:moveTo>
                <a:lnTo>
                  <a:pt x="849" y="1049"/>
                </a:lnTo>
                <a:lnTo>
                  <a:pt x="847" y="1052"/>
                </a:lnTo>
                <a:lnTo>
                  <a:pt x="849" y="1052"/>
                </a:lnTo>
                <a:lnTo>
                  <a:pt x="849" y="1054"/>
                </a:lnTo>
                <a:lnTo>
                  <a:pt x="849" y="1054"/>
                </a:lnTo>
                <a:lnTo>
                  <a:pt x="849" y="1055"/>
                </a:lnTo>
                <a:lnTo>
                  <a:pt x="846" y="1055"/>
                </a:lnTo>
                <a:lnTo>
                  <a:pt x="840" y="1055"/>
                </a:lnTo>
                <a:lnTo>
                  <a:pt x="840" y="1055"/>
                </a:lnTo>
                <a:lnTo>
                  <a:pt x="843" y="1052"/>
                </a:lnTo>
                <a:lnTo>
                  <a:pt x="846" y="1051"/>
                </a:lnTo>
                <a:lnTo>
                  <a:pt x="849" y="1049"/>
                </a:lnTo>
                <a:close/>
                <a:moveTo>
                  <a:pt x="806" y="1066"/>
                </a:moveTo>
                <a:lnTo>
                  <a:pt x="806" y="1066"/>
                </a:lnTo>
                <a:lnTo>
                  <a:pt x="805" y="1068"/>
                </a:lnTo>
                <a:lnTo>
                  <a:pt x="805" y="1069"/>
                </a:lnTo>
                <a:lnTo>
                  <a:pt x="800" y="1069"/>
                </a:lnTo>
                <a:lnTo>
                  <a:pt x="797" y="1069"/>
                </a:lnTo>
                <a:lnTo>
                  <a:pt x="793" y="1071"/>
                </a:lnTo>
                <a:lnTo>
                  <a:pt x="793" y="1071"/>
                </a:lnTo>
                <a:lnTo>
                  <a:pt x="793" y="1068"/>
                </a:lnTo>
                <a:lnTo>
                  <a:pt x="793" y="1068"/>
                </a:lnTo>
                <a:lnTo>
                  <a:pt x="797" y="1066"/>
                </a:lnTo>
                <a:lnTo>
                  <a:pt x="802" y="1066"/>
                </a:lnTo>
                <a:lnTo>
                  <a:pt x="806" y="1066"/>
                </a:lnTo>
                <a:close/>
                <a:moveTo>
                  <a:pt x="802" y="1121"/>
                </a:moveTo>
                <a:lnTo>
                  <a:pt x="802" y="1121"/>
                </a:lnTo>
                <a:lnTo>
                  <a:pt x="796" y="1119"/>
                </a:lnTo>
                <a:lnTo>
                  <a:pt x="792" y="1118"/>
                </a:lnTo>
                <a:lnTo>
                  <a:pt x="789" y="1113"/>
                </a:lnTo>
                <a:lnTo>
                  <a:pt x="788" y="1109"/>
                </a:lnTo>
                <a:lnTo>
                  <a:pt x="788" y="1109"/>
                </a:lnTo>
                <a:lnTo>
                  <a:pt x="792" y="1112"/>
                </a:lnTo>
                <a:lnTo>
                  <a:pt x="796" y="1113"/>
                </a:lnTo>
                <a:lnTo>
                  <a:pt x="800" y="1116"/>
                </a:lnTo>
                <a:lnTo>
                  <a:pt x="802" y="1121"/>
                </a:lnTo>
                <a:close/>
                <a:moveTo>
                  <a:pt x="797" y="1075"/>
                </a:moveTo>
                <a:lnTo>
                  <a:pt x="797" y="1075"/>
                </a:lnTo>
                <a:lnTo>
                  <a:pt x="790" y="1079"/>
                </a:lnTo>
                <a:lnTo>
                  <a:pt x="790" y="1079"/>
                </a:lnTo>
                <a:lnTo>
                  <a:pt x="790" y="1081"/>
                </a:lnTo>
                <a:lnTo>
                  <a:pt x="795" y="1082"/>
                </a:lnTo>
                <a:lnTo>
                  <a:pt x="795" y="1082"/>
                </a:lnTo>
                <a:lnTo>
                  <a:pt x="793" y="1084"/>
                </a:lnTo>
                <a:lnTo>
                  <a:pt x="792" y="1085"/>
                </a:lnTo>
                <a:lnTo>
                  <a:pt x="788" y="1085"/>
                </a:lnTo>
                <a:lnTo>
                  <a:pt x="782" y="1084"/>
                </a:lnTo>
                <a:lnTo>
                  <a:pt x="776" y="1084"/>
                </a:lnTo>
                <a:lnTo>
                  <a:pt x="776" y="1084"/>
                </a:lnTo>
                <a:lnTo>
                  <a:pt x="780" y="1081"/>
                </a:lnTo>
                <a:lnTo>
                  <a:pt x="785" y="1078"/>
                </a:lnTo>
                <a:lnTo>
                  <a:pt x="785" y="1078"/>
                </a:lnTo>
                <a:lnTo>
                  <a:pt x="797" y="1075"/>
                </a:lnTo>
                <a:close/>
                <a:moveTo>
                  <a:pt x="792" y="376"/>
                </a:moveTo>
                <a:lnTo>
                  <a:pt x="792" y="376"/>
                </a:lnTo>
                <a:lnTo>
                  <a:pt x="792" y="381"/>
                </a:lnTo>
                <a:lnTo>
                  <a:pt x="792" y="381"/>
                </a:lnTo>
                <a:lnTo>
                  <a:pt x="790" y="378"/>
                </a:lnTo>
                <a:lnTo>
                  <a:pt x="789" y="378"/>
                </a:lnTo>
                <a:lnTo>
                  <a:pt x="789" y="378"/>
                </a:lnTo>
                <a:lnTo>
                  <a:pt x="790" y="376"/>
                </a:lnTo>
                <a:lnTo>
                  <a:pt x="792" y="376"/>
                </a:lnTo>
                <a:close/>
                <a:moveTo>
                  <a:pt x="785" y="1111"/>
                </a:moveTo>
                <a:lnTo>
                  <a:pt x="785" y="1111"/>
                </a:lnTo>
                <a:lnTo>
                  <a:pt x="785" y="1112"/>
                </a:lnTo>
                <a:lnTo>
                  <a:pt x="783" y="1113"/>
                </a:lnTo>
                <a:lnTo>
                  <a:pt x="778" y="1115"/>
                </a:lnTo>
                <a:lnTo>
                  <a:pt x="778" y="1115"/>
                </a:lnTo>
                <a:lnTo>
                  <a:pt x="772" y="1113"/>
                </a:lnTo>
                <a:lnTo>
                  <a:pt x="770" y="1112"/>
                </a:lnTo>
                <a:lnTo>
                  <a:pt x="770" y="1111"/>
                </a:lnTo>
                <a:lnTo>
                  <a:pt x="770" y="1111"/>
                </a:lnTo>
                <a:lnTo>
                  <a:pt x="775" y="1111"/>
                </a:lnTo>
                <a:lnTo>
                  <a:pt x="778" y="1109"/>
                </a:lnTo>
                <a:lnTo>
                  <a:pt x="780" y="1109"/>
                </a:lnTo>
                <a:lnTo>
                  <a:pt x="785" y="1111"/>
                </a:lnTo>
                <a:close/>
                <a:moveTo>
                  <a:pt x="780" y="1072"/>
                </a:moveTo>
                <a:lnTo>
                  <a:pt x="780" y="1072"/>
                </a:lnTo>
                <a:lnTo>
                  <a:pt x="779" y="1074"/>
                </a:lnTo>
                <a:lnTo>
                  <a:pt x="778" y="1075"/>
                </a:lnTo>
                <a:lnTo>
                  <a:pt x="773" y="1075"/>
                </a:lnTo>
                <a:lnTo>
                  <a:pt x="769" y="1075"/>
                </a:lnTo>
                <a:lnTo>
                  <a:pt x="765" y="1074"/>
                </a:lnTo>
                <a:lnTo>
                  <a:pt x="765" y="1074"/>
                </a:lnTo>
                <a:lnTo>
                  <a:pt x="769" y="1072"/>
                </a:lnTo>
                <a:lnTo>
                  <a:pt x="772" y="1072"/>
                </a:lnTo>
                <a:lnTo>
                  <a:pt x="775" y="1072"/>
                </a:lnTo>
                <a:lnTo>
                  <a:pt x="780" y="1072"/>
                </a:lnTo>
                <a:close/>
                <a:moveTo>
                  <a:pt x="789" y="377"/>
                </a:moveTo>
                <a:lnTo>
                  <a:pt x="789" y="377"/>
                </a:lnTo>
                <a:lnTo>
                  <a:pt x="789" y="381"/>
                </a:lnTo>
                <a:lnTo>
                  <a:pt x="788" y="378"/>
                </a:lnTo>
                <a:lnTo>
                  <a:pt x="788" y="378"/>
                </a:lnTo>
                <a:lnTo>
                  <a:pt x="789" y="376"/>
                </a:lnTo>
                <a:lnTo>
                  <a:pt x="789" y="377"/>
                </a:lnTo>
                <a:close/>
                <a:moveTo>
                  <a:pt x="749" y="1088"/>
                </a:moveTo>
                <a:lnTo>
                  <a:pt x="749" y="1088"/>
                </a:lnTo>
                <a:lnTo>
                  <a:pt x="749" y="1091"/>
                </a:lnTo>
                <a:lnTo>
                  <a:pt x="746" y="1091"/>
                </a:lnTo>
                <a:lnTo>
                  <a:pt x="742" y="1091"/>
                </a:lnTo>
                <a:lnTo>
                  <a:pt x="740" y="1089"/>
                </a:lnTo>
                <a:lnTo>
                  <a:pt x="740" y="1089"/>
                </a:lnTo>
                <a:lnTo>
                  <a:pt x="743" y="1088"/>
                </a:lnTo>
                <a:lnTo>
                  <a:pt x="749" y="1088"/>
                </a:lnTo>
                <a:close/>
                <a:moveTo>
                  <a:pt x="710" y="1098"/>
                </a:moveTo>
                <a:lnTo>
                  <a:pt x="710" y="1098"/>
                </a:lnTo>
                <a:lnTo>
                  <a:pt x="700" y="1096"/>
                </a:lnTo>
                <a:lnTo>
                  <a:pt x="692" y="1098"/>
                </a:lnTo>
                <a:lnTo>
                  <a:pt x="692" y="1098"/>
                </a:lnTo>
                <a:lnTo>
                  <a:pt x="685" y="1098"/>
                </a:lnTo>
                <a:lnTo>
                  <a:pt x="678" y="1096"/>
                </a:lnTo>
                <a:lnTo>
                  <a:pt x="678" y="1096"/>
                </a:lnTo>
                <a:lnTo>
                  <a:pt x="678" y="1093"/>
                </a:lnTo>
                <a:lnTo>
                  <a:pt x="679" y="1092"/>
                </a:lnTo>
                <a:lnTo>
                  <a:pt x="681" y="1091"/>
                </a:lnTo>
                <a:lnTo>
                  <a:pt x="681" y="1088"/>
                </a:lnTo>
                <a:lnTo>
                  <a:pt x="681" y="1088"/>
                </a:lnTo>
                <a:lnTo>
                  <a:pt x="683" y="1089"/>
                </a:lnTo>
                <a:lnTo>
                  <a:pt x="688" y="1091"/>
                </a:lnTo>
                <a:lnTo>
                  <a:pt x="691" y="1092"/>
                </a:lnTo>
                <a:lnTo>
                  <a:pt x="692" y="1093"/>
                </a:lnTo>
                <a:lnTo>
                  <a:pt x="691" y="1095"/>
                </a:lnTo>
                <a:lnTo>
                  <a:pt x="691" y="1095"/>
                </a:lnTo>
                <a:lnTo>
                  <a:pt x="693" y="1093"/>
                </a:lnTo>
                <a:lnTo>
                  <a:pt x="695" y="1093"/>
                </a:lnTo>
                <a:lnTo>
                  <a:pt x="699" y="1093"/>
                </a:lnTo>
                <a:lnTo>
                  <a:pt x="705" y="1096"/>
                </a:lnTo>
                <a:lnTo>
                  <a:pt x="710" y="1098"/>
                </a:lnTo>
                <a:close/>
                <a:moveTo>
                  <a:pt x="706" y="1095"/>
                </a:moveTo>
                <a:lnTo>
                  <a:pt x="706" y="1095"/>
                </a:lnTo>
                <a:lnTo>
                  <a:pt x="705" y="1092"/>
                </a:lnTo>
                <a:lnTo>
                  <a:pt x="706" y="1089"/>
                </a:lnTo>
                <a:lnTo>
                  <a:pt x="709" y="1088"/>
                </a:lnTo>
                <a:lnTo>
                  <a:pt x="713" y="1088"/>
                </a:lnTo>
                <a:lnTo>
                  <a:pt x="713" y="1088"/>
                </a:lnTo>
                <a:lnTo>
                  <a:pt x="712" y="1091"/>
                </a:lnTo>
                <a:lnTo>
                  <a:pt x="712" y="1092"/>
                </a:lnTo>
                <a:lnTo>
                  <a:pt x="715" y="1092"/>
                </a:lnTo>
                <a:lnTo>
                  <a:pt x="719" y="1092"/>
                </a:lnTo>
                <a:lnTo>
                  <a:pt x="722" y="1093"/>
                </a:lnTo>
                <a:lnTo>
                  <a:pt x="722" y="1096"/>
                </a:lnTo>
                <a:lnTo>
                  <a:pt x="722" y="1096"/>
                </a:lnTo>
                <a:lnTo>
                  <a:pt x="715" y="1095"/>
                </a:lnTo>
                <a:lnTo>
                  <a:pt x="706" y="1095"/>
                </a:lnTo>
                <a:close/>
                <a:moveTo>
                  <a:pt x="682" y="1123"/>
                </a:moveTo>
                <a:lnTo>
                  <a:pt x="682" y="1123"/>
                </a:lnTo>
                <a:lnTo>
                  <a:pt x="678" y="1125"/>
                </a:lnTo>
                <a:lnTo>
                  <a:pt x="675" y="1125"/>
                </a:lnTo>
                <a:lnTo>
                  <a:pt x="668" y="1121"/>
                </a:lnTo>
                <a:lnTo>
                  <a:pt x="668" y="1121"/>
                </a:lnTo>
                <a:lnTo>
                  <a:pt x="672" y="1119"/>
                </a:lnTo>
                <a:lnTo>
                  <a:pt x="675" y="1119"/>
                </a:lnTo>
                <a:lnTo>
                  <a:pt x="682" y="1123"/>
                </a:lnTo>
                <a:close/>
                <a:moveTo>
                  <a:pt x="780" y="357"/>
                </a:moveTo>
                <a:lnTo>
                  <a:pt x="780" y="357"/>
                </a:lnTo>
                <a:lnTo>
                  <a:pt x="779" y="361"/>
                </a:lnTo>
                <a:lnTo>
                  <a:pt x="779" y="361"/>
                </a:lnTo>
                <a:lnTo>
                  <a:pt x="779" y="361"/>
                </a:lnTo>
                <a:lnTo>
                  <a:pt x="779" y="360"/>
                </a:lnTo>
                <a:lnTo>
                  <a:pt x="778" y="360"/>
                </a:lnTo>
                <a:lnTo>
                  <a:pt x="778" y="360"/>
                </a:lnTo>
                <a:lnTo>
                  <a:pt x="780" y="356"/>
                </a:lnTo>
                <a:lnTo>
                  <a:pt x="780" y="357"/>
                </a:lnTo>
                <a:close/>
                <a:moveTo>
                  <a:pt x="551" y="1062"/>
                </a:moveTo>
                <a:lnTo>
                  <a:pt x="551" y="1062"/>
                </a:lnTo>
                <a:lnTo>
                  <a:pt x="548" y="1064"/>
                </a:lnTo>
                <a:lnTo>
                  <a:pt x="546" y="1064"/>
                </a:lnTo>
                <a:lnTo>
                  <a:pt x="542" y="1062"/>
                </a:lnTo>
                <a:lnTo>
                  <a:pt x="538" y="1061"/>
                </a:lnTo>
                <a:lnTo>
                  <a:pt x="536" y="1062"/>
                </a:lnTo>
                <a:lnTo>
                  <a:pt x="534" y="1064"/>
                </a:lnTo>
                <a:lnTo>
                  <a:pt x="534" y="1064"/>
                </a:lnTo>
                <a:lnTo>
                  <a:pt x="524" y="1058"/>
                </a:lnTo>
                <a:lnTo>
                  <a:pt x="524" y="1058"/>
                </a:lnTo>
                <a:lnTo>
                  <a:pt x="519" y="1056"/>
                </a:lnTo>
                <a:lnTo>
                  <a:pt x="514" y="1056"/>
                </a:lnTo>
                <a:lnTo>
                  <a:pt x="516" y="1049"/>
                </a:lnTo>
                <a:lnTo>
                  <a:pt x="516" y="1049"/>
                </a:lnTo>
                <a:lnTo>
                  <a:pt x="524" y="1052"/>
                </a:lnTo>
                <a:lnTo>
                  <a:pt x="532" y="1055"/>
                </a:lnTo>
                <a:lnTo>
                  <a:pt x="542" y="1058"/>
                </a:lnTo>
                <a:lnTo>
                  <a:pt x="551" y="1062"/>
                </a:lnTo>
                <a:close/>
                <a:moveTo>
                  <a:pt x="778" y="358"/>
                </a:moveTo>
                <a:lnTo>
                  <a:pt x="778" y="358"/>
                </a:lnTo>
                <a:lnTo>
                  <a:pt x="778" y="357"/>
                </a:lnTo>
                <a:lnTo>
                  <a:pt x="778" y="357"/>
                </a:lnTo>
                <a:lnTo>
                  <a:pt x="778" y="357"/>
                </a:lnTo>
                <a:lnTo>
                  <a:pt x="779" y="354"/>
                </a:lnTo>
                <a:lnTo>
                  <a:pt x="779" y="354"/>
                </a:lnTo>
                <a:lnTo>
                  <a:pt x="778" y="358"/>
                </a:lnTo>
                <a:close/>
                <a:moveTo>
                  <a:pt x="512" y="1052"/>
                </a:moveTo>
                <a:lnTo>
                  <a:pt x="512" y="1052"/>
                </a:lnTo>
                <a:lnTo>
                  <a:pt x="509" y="1054"/>
                </a:lnTo>
                <a:lnTo>
                  <a:pt x="505" y="1055"/>
                </a:lnTo>
                <a:lnTo>
                  <a:pt x="498" y="1054"/>
                </a:lnTo>
                <a:lnTo>
                  <a:pt x="491" y="1049"/>
                </a:lnTo>
                <a:lnTo>
                  <a:pt x="485" y="1044"/>
                </a:lnTo>
                <a:lnTo>
                  <a:pt x="485" y="1044"/>
                </a:lnTo>
                <a:lnTo>
                  <a:pt x="478" y="1046"/>
                </a:lnTo>
                <a:lnTo>
                  <a:pt x="471" y="1046"/>
                </a:lnTo>
                <a:lnTo>
                  <a:pt x="468" y="1046"/>
                </a:lnTo>
                <a:lnTo>
                  <a:pt x="464" y="1045"/>
                </a:lnTo>
                <a:lnTo>
                  <a:pt x="457" y="1038"/>
                </a:lnTo>
                <a:lnTo>
                  <a:pt x="457" y="1038"/>
                </a:lnTo>
                <a:lnTo>
                  <a:pt x="458" y="1038"/>
                </a:lnTo>
                <a:lnTo>
                  <a:pt x="461" y="1038"/>
                </a:lnTo>
                <a:lnTo>
                  <a:pt x="468" y="1041"/>
                </a:lnTo>
                <a:lnTo>
                  <a:pt x="471" y="1041"/>
                </a:lnTo>
                <a:lnTo>
                  <a:pt x="474" y="1041"/>
                </a:lnTo>
                <a:lnTo>
                  <a:pt x="477" y="1039"/>
                </a:lnTo>
                <a:lnTo>
                  <a:pt x="479" y="1036"/>
                </a:lnTo>
                <a:lnTo>
                  <a:pt x="479" y="1036"/>
                </a:lnTo>
                <a:lnTo>
                  <a:pt x="489" y="1042"/>
                </a:lnTo>
                <a:lnTo>
                  <a:pt x="489" y="1042"/>
                </a:lnTo>
                <a:lnTo>
                  <a:pt x="499" y="1045"/>
                </a:lnTo>
                <a:lnTo>
                  <a:pt x="499" y="1045"/>
                </a:lnTo>
                <a:lnTo>
                  <a:pt x="507" y="1049"/>
                </a:lnTo>
                <a:lnTo>
                  <a:pt x="512" y="1052"/>
                </a:lnTo>
                <a:close/>
                <a:moveTo>
                  <a:pt x="516" y="1032"/>
                </a:moveTo>
                <a:lnTo>
                  <a:pt x="516" y="1032"/>
                </a:lnTo>
                <a:lnTo>
                  <a:pt x="515" y="1034"/>
                </a:lnTo>
                <a:lnTo>
                  <a:pt x="514" y="1034"/>
                </a:lnTo>
                <a:lnTo>
                  <a:pt x="509" y="1034"/>
                </a:lnTo>
                <a:lnTo>
                  <a:pt x="507" y="1031"/>
                </a:lnTo>
                <a:lnTo>
                  <a:pt x="504" y="1029"/>
                </a:lnTo>
                <a:lnTo>
                  <a:pt x="504" y="1029"/>
                </a:lnTo>
                <a:lnTo>
                  <a:pt x="505" y="1026"/>
                </a:lnTo>
                <a:lnTo>
                  <a:pt x="509" y="1025"/>
                </a:lnTo>
                <a:lnTo>
                  <a:pt x="512" y="1025"/>
                </a:lnTo>
                <a:lnTo>
                  <a:pt x="516" y="1026"/>
                </a:lnTo>
                <a:lnTo>
                  <a:pt x="516" y="1026"/>
                </a:lnTo>
                <a:lnTo>
                  <a:pt x="515" y="1029"/>
                </a:lnTo>
                <a:lnTo>
                  <a:pt x="515" y="1031"/>
                </a:lnTo>
                <a:lnTo>
                  <a:pt x="516" y="1032"/>
                </a:lnTo>
                <a:close/>
                <a:moveTo>
                  <a:pt x="502" y="1022"/>
                </a:moveTo>
                <a:lnTo>
                  <a:pt x="502" y="1022"/>
                </a:lnTo>
                <a:lnTo>
                  <a:pt x="501" y="1024"/>
                </a:lnTo>
                <a:lnTo>
                  <a:pt x="499" y="1025"/>
                </a:lnTo>
                <a:lnTo>
                  <a:pt x="497" y="1024"/>
                </a:lnTo>
                <a:lnTo>
                  <a:pt x="497" y="1024"/>
                </a:lnTo>
                <a:lnTo>
                  <a:pt x="492" y="1021"/>
                </a:lnTo>
                <a:lnTo>
                  <a:pt x="492" y="1021"/>
                </a:lnTo>
                <a:lnTo>
                  <a:pt x="487" y="1019"/>
                </a:lnTo>
                <a:lnTo>
                  <a:pt x="487" y="1019"/>
                </a:lnTo>
                <a:lnTo>
                  <a:pt x="488" y="1015"/>
                </a:lnTo>
                <a:lnTo>
                  <a:pt x="488" y="1014"/>
                </a:lnTo>
                <a:lnTo>
                  <a:pt x="488" y="1012"/>
                </a:lnTo>
                <a:lnTo>
                  <a:pt x="488" y="1012"/>
                </a:lnTo>
                <a:lnTo>
                  <a:pt x="495" y="1018"/>
                </a:lnTo>
                <a:lnTo>
                  <a:pt x="502" y="1022"/>
                </a:lnTo>
                <a:close/>
                <a:moveTo>
                  <a:pt x="789" y="324"/>
                </a:moveTo>
                <a:lnTo>
                  <a:pt x="789" y="324"/>
                </a:lnTo>
                <a:lnTo>
                  <a:pt x="788" y="326"/>
                </a:lnTo>
                <a:lnTo>
                  <a:pt x="788" y="326"/>
                </a:lnTo>
                <a:lnTo>
                  <a:pt x="789" y="324"/>
                </a:lnTo>
                <a:lnTo>
                  <a:pt x="789" y="324"/>
                </a:lnTo>
                <a:close/>
                <a:moveTo>
                  <a:pt x="467" y="1056"/>
                </a:moveTo>
                <a:lnTo>
                  <a:pt x="467" y="1056"/>
                </a:lnTo>
                <a:lnTo>
                  <a:pt x="465" y="1058"/>
                </a:lnTo>
                <a:lnTo>
                  <a:pt x="462" y="1056"/>
                </a:lnTo>
                <a:lnTo>
                  <a:pt x="455" y="1054"/>
                </a:lnTo>
                <a:lnTo>
                  <a:pt x="455" y="1054"/>
                </a:lnTo>
                <a:lnTo>
                  <a:pt x="458" y="1052"/>
                </a:lnTo>
                <a:lnTo>
                  <a:pt x="458" y="1051"/>
                </a:lnTo>
                <a:lnTo>
                  <a:pt x="451" y="1048"/>
                </a:lnTo>
                <a:lnTo>
                  <a:pt x="451" y="1048"/>
                </a:lnTo>
                <a:lnTo>
                  <a:pt x="454" y="1046"/>
                </a:lnTo>
                <a:lnTo>
                  <a:pt x="455" y="1046"/>
                </a:lnTo>
                <a:lnTo>
                  <a:pt x="459" y="1049"/>
                </a:lnTo>
                <a:lnTo>
                  <a:pt x="464" y="1054"/>
                </a:lnTo>
                <a:lnTo>
                  <a:pt x="467" y="1056"/>
                </a:lnTo>
                <a:close/>
                <a:moveTo>
                  <a:pt x="468" y="1031"/>
                </a:moveTo>
                <a:lnTo>
                  <a:pt x="468" y="1031"/>
                </a:lnTo>
                <a:lnTo>
                  <a:pt x="465" y="1035"/>
                </a:lnTo>
                <a:lnTo>
                  <a:pt x="465" y="1035"/>
                </a:lnTo>
                <a:lnTo>
                  <a:pt x="457" y="1031"/>
                </a:lnTo>
                <a:lnTo>
                  <a:pt x="457" y="1031"/>
                </a:lnTo>
                <a:lnTo>
                  <a:pt x="458" y="1029"/>
                </a:lnTo>
                <a:lnTo>
                  <a:pt x="461" y="1029"/>
                </a:lnTo>
                <a:lnTo>
                  <a:pt x="468" y="1031"/>
                </a:lnTo>
                <a:close/>
                <a:moveTo>
                  <a:pt x="790" y="321"/>
                </a:moveTo>
                <a:lnTo>
                  <a:pt x="790" y="321"/>
                </a:lnTo>
                <a:lnTo>
                  <a:pt x="788" y="324"/>
                </a:lnTo>
                <a:lnTo>
                  <a:pt x="788" y="324"/>
                </a:lnTo>
                <a:lnTo>
                  <a:pt x="790" y="321"/>
                </a:lnTo>
                <a:close/>
                <a:moveTo>
                  <a:pt x="779" y="343"/>
                </a:moveTo>
                <a:lnTo>
                  <a:pt x="779" y="343"/>
                </a:lnTo>
                <a:lnTo>
                  <a:pt x="779" y="343"/>
                </a:lnTo>
                <a:lnTo>
                  <a:pt x="779" y="341"/>
                </a:lnTo>
                <a:lnTo>
                  <a:pt x="779" y="341"/>
                </a:lnTo>
                <a:lnTo>
                  <a:pt x="780" y="340"/>
                </a:lnTo>
                <a:lnTo>
                  <a:pt x="779" y="343"/>
                </a:lnTo>
                <a:close/>
                <a:moveTo>
                  <a:pt x="776" y="348"/>
                </a:moveTo>
                <a:lnTo>
                  <a:pt x="776" y="348"/>
                </a:lnTo>
                <a:lnTo>
                  <a:pt x="773" y="351"/>
                </a:lnTo>
                <a:lnTo>
                  <a:pt x="773" y="351"/>
                </a:lnTo>
                <a:lnTo>
                  <a:pt x="773" y="351"/>
                </a:lnTo>
                <a:lnTo>
                  <a:pt x="776" y="347"/>
                </a:lnTo>
                <a:lnTo>
                  <a:pt x="776" y="348"/>
                </a:lnTo>
                <a:close/>
                <a:moveTo>
                  <a:pt x="776" y="344"/>
                </a:moveTo>
                <a:lnTo>
                  <a:pt x="776" y="344"/>
                </a:lnTo>
                <a:lnTo>
                  <a:pt x="776" y="346"/>
                </a:lnTo>
                <a:lnTo>
                  <a:pt x="776" y="346"/>
                </a:lnTo>
                <a:lnTo>
                  <a:pt x="775" y="348"/>
                </a:lnTo>
                <a:lnTo>
                  <a:pt x="775" y="348"/>
                </a:lnTo>
                <a:lnTo>
                  <a:pt x="773" y="351"/>
                </a:lnTo>
                <a:lnTo>
                  <a:pt x="773" y="351"/>
                </a:lnTo>
                <a:lnTo>
                  <a:pt x="772" y="353"/>
                </a:lnTo>
                <a:lnTo>
                  <a:pt x="772" y="353"/>
                </a:lnTo>
                <a:lnTo>
                  <a:pt x="772" y="353"/>
                </a:lnTo>
                <a:lnTo>
                  <a:pt x="773" y="350"/>
                </a:lnTo>
                <a:lnTo>
                  <a:pt x="773" y="350"/>
                </a:lnTo>
                <a:lnTo>
                  <a:pt x="776" y="344"/>
                </a:lnTo>
                <a:close/>
                <a:moveTo>
                  <a:pt x="402" y="1029"/>
                </a:moveTo>
                <a:lnTo>
                  <a:pt x="402" y="1029"/>
                </a:lnTo>
                <a:lnTo>
                  <a:pt x="402" y="1028"/>
                </a:lnTo>
                <a:lnTo>
                  <a:pt x="401" y="1028"/>
                </a:lnTo>
                <a:lnTo>
                  <a:pt x="398" y="1025"/>
                </a:lnTo>
                <a:lnTo>
                  <a:pt x="398" y="1025"/>
                </a:lnTo>
                <a:lnTo>
                  <a:pt x="400" y="1024"/>
                </a:lnTo>
                <a:lnTo>
                  <a:pt x="401" y="1022"/>
                </a:lnTo>
                <a:lnTo>
                  <a:pt x="402" y="1022"/>
                </a:lnTo>
                <a:lnTo>
                  <a:pt x="401" y="1019"/>
                </a:lnTo>
                <a:lnTo>
                  <a:pt x="401" y="1019"/>
                </a:lnTo>
                <a:lnTo>
                  <a:pt x="402" y="1019"/>
                </a:lnTo>
                <a:lnTo>
                  <a:pt x="404" y="1021"/>
                </a:lnTo>
                <a:lnTo>
                  <a:pt x="405" y="1024"/>
                </a:lnTo>
                <a:lnTo>
                  <a:pt x="407" y="1032"/>
                </a:lnTo>
                <a:lnTo>
                  <a:pt x="407" y="1032"/>
                </a:lnTo>
                <a:lnTo>
                  <a:pt x="402" y="1031"/>
                </a:lnTo>
                <a:lnTo>
                  <a:pt x="401" y="1031"/>
                </a:lnTo>
                <a:lnTo>
                  <a:pt x="398" y="1031"/>
                </a:lnTo>
                <a:lnTo>
                  <a:pt x="395" y="1028"/>
                </a:lnTo>
                <a:lnTo>
                  <a:pt x="395" y="1028"/>
                </a:lnTo>
                <a:lnTo>
                  <a:pt x="397" y="1026"/>
                </a:lnTo>
                <a:lnTo>
                  <a:pt x="398" y="1028"/>
                </a:lnTo>
                <a:lnTo>
                  <a:pt x="402" y="1029"/>
                </a:lnTo>
                <a:close/>
                <a:moveTo>
                  <a:pt x="793" y="314"/>
                </a:moveTo>
                <a:lnTo>
                  <a:pt x="793" y="314"/>
                </a:lnTo>
                <a:lnTo>
                  <a:pt x="792" y="317"/>
                </a:lnTo>
                <a:lnTo>
                  <a:pt x="793" y="314"/>
                </a:lnTo>
                <a:lnTo>
                  <a:pt x="793" y="314"/>
                </a:lnTo>
                <a:lnTo>
                  <a:pt x="795" y="313"/>
                </a:lnTo>
                <a:lnTo>
                  <a:pt x="795" y="313"/>
                </a:lnTo>
                <a:lnTo>
                  <a:pt x="793" y="314"/>
                </a:lnTo>
                <a:close/>
                <a:moveTo>
                  <a:pt x="776" y="343"/>
                </a:moveTo>
                <a:lnTo>
                  <a:pt x="776" y="343"/>
                </a:lnTo>
                <a:lnTo>
                  <a:pt x="772" y="350"/>
                </a:lnTo>
                <a:lnTo>
                  <a:pt x="772" y="350"/>
                </a:lnTo>
                <a:lnTo>
                  <a:pt x="776" y="344"/>
                </a:lnTo>
                <a:lnTo>
                  <a:pt x="776" y="344"/>
                </a:lnTo>
                <a:lnTo>
                  <a:pt x="776" y="343"/>
                </a:lnTo>
                <a:close/>
                <a:moveTo>
                  <a:pt x="380" y="1002"/>
                </a:moveTo>
                <a:lnTo>
                  <a:pt x="380" y="1002"/>
                </a:lnTo>
                <a:lnTo>
                  <a:pt x="378" y="1004"/>
                </a:lnTo>
                <a:lnTo>
                  <a:pt x="375" y="1005"/>
                </a:lnTo>
                <a:lnTo>
                  <a:pt x="375" y="1005"/>
                </a:lnTo>
                <a:lnTo>
                  <a:pt x="374" y="1002"/>
                </a:lnTo>
                <a:lnTo>
                  <a:pt x="374" y="1001"/>
                </a:lnTo>
                <a:lnTo>
                  <a:pt x="375" y="1002"/>
                </a:lnTo>
                <a:lnTo>
                  <a:pt x="375" y="1002"/>
                </a:lnTo>
                <a:lnTo>
                  <a:pt x="374" y="999"/>
                </a:lnTo>
                <a:lnTo>
                  <a:pt x="374" y="996"/>
                </a:lnTo>
                <a:lnTo>
                  <a:pt x="374" y="995"/>
                </a:lnTo>
                <a:lnTo>
                  <a:pt x="374" y="995"/>
                </a:lnTo>
                <a:lnTo>
                  <a:pt x="377" y="998"/>
                </a:lnTo>
                <a:lnTo>
                  <a:pt x="377" y="998"/>
                </a:lnTo>
                <a:lnTo>
                  <a:pt x="378" y="998"/>
                </a:lnTo>
                <a:lnTo>
                  <a:pt x="378" y="998"/>
                </a:lnTo>
                <a:lnTo>
                  <a:pt x="378" y="999"/>
                </a:lnTo>
                <a:lnTo>
                  <a:pt x="378" y="999"/>
                </a:lnTo>
                <a:lnTo>
                  <a:pt x="378" y="1001"/>
                </a:lnTo>
                <a:lnTo>
                  <a:pt x="380" y="1002"/>
                </a:lnTo>
                <a:close/>
                <a:moveTo>
                  <a:pt x="365" y="1001"/>
                </a:moveTo>
                <a:lnTo>
                  <a:pt x="365" y="1001"/>
                </a:lnTo>
                <a:lnTo>
                  <a:pt x="367" y="995"/>
                </a:lnTo>
                <a:lnTo>
                  <a:pt x="372" y="992"/>
                </a:lnTo>
                <a:lnTo>
                  <a:pt x="372" y="992"/>
                </a:lnTo>
                <a:lnTo>
                  <a:pt x="372" y="996"/>
                </a:lnTo>
                <a:lnTo>
                  <a:pt x="371" y="999"/>
                </a:lnTo>
                <a:lnTo>
                  <a:pt x="370" y="1002"/>
                </a:lnTo>
                <a:lnTo>
                  <a:pt x="367" y="1002"/>
                </a:lnTo>
                <a:lnTo>
                  <a:pt x="365" y="1001"/>
                </a:lnTo>
                <a:close/>
                <a:moveTo>
                  <a:pt x="785" y="327"/>
                </a:moveTo>
                <a:lnTo>
                  <a:pt x="785" y="327"/>
                </a:lnTo>
                <a:lnTo>
                  <a:pt x="783" y="330"/>
                </a:lnTo>
                <a:lnTo>
                  <a:pt x="783" y="330"/>
                </a:lnTo>
                <a:lnTo>
                  <a:pt x="782" y="331"/>
                </a:lnTo>
                <a:lnTo>
                  <a:pt x="782" y="330"/>
                </a:lnTo>
                <a:lnTo>
                  <a:pt x="783" y="330"/>
                </a:lnTo>
                <a:lnTo>
                  <a:pt x="782" y="330"/>
                </a:lnTo>
                <a:lnTo>
                  <a:pt x="782" y="330"/>
                </a:lnTo>
                <a:lnTo>
                  <a:pt x="783" y="327"/>
                </a:lnTo>
                <a:lnTo>
                  <a:pt x="783" y="327"/>
                </a:lnTo>
                <a:lnTo>
                  <a:pt x="785" y="327"/>
                </a:lnTo>
                <a:lnTo>
                  <a:pt x="783" y="327"/>
                </a:lnTo>
                <a:lnTo>
                  <a:pt x="783" y="328"/>
                </a:lnTo>
                <a:lnTo>
                  <a:pt x="785" y="327"/>
                </a:lnTo>
                <a:close/>
                <a:moveTo>
                  <a:pt x="365" y="938"/>
                </a:moveTo>
                <a:lnTo>
                  <a:pt x="365" y="938"/>
                </a:lnTo>
                <a:lnTo>
                  <a:pt x="360" y="936"/>
                </a:lnTo>
                <a:lnTo>
                  <a:pt x="352" y="932"/>
                </a:lnTo>
                <a:lnTo>
                  <a:pt x="337" y="924"/>
                </a:lnTo>
                <a:lnTo>
                  <a:pt x="337" y="924"/>
                </a:lnTo>
                <a:lnTo>
                  <a:pt x="323" y="915"/>
                </a:lnTo>
                <a:lnTo>
                  <a:pt x="311" y="908"/>
                </a:lnTo>
                <a:lnTo>
                  <a:pt x="311" y="908"/>
                </a:lnTo>
                <a:lnTo>
                  <a:pt x="317" y="907"/>
                </a:lnTo>
                <a:lnTo>
                  <a:pt x="323" y="909"/>
                </a:lnTo>
                <a:lnTo>
                  <a:pt x="337" y="918"/>
                </a:lnTo>
                <a:lnTo>
                  <a:pt x="337" y="918"/>
                </a:lnTo>
                <a:lnTo>
                  <a:pt x="352" y="928"/>
                </a:lnTo>
                <a:lnTo>
                  <a:pt x="365" y="938"/>
                </a:lnTo>
                <a:close/>
                <a:moveTo>
                  <a:pt x="342" y="935"/>
                </a:moveTo>
                <a:lnTo>
                  <a:pt x="340" y="939"/>
                </a:lnTo>
                <a:lnTo>
                  <a:pt x="340" y="939"/>
                </a:lnTo>
                <a:lnTo>
                  <a:pt x="335" y="935"/>
                </a:lnTo>
                <a:lnTo>
                  <a:pt x="331" y="931"/>
                </a:lnTo>
                <a:lnTo>
                  <a:pt x="331" y="931"/>
                </a:lnTo>
                <a:lnTo>
                  <a:pt x="334" y="929"/>
                </a:lnTo>
                <a:lnTo>
                  <a:pt x="337" y="931"/>
                </a:lnTo>
                <a:lnTo>
                  <a:pt x="342" y="935"/>
                </a:lnTo>
                <a:close/>
                <a:moveTo>
                  <a:pt x="330" y="931"/>
                </a:moveTo>
                <a:lnTo>
                  <a:pt x="330" y="931"/>
                </a:lnTo>
                <a:lnTo>
                  <a:pt x="327" y="935"/>
                </a:lnTo>
                <a:lnTo>
                  <a:pt x="327" y="935"/>
                </a:lnTo>
                <a:lnTo>
                  <a:pt x="323" y="931"/>
                </a:lnTo>
                <a:lnTo>
                  <a:pt x="323" y="929"/>
                </a:lnTo>
                <a:lnTo>
                  <a:pt x="323" y="927"/>
                </a:lnTo>
                <a:lnTo>
                  <a:pt x="330" y="931"/>
                </a:lnTo>
                <a:close/>
                <a:moveTo>
                  <a:pt x="307" y="946"/>
                </a:moveTo>
                <a:lnTo>
                  <a:pt x="307" y="946"/>
                </a:lnTo>
                <a:lnTo>
                  <a:pt x="305" y="946"/>
                </a:lnTo>
                <a:lnTo>
                  <a:pt x="305" y="945"/>
                </a:lnTo>
                <a:lnTo>
                  <a:pt x="305" y="945"/>
                </a:lnTo>
                <a:lnTo>
                  <a:pt x="301" y="945"/>
                </a:lnTo>
                <a:lnTo>
                  <a:pt x="301" y="942"/>
                </a:lnTo>
                <a:lnTo>
                  <a:pt x="303" y="939"/>
                </a:lnTo>
                <a:lnTo>
                  <a:pt x="303" y="938"/>
                </a:lnTo>
                <a:lnTo>
                  <a:pt x="301" y="938"/>
                </a:lnTo>
                <a:lnTo>
                  <a:pt x="301" y="938"/>
                </a:lnTo>
                <a:lnTo>
                  <a:pt x="303" y="936"/>
                </a:lnTo>
                <a:lnTo>
                  <a:pt x="304" y="938"/>
                </a:lnTo>
                <a:lnTo>
                  <a:pt x="308" y="941"/>
                </a:lnTo>
                <a:lnTo>
                  <a:pt x="308" y="941"/>
                </a:lnTo>
                <a:lnTo>
                  <a:pt x="305" y="944"/>
                </a:lnTo>
                <a:lnTo>
                  <a:pt x="305" y="945"/>
                </a:lnTo>
                <a:lnTo>
                  <a:pt x="307" y="946"/>
                </a:lnTo>
                <a:close/>
                <a:moveTo>
                  <a:pt x="298" y="897"/>
                </a:moveTo>
                <a:lnTo>
                  <a:pt x="298" y="897"/>
                </a:lnTo>
                <a:lnTo>
                  <a:pt x="297" y="898"/>
                </a:lnTo>
                <a:lnTo>
                  <a:pt x="295" y="898"/>
                </a:lnTo>
                <a:lnTo>
                  <a:pt x="291" y="897"/>
                </a:lnTo>
                <a:lnTo>
                  <a:pt x="288" y="894"/>
                </a:lnTo>
                <a:lnTo>
                  <a:pt x="284" y="891"/>
                </a:lnTo>
                <a:lnTo>
                  <a:pt x="284" y="891"/>
                </a:lnTo>
                <a:lnTo>
                  <a:pt x="285" y="889"/>
                </a:lnTo>
                <a:lnTo>
                  <a:pt x="288" y="889"/>
                </a:lnTo>
                <a:lnTo>
                  <a:pt x="291" y="892"/>
                </a:lnTo>
                <a:lnTo>
                  <a:pt x="294" y="895"/>
                </a:lnTo>
                <a:lnTo>
                  <a:pt x="298" y="897"/>
                </a:lnTo>
                <a:close/>
                <a:moveTo>
                  <a:pt x="792" y="316"/>
                </a:moveTo>
                <a:lnTo>
                  <a:pt x="792" y="316"/>
                </a:lnTo>
                <a:lnTo>
                  <a:pt x="792" y="316"/>
                </a:lnTo>
                <a:lnTo>
                  <a:pt x="792" y="316"/>
                </a:lnTo>
                <a:lnTo>
                  <a:pt x="792" y="316"/>
                </a:lnTo>
                <a:close/>
                <a:moveTo>
                  <a:pt x="154" y="688"/>
                </a:moveTo>
                <a:lnTo>
                  <a:pt x="154" y="688"/>
                </a:lnTo>
                <a:lnTo>
                  <a:pt x="156" y="682"/>
                </a:lnTo>
                <a:lnTo>
                  <a:pt x="157" y="678"/>
                </a:lnTo>
                <a:lnTo>
                  <a:pt x="160" y="677"/>
                </a:lnTo>
                <a:lnTo>
                  <a:pt x="163" y="677"/>
                </a:lnTo>
                <a:lnTo>
                  <a:pt x="163" y="677"/>
                </a:lnTo>
                <a:lnTo>
                  <a:pt x="166" y="678"/>
                </a:lnTo>
                <a:lnTo>
                  <a:pt x="168" y="682"/>
                </a:lnTo>
                <a:lnTo>
                  <a:pt x="176" y="694"/>
                </a:lnTo>
                <a:lnTo>
                  <a:pt x="176" y="694"/>
                </a:lnTo>
                <a:lnTo>
                  <a:pt x="176" y="691"/>
                </a:lnTo>
                <a:lnTo>
                  <a:pt x="176" y="690"/>
                </a:lnTo>
                <a:lnTo>
                  <a:pt x="174" y="684"/>
                </a:lnTo>
                <a:lnTo>
                  <a:pt x="174" y="684"/>
                </a:lnTo>
                <a:lnTo>
                  <a:pt x="176" y="684"/>
                </a:lnTo>
                <a:lnTo>
                  <a:pt x="176" y="684"/>
                </a:lnTo>
                <a:lnTo>
                  <a:pt x="178" y="685"/>
                </a:lnTo>
                <a:lnTo>
                  <a:pt x="180" y="688"/>
                </a:lnTo>
                <a:lnTo>
                  <a:pt x="183" y="690"/>
                </a:lnTo>
                <a:lnTo>
                  <a:pt x="183" y="690"/>
                </a:lnTo>
                <a:lnTo>
                  <a:pt x="183" y="691"/>
                </a:lnTo>
                <a:lnTo>
                  <a:pt x="181" y="692"/>
                </a:lnTo>
                <a:lnTo>
                  <a:pt x="178" y="694"/>
                </a:lnTo>
                <a:lnTo>
                  <a:pt x="178" y="694"/>
                </a:lnTo>
                <a:lnTo>
                  <a:pt x="190" y="708"/>
                </a:lnTo>
                <a:lnTo>
                  <a:pt x="190" y="708"/>
                </a:lnTo>
                <a:lnTo>
                  <a:pt x="194" y="714"/>
                </a:lnTo>
                <a:lnTo>
                  <a:pt x="194" y="714"/>
                </a:lnTo>
                <a:lnTo>
                  <a:pt x="201" y="724"/>
                </a:lnTo>
                <a:lnTo>
                  <a:pt x="201" y="724"/>
                </a:lnTo>
                <a:lnTo>
                  <a:pt x="201" y="725"/>
                </a:lnTo>
                <a:lnTo>
                  <a:pt x="201" y="727"/>
                </a:lnTo>
                <a:lnTo>
                  <a:pt x="203" y="730"/>
                </a:lnTo>
                <a:lnTo>
                  <a:pt x="204" y="732"/>
                </a:lnTo>
                <a:lnTo>
                  <a:pt x="204" y="735"/>
                </a:lnTo>
                <a:lnTo>
                  <a:pt x="204" y="737"/>
                </a:lnTo>
                <a:lnTo>
                  <a:pt x="204" y="737"/>
                </a:lnTo>
                <a:lnTo>
                  <a:pt x="206" y="737"/>
                </a:lnTo>
                <a:lnTo>
                  <a:pt x="206" y="735"/>
                </a:lnTo>
                <a:lnTo>
                  <a:pt x="207" y="732"/>
                </a:lnTo>
                <a:lnTo>
                  <a:pt x="207" y="732"/>
                </a:lnTo>
                <a:lnTo>
                  <a:pt x="208" y="734"/>
                </a:lnTo>
                <a:lnTo>
                  <a:pt x="208" y="734"/>
                </a:lnTo>
                <a:lnTo>
                  <a:pt x="213" y="740"/>
                </a:lnTo>
                <a:lnTo>
                  <a:pt x="214" y="745"/>
                </a:lnTo>
                <a:lnTo>
                  <a:pt x="216" y="750"/>
                </a:lnTo>
                <a:lnTo>
                  <a:pt x="221" y="755"/>
                </a:lnTo>
                <a:lnTo>
                  <a:pt x="221" y="755"/>
                </a:lnTo>
                <a:lnTo>
                  <a:pt x="223" y="754"/>
                </a:lnTo>
                <a:lnTo>
                  <a:pt x="221" y="752"/>
                </a:lnTo>
                <a:lnTo>
                  <a:pt x="220" y="750"/>
                </a:lnTo>
                <a:lnTo>
                  <a:pt x="217" y="747"/>
                </a:lnTo>
                <a:lnTo>
                  <a:pt x="218" y="745"/>
                </a:lnTo>
                <a:lnTo>
                  <a:pt x="220" y="745"/>
                </a:lnTo>
                <a:lnTo>
                  <a:pt x="220" y="745"/>
                </a:lnTo>
                <a:lnTo>
                  <a:pt x="223" y="751"/>
                </a:lnTo>
                <a:lnTo>
                  <a:pt x="226" y="754"/>
                </a:lnTo>
                <a:lnTo>
                  <a:pt x="234" y="761"/>
                </a:lnTo>
                <a:lnTo>
                  <a:pt x="234" y="761"/>
                </a:lnTo>
                <a:lnTo>
                  <a:pt x="230" y="764"/>
                </a:lnTo>
                <a:lnTo>
                  <a:pt x="227" y="764"/>
                </a:lnTo>
                <a:lnTo>
                  <a:pt x="227" y="764"/>
                </a:lnTo>
                <a:lnTo>
                  <a:pt x="228" y="767"/>
                </a:lnTo>
                <a:lnTo>
                  <a:pt x="231" y="767"/>
                </a:lnTo>
                <a:lnTo>
                  <a:pt x="233" y="767"/>
                </a:lnTo>
                <a:lnTo>
                  <a:pt x="236" y="764"/>
                </a:lnTo>
                <a:lnTo>
                  <a:pt x="236" y="764"/>
                </a:lnTo>
                <a:lnTo>
                  <a:pt x="238" y="768"/>
                </a:lnTo>
                <a:lnTo>
                  <a:pt x="240" y="772"/>
                </a:lnTo>
                <a:lnTo>
                  <a:pt x="240" y="772"/>
                </a:lnTo>
                <a:lnTo>
                  <a:pt x="240" y="779"/>
                </a:lnTo>
                <a:lnTo>
                  <a:pt x="240" y="779"/>
                </a:lnTo>
                <a:lnTo>
                  <a:pt x="234" y="778"/>
                </a:lnTo>
                <a:lnTo>
                  <a:pt x="228" y="774"/>
                </a:lnTo>
                <a:lnTo>
                  <a:pt x="228" y="774"/>
                </a:lnTo>
                <a:lnTo>
                  <a:pt x="224" y="770"/>
                </a:lnTo>
                <a:lnTo>
                  <a:pt x="218" y="762"/>
                </a:lnTo>
                <a:lnTo>
                  <a:pt x="218" y="762"/>
                </a:lnTo>
                <a:lnTo>
                  <a:pt x="210" y="750"/>
                </a:lnTo>
                <a:lnTo>
                  <a:pt x="210" y="750"/>
                </a:lnTo>
                <a:lnTo>
                  <a:pt x="204" y="745"/>
                </a:lnTo>
                <a:lnTo>
                  <a:pt x="200" y="742"/>
                </a:lnTo>
                <a:lnTo>
                  <a:pt x="200" y="742"/>
                </a:lnTo>
                <a:lnTo>
                  <a:pt x="193" y="728"/>
                </a:lnTo>
                <a:lnTo>
                  <a:pt x="184" y="715"/>
                </a:lnTo>
                <a:lnTo>
                  <a:pt x="184" y="715"/>
                </a:lnTo>
                <a:lnTo>
                  <a:pt x="168" y="688"/>
                </a:lnTo>
                <a:lnTo>
                  <a:pt x="168" y="688"/>
                </a:lnTo>
                <a:lnTo>
                  <a:pt x="167" y="690"/>
                </a:lnTo>
                <a:lnTo>
                  <a:pt x="168" y="691"/>
                </a:lnTo>
                <a:lnTo>
                  <a:pt x="170" y="694"/>
                </a:lnTo>
                <a:lnTo>
                  <a:pt x="170" y="695"/>
                </a:lnTo>
                <a:lnTo>
                  <a:pt x="170" y="695"/>
                </a:lnTo>
                <a:lnTo>
                  <a:pt x="168" y="695"/>
                </a:lnTo>
                <a:lnTo>
                  <a:pt x="167" y="695"/>
                </a:lnTo>
                <a:lnTo>
                  <a:pt x="164" y="692"/>
                </a:lnTo>
                <a:lnTo>
                  <a:pt x="164" y="688"/>
                </a:lnTo>
                <a:lnTo>
                  <a:pt x="164" y="687"/>
                </a:lnTo>
                <a:lnTo>
                  <a:pt x="166" y="685"/>
                </a:lnTo>
                <a:lnTo>
                  <a:pt x="166" y="685"/>
                </a:lnTo>
                <a:lnTo>
                  <a:pt x="161" y="684"/>
                </a:lnTo>
                <a:lnTo>
                  <a:pt x="160" y="684"/>
                </a:lnTo>
                <a:lnTo>
                  <a:pt x="157" y="685"/>
                </a:lnTo>
                <a:lnTo>
                  <a:pt x="154" y="688"/>
                </a:lnTo>
                <a:close/>
                <a:moveTo>
                  <a:pt x="790" y="317"/>
                </a:moveTo>
                <a:lnTo>
                  <a:pt x="790" y="317"/>
                </a:lnTo>
                <a:lnTo>
                  <a:pt x="790" y="317"/>
                </a:lnTo>
                <a:lnTo>
                  <a:pt x="790" y="317"/>
                </a:lnTo>
                <a:lnTo>
                  <a:pt x="790" y="317"/>
                </a:lnTo>
                <a:close/>
                <a:moveTo>
                  <a:pt x="790" y="317"/>
                </a:moveTo>
                <a:lnTo>
                  <a:pt x="790" y="317"/>
                </a:lnTo>
                <a:lnTo>
                  <a:pt x="790" y="317"/>
                </a:lnTo>
                <a:lnTo>
                  <a:pt x="790" y="317"/>
                </a:lnTo>
                <a:close/>
                <a:moveTo>
                  <a:pt x="769" y="333"/>
                </a:moveTo>
                <a:lnTo>
                  <a:pt x="769" y="333"/>
                </a:lnTo>
                <a:lnTo>
                  <a:pt x="768" y="334"/>
                </a:lnTo>
                <a:lnTo>
                  <a:pt x="773" y="330"/>
                </a:lnTo>
                <a:lnTo>
                  <a:pt x="773" y="330"/>
                </a:lnTo>
                <a:lnTo>
                  <a:pt x="769" y="333"/>
                </a:lnTo>
                <a:close/>
                <a:moveTo>
                  <a:pt x="790" y="317"/>
                </a:moveTo>
                <a:lnTo>
                  <a:pt x="790" y="317"/>
                </a:lnTo>
                <a:lnTo>
                  <a:pt x="790" y="317"/>
                </a:lnTo>
                <a:lnTo>
                  <a:pt x="790" y="317"/>
                </a:lnTo>
                <a:lnTo>
                  <a:pt x="790" y="317"/>
                </a:lnTo>
                <a:lnTo>
                  <a:pt x="790" y="317"/>
                </a:lnTo>
                <a:lnTo>
                  <a:pt x="790" y="317"/>
                </a:lnTo>
                <a:lnTo>
                  <a:pt x="790" y="317"/>
                </a:lnTo>
                <a:lnTo>
                  <a:pt x="790" y="317"/>
                </a:lnTo>
                <a:lnTo>
                  <a:pt x="790" y="317"/>
                </a:lnTo>
                <a:lnTo>
                  <a:pt x="790" y="317"/>
                </a:lnTo>
                <a:close/>
                <a:moveTo>
                  <a:pt x="234" y="741"/>
                </a:moveTo>
                <a:lnTo>
                  <a:pt x="234" y="741"/>
                </a:lnTo>
                <a:lnTo>
                  <a:pt x="231" y="740"/>
                </a:lnTo>
                <a:lnTo>
                  <a:pt x="230" y="737"/>
                </a:lnTo>
                <a:lnTo>
                  <a:pt x="224" y="731"/>
                </a:lnTo>
                <a:lnTo>
                  <a:pt x="224" y="731"/>
                </a:lnTo>
                <a:lnTo>
                  <a:pt x="228" y="730"/>
                </a:lnTo>
                <a:lnTo>
                  <a:pt x="231" y="732"/>
                </a:lnTo>
                <a:lnTo>
                  <a:pt x="233" y="735"/>
                </a:lnTo>
                <a:lnTo>
                  <a:pt x="234" y="741"/>
                </a:lnTo>
                <a:close/>
                <a:moveTo>
                  <a:pt x="790" y="317"/>
                </a:moveTo>
                <a:lnTo>
                  <a:pt x="790" y="317"/>
                </a:lnTo>
                <a:lnTo>
                  <a:pt x="790" y="317"/>
                </a:lnTo>
                <a:lnTo>
                  <a:pt x="790" y="317"/>
                </a:lnTo>
                <a:lnTo>
                  <a:pt x="790" y="317"/>
                </a:lnTo>
                <a:lnTo>
                  <a:pt x="790" y="317"/>
                </a:lnTo>
                <a:lnTo>
                  <a:pt x="790" y="317"/>
                </a:lnTo>
                <a:close/>
                <a:moveTo>
                  <a:pt x="790" y="317"/>
                </a:moveTo>
                <a:lnTo>
                  <a:pt x="786" y="320"/>
                </a:lnTo>
                <a:lnTo>
                  <a:pt x="786" y="320"/>
                </a:lnTo>
                <a:lnTo>
                  <a:pt x="789" y="318"/>
                </a:lnTo>
                <a:lnTo>
                  <a:pt x="789" y="318"/>
                </a:lnTo>
                <a:lnTo>
                  <a:pt x="790" y="317"/>
                </a:lnTo>
                <a:close/>
                <a:moveTo>
                  <a:pt x="788" y="318"/>
                </a:moveTo>
                <a:lnTo>
                  <a:pt x="788" y="318"/>
                </a:lnTo>
                <a:lnTo>
                  <a:pt x="786" y="320"/>
                </a:lnTo>
                <a:lnTo>
                  <a:pt x="788" y="318"/>
                </a:lnTo>
                <a:lnTo>
                  <a:pt x="788" y="318"/>
                </a:lnTo>
                <a:lnTo>
                  <a:pt x="788" y="318"/>
                </a:lnTo>
                <a:lnTo>
                  <a:pt x="788" y="318"/>
                </a:lnTo>
                <a:lnTo>
                  <a:pt x="788" y="318"/>
                </a:lnTo>
                <a:lnTo>
                  <a:pt x="788" y="318"/>
                </a:lnTo>
                <a:lnTo>
                  <a:pt x="788" y="318"/>
                </a:lnTo>
                <a:lnTo>
                  <a:pt x="788" y="318"/>
                </a:lnTo>
                <a:lnTo>
                  <a:pt x="790" y="317"/>
                </a:lnTo>
                <a:lnTo>
                  <a:pt x="790" y="317"/>
                </a:lnTo>
                <a:lnTo>
                  <a:pt x="792" y="316"/>
                </a:lnTo>
                <a:lnTo>
                  <a:pt x="792" y="316"/>
                </a:lnTo>
                <a:lnTo>
                  <a:pt x="792" y="316"/>
                </a:lnTo>
                <a:lnTo>
                  <a:pt x="790" y="317"/>
                </a:lnTo>
                <a:lnTo>
                  <a:pt x="790" y="317"/>
                </a:lnTo>
                <a:lnTo>
                  <a:pt x="790" y="317"/>
                </a:lnTo>
                <a:lnTo>
                  <a:pt x="790" y="317"/>
                </a:lnTo>
                <a:lnTo>
                  <a:pt x="792" y="316"/>
                </a:lnTo>
                <a:lnTo>
                  <a:pt x="792" y="316"/>
                </a:lnTo>
                <a:lnTo>
                  <a:pt x="790" y="317"/>
                </a:lnTo>
                <a:lnTo>
                  <a:pt x="790" y="317"/>
                </a:lnTo>
                <a:lnTo>
                  <a:pt x="789" y="318"/>
                </a:lnTo>
                <a:lnTo>
                  <a:pt x="789" y="318"/>
                </a:lnTo>
                <a:lnTo>
                  <a:pt x="790" y="317"/>
                </a:lnTo>
                <a:lnTo>
                  <a:pt x="790" y="317"/>
                </a:lnTo>
                <a:lnTo>
                  <a:pt x="788" y="318"/>
                </a:lnTo>
                <a:close/>
                <a:moveTo>
                  <a:pt x="224" y="702"/>
                </a:moveTo>
                <a:lnTo>
                  <a:pt x="224" y="702"/>
                </a:lnTo>
                <a:lnTo>
                  <a:pt x="221" y="704"/>
                </a:lnTo>
                <a:lnTo>
                  <a:pt x="220" y="702"/>
                </a:lnTo>
                <a:lnTo>
                  <a:pt x="220" y="698"/>
                </a:lnTo>
                <a:lnTo>
                  <a:pt x="217" y="695"/>
                </a:lnTo>
                <a:lnTo>
                  <a:pt x="217" y="695"/>
                </a:lnTo>
                <a:lnTo>
                  <a:pt x="220" y="695"/>
                </a:lnTo>
                <a:lnTo>
                  <a:pt x="221" y="698"/>
                </a:lnTo>
                <a:lnTo>
                  <a:pt x="224" y="702"/>
                </a:lnTo>
                <a:close/>
                <a:moveTo>
                  <a:pt x="251" y="664"/>
                </a:moveTo>
                <a:lnTo>
                  <a:pt x="251" y="664"/>
                </a:lnTo>
                <a:lnTo>
                  <a:pt x="245" y="660"/>
                </a:lnTo>
                <a:lnTo>
                  <a:pt x="241" y="654"/>
                </a:lnTo>
                <a:lnTo>
                  <a:pt x="241" y="654"/>
                </a:lnTo>
                <a:lnTo>
                  <a:pt x="236" y="647"/>
                </a:lnTo>
                <a:lnTo>
                  <a:pt x="236" y="647"/>
                </a:lnTo>
                <a:lnTo>
                  <a:pt x="231" y="640"/>
                </a:lnTo>
                <a:lnTo>
                  <a:pt x="231" y="640"/>
                </a:lnTo>
                <a:lnTo>
                  <a:pt x="224" y="624"/>
                </a:lnTo>
                <a:lnTo>
                  <a:pt x="224" y="624"/>
                </a:lnTo>
                <a:lnTo>
                  <a:pt x="221" y="617"/>
                </a:lnTo>
                <a:lnTo>
                  <a:pt x="221" y="617"/>
                </a:lnTo>
                <a:lnTo>
                  <a:pt x="218" y="610"/>
                </a:lnTo>
                <a:lnTo>
                  <a:pt x="218" y="610"/>
                </a:lnTo>
                <a:lnTo>
                  <a:pt x="216" y="610"/>
                </a:lnTo>
                <a:lnTo>
                  <a:pt x="214" y="613"/>
                </a:lnTo>
                <a:lnTo>
                  <a:pt x="214" y="615"/>
                </a:lnTo>
                <a:lnTo>
                  <a:pt x="214" y="618"/>
                </a:lnTo>
                <a:lnTo>
                  <a:pt x="214" y="618"/>
                </a:lnTo>
                <a:lnTo>
                  <a:pt x="211" y="617"/>
                </a:lnTo>
                <a:lnTo>
                  <a:pt x="211" y="614"/>
                </a:lnTo>
                <a:lnTo>
                  <a:pt x="211" y="611"/>
                </a:lnTo>
                <a:lnTo>
                  <a:pt x="210" y="610"/>
                </a:lnTo>
                <a:lnTo>
                  <a:pt x="210" y="610"/>
                </a:lnTo>
                <a:lnTo>
                  <a:pt x="213" y="608"/>
                </a:lnTo>
                <a:lnTo>
                  <a:pt x="216" y="607"/>
                </a:lnTo>
                <a:lnTo>
                  <a:pt x="216" y="607"/>
                </a:lnTo>
                <a:lnTo>
                  <a:pt x="217" y="605"/>
                </a:lnTo>
                <a:lnTo>
                  <a:pt x="216" y="603"/>
                </a:lnTo>
                <a:lnTo>
                  <a:pt x="213" y="597"/>
                </a:lnTo>
                <a:lnTo>
                  <a:pt x="213" y="597"/>
                </a:lnTo>
                <a:lnTo>
                  <a:pt x="220" y="603"/>
                </a:lnTo>
                <a:lnTo>
                  <a:pt x="227" y="608"/>
                </a:lnTo>
                <a:lnTo>
                  <a:pt x="231" y="615"/>
                </a:lnTo>
                <a:lnTo>
                  <a:pt x="236" y="622"/>
                </a:lnTo>
                <a:lnTo>
                  <a:pt x="236" y="622"/>
                </a:lnTo>
                <a:lnTo>
                  <a:pt x="243" y="641"/>
                </a:lnTo>
                <a:lnTo>
                  <a:pt x="243" y="641"/>
                </a:lnTo>
                <a:lnTo>
                  <a:pt x="248" y="650"/>
                </a:lnTo>
                <a:lnTo>
                  <a:pt x="254" y="660"/>
                </a:lnTo>
                <a:lnTo>
                  <a:pt x="254" y="660"/>
                </a:lnTo>
                <a:lnTo>
                  <a:pt x="253" y="662"/>
                </a:lnTo>
                <a:lnTo>
                  <a:pt x="251" y="662"/>
                </a:lnTo>
                <a:lnTo>
                  <a:pt x="251" y="664"/>
                </a:lnTo>
                <a:close/>
                <a:moveTo>
                  <a:pt x="173" y="712"/>
                </a:moveTo>
                <a:lnTo>
                  <a:pt x="173" y="712"/>
                </a:lnTo>
                <a:lnTo>
                  <a:pt x="171" y="711"/>
                </a:lnTo>
                <a:lnTo>
                  <a:pt x="168" y="710"/>
                </a:lnTo>
                <a:lnTo>
                  <a:pt x="164" y="705"/>
                </a:lnTo>
                <a:lnTo>
                  <a:pt x="164" y="705"/>
                </a:lnTo>
                <a:lnTo>
                  <a:pt x="167" y="702"/>
                </a:lnTo>
                <a:lnTo>
                  <a:pt x="167" y="701"/>
                </a:lnTo>
                <a:lnTo>
                  <a:pt x="168" y="700"/>
                </a:lnTo>
                <a:lnTo>
                  <a:pt x="168" y="700"/>
                </a:lnTo>
                <a:lnTo>
                  <a:pt x="171" y="704"/>
                </a:lnTo>
                <a:lnTo>
                  <a:pt x="171" y="707"/>
                </a:lnTo>
                <a:lnTo>
                  <a:pt x="171" y="710"/>
                </a:lnTo>
                <a:lnTo>
                  <a:pt x="173" y="712"/>
                </a:lnTo>
                <a:close/>
                <a:moveTo>
                  <a:pt x="792" y="316"/>
                </a:moveTo>
                <a:lnTo>
                  <a:pt x="792" y="316"/>
                </a:lnTo>
                <a:lnTo>
                  <a:pt x="792" y="316"/>
                </a:lnTo>
                <a:lnTo>
                  <a:pt x="790" y="317"/>
                </a:lnTo>
                <a:lnTo>
                  <a:pt x="790" y="317"/>
                </a:lnTo>
                <a:lnTo>
                  <a:pt x="789" y="317"/>
                </a:lnTo>
                <a:lnTo>
                  <a:pt x="789" y="317"/>
                </a:lnTo>
                <a:lnTo>
                  <a:pt x="788" y="318"/>
                </a:lnTo>
                <a:lnTo>
                  <a:pt x="788" y="318"/>
                </a:lnTo>
                <a:lnTo>
                  <a:pt x="792" y="316"/>
                </a:lnTo>
                <a:lnTo>
                  <a:pt x="792" y="316"/>
                </a:lnTo>
                <a:lnTo>
                  <a:pt x="792" y="316"/>
                </a:lnTo>
                <a:close/>
                <a:moveTo>
                  <a:pt x="167" y="670"/>
                </a:moveTo>
                <a:lnTo>
                  <a:pt x="167" y="670"/>
                </a:lnTo>
                <a:lnTo>
                  <a:pt x="161" y="671"/>
                </a:lnTo>
                <a:lnTo>
                  <a:pt x="160" y="671"/>
                </a:lnTo>
                <a:lnTo>
                  <a:pt x="157" y="674"/>
                </a:lnTo>
                <a:lnTo>
                  <a:pt x="157" y="674"/>
                </a:lnTo>
                <a:lnTo>
                  <a:pt x="154" y="667"/>
                </a:lnTo>
                <a:lnTo>
                  <a:pt x="153" y="661"/>
                </a:lnTo>
                <a:lnTo>
                  <a:pt x="153" y="661"/>
                </a:lnTo>
                <a:lnTo>
                  <a:pt x="151" y="648"/>
                </a:lnTo>
                <a:lnTo>
                  <a:pt x="151" y="648"/>
                </a:lnTo>
                <a:lnTo>
                  <a:pt x="154" y="650"/>
                </a:lnTo>
                <a:lnTo>
                  <a:pt x="156" y="651"/>
                </a:lnTo>
                <a:lnTo>
                  <a:pt x="160" y="657"/>
                </a:lnTo>
                <a:lnTo>
                  <a:pt x="163" y="662"/>
                </a:lnTo>
                <a:lnTo>
                  <a:pt x="167" y="670"/>
                </a:lnTo>
                <a:close/>
                <a:moveTo>
                  <a:pt x="116" y="634"/>
                </a:moveTo>
                <a:lnTo>
                  <a:pt x="116" y="634"/>
                </a:lnTo>
                <a:lnTo>
                  <a:pt x="120" y="642"/>
                </a:lnTo>
                <a:lnTo>
                  <a:pt x="120" y="642"/>
                </a:lnTo>
                <a:lnTo>
                  <a:pt x="113" y="632"/>
                </a:lnTo>
                <a:lnTo>
                  <a:pt x="113" y="632"/>
                </a:lnTo>
                <a:lnTo>
                  <a:pt x="106" y="621"/>
                </a:lnTo>
                <a:lnTo>
                  <a:pt x="106" y="621"/>
                </a:lnTo>
                <a:lnTo>
                  <a:pt x="94" y="598"/>
                </a:lnTo>
                <a:lnTo>
                  <a:pt x="94" y="598"/>
                </a:lnTo>
                <a:lnTo>
                  <a:pt x="84" y="571"/>
                </a:lnTo>
                <a:lnTo>
                  <a:pt x="84" y="571"/>
                </a:lnTo>
                <a:lnTo>
                  <a:pt x="83" y="564"/>
                </a:lnTo>
                <a:lnTo>
                  <a:pt x="83" y="563"/>
                </a:lnTo>
                <a:lnTo>
                  <a:pt x="81" y="563"/>
                </a:lnTo>
                <a:lnTo>
                  <a:pt x="81" y="563"/>
                </a:lnTo>
                <a:lnTo>
                  <a:pt x="81" y="561"/>
                </a:lnTo>
                <a:lnTo>
                  <a:pt x="81" y="561"/>
                </a:lnTo>
                <a:lnTo>
                  <a:pt x="79" y="554"/>
                </a:lnTo>
                <a:lnTo>
                  <a:pt x="79" y="554"/>
                </a:lnTo>
                <a:lnTo>
                  <a:pt x="79" y="553"/>
                </a:lnTo>
                <a:lnTo>
                  <a:pt x="79" y="553"/>
                </a:lnTo>
                <a:lnTo>
                  <a:pt x="79" y="551"/>
                </a:lnTo>
                <a:lnTo>
                  <a:pt x="79" y="551"/>
                </a:lnTo>
                <a:lnTo>
                  <a:pt x="79" y="544"/>
                </a:lnTo>
                <a:lnTo>
                  <a:pt x="79" y="544"/>
                </a:lnTo>
                <a:lnTo>
                  <a:pt x="77" y="543"/>
                </a:lnTo>
                <a:lnTo>
                  <a:pt x="74" y="543"/>
                </a:lnTo>
                <a:lnTo>
                  <a:pt x="74" y="543"/>
                </a:lnTo>
                <a:lnTo>
                  <a:pt x="76" y="540"/>
                </a:lnTo>
                <a:lnTo>
                  <a:pt x="76" y="535"/>
                </a:lnTo>
                <a:lnTo>
                  <a:pt x="76" y="535"/>
                </a:lnTo>
                <a:lnTo>
                  <a:pt x="79" y="535"/>
                </a:lnTo>
                <a:lnTo>
                  <a:pt x="80" y="538"/>
                </a:lnTo>
                <a:lnTo>
                  <a:pt x="81" y="543"/>
                </a:lnTo>
                <a:lnTo>
                  <a:pt x="81" y="543"/>
                </a:lnTo>
                <a:lnTo>
                  <a:pt x="84" y="541"/>
                </a:lnTo>
                <a:lnTo>
                  <a:pt x="86" y="540"/>
                </a:lnTo>
                <a:lnTo>
                  <a:pt x="86" y="540"/>
                </a:lnTo>
                <a:lnTo>
                  <a:pt x="90" y="548"/>
                </a:lnTo>
                <a:lnTo>
                  <a:pt x="90" y="548"/>
                </a:lnTo>
                <a:lnTo>
                  <a:pt x="90" y="548"/>
                </a:lnTo>
                <a:lnTo>
                  <a:pt x="90" y="550"/>
                </a:lnTo>
                <a:lnTo>
                  <a:pt x="90" y="550"/>
                </a:lnTo>
                <a:lnTo>
                  <a:pt x="91" y="550"/>
                </a:lnTo>
                <a:lnTo>
                  <a:pt x="93" y="558"/>
                </a:lnTo>
                <a:lnTo>
                  <a:pt x="93" y="558"/>
                </a:lnTo>
                <a:lnTo>
                  <a:pt x="94" y="558"/>
                </a:lnTo>
                <a:lnTo>
                  <a:pt x="94" y="558"/>
                </a:lnTo>
                <a:lnTo>
                  <a:pt x="96" y="563"/>
                </a:lnTo>
                <a:lnTo>
                  <a:pt x="96" y="563"/>
                </a:lnTo>
                <a:lnTo>
                  <a:pt x="99" y="571"/>
                </a:lnTo>
                <a:lnTo>
                  <a:pt x="99" y="571"/>
                </a:lnTo>
                <a:lnTo>
                  <a:pt x="109" y="590"/>
                </a:lnTo>
                <a:lnTo>
                  <a:pt x="109" y="590"/>
                </a:lnTo>
                <a:lnTo>
                  <a:pt x="114" y="600"/>
                </a:lnTo>
                <a:lnTo>
                  <a:pt x="120" y="607"/>
                </a:lnTo>
                <a:lnTo>
                  <a:pt x="120" y="607"/>
                </a:lnTo>
                <a:lnTo>
                  <a:pt x="121" y="615"/>
                </a:lnTo>
                <a:lnTo>
                  <a:pt x="121" y="620"/>
                </a:lnTo>
                <a:lnTo>
                  <a:pt x="120" y="624"/>
                </a:lnTo>
                <a:lnTo>
                  <a:pt x="120" y="624"/>
                </a:lnTo>
                <a:lnTo>
                  <a:pt x="121" y="625"/>
                </a:lnTo>
                <a:lnTo>
                  <a:pt x="123" y="624"/>
                </a:lnTo>
                <a:lnTo>
                  <a:pt x="124" y="621"/>
                </a:lnTo>
                <a:lnTo>
                  <a:pt x="127" y="620"/>
                </a:lnTo>
                <a:lnTo>
                  <a:pt x="127" y="620"/>
                </a:lnTo>
                <a:lnTo>
                  <a:pt x="127" y="624"/>
                </a:lnTo>
                <a:lnTo>
                  <a:pt x="127" y="627"/>
                </a:lnTo>
                <a:lnTo>
                  <a:pt x="127" y="630"/>
                </a:lnTo>
                <a:lnTo>
                  <a:pt x="130" y="631"/>
                </a:lnTo>
                <a:lnTo>
                  <a:pt x="130" y="631"/>
                </a:lnTo>
                <a:lnTo>
                  <a:pt x="130" y="634"/>
                </a:lnTo>
                <a:lnTo>
                  <a:pt x="130" y="634"/>
                </a:lnTo>
                <a:lnTo>
                  <a:pt x="126" y="635"/>
                </a:lnTo>
                <a:lnTo>
                  <a:pt x="126" y="635"/>
                </a:lnTo>
                <a:lnTo>
                  <a:pt x="133" y="645"/>
                </a:lnTo>
                <a:lnTo>
                  <a:pt x="136" y="648"/>
                </a:lnTo>
                <a:lnTo>
                  <a:pt x="139" y="652"/>
                </a:lnTo>
                <a:lnTo>
                  <a:pt x="139" y="652"/>
                </a:lnTo>
                <a:lnTo>
                  <a:pt x="140" y="651"/>
                </a:lnTo>
                <a:lnTo>
                  <a:pt x="140" y="650"/>
                </a:lnTo>
                <a:lnTo>
                  <a:pt x="137" y="644"/>
                </a:lnTo>
                <a:lnTo>
                  <a:pt x="137" y="644"/>
                </a:lnTo>
                <a:lnTo>
                  <a:pt x="141" y="647"/>
                </a:lnTo>
                <a:lnTo>
                  <a:pt x="144" y="652"/>
                </a:lnTo>
                <a:lnTo>
                  <a:pt x="147" y="658"/>
                </a:lnTo>
                <a:lnTo>
                  <a:pt x="147" y="664"/>
                </a:lnTo>
                <a:lnTo>
                  <a:pt x="147" y="664"/>
                </a:lnTo>
                <a:lnTo>
                  <a:pt x="144" y="665"/>
                </a:lnTo>
                <a:lnTo>
                  <a:pt x="140" y="665"/>
                </a:lnTo>
                <a:lnTo>
                  <a:pt x="139" y="667"/>
                </a:lnTo>
                <a:lnTo>
                  <a:pt x="137" y="667"/>
                </a:lnTo>
                <a:lnTo>
                  <a:pt x="139" y="671"/>
                </a:lnTo>
                <a:lnTo>
                  <a:pt x="139" y="671"/>
                </a:lnTo>
                <a:lnTo>
                  <a:pt x="136" y="670"/>
                </a:lnTo>
                <a:lnTo>
                  <a:pt x="133" y="665"/>
                </a:lnTo>
                <a:lnTo>
                  <a:pt x="133" y="665"/>
                </a:lnTo>
                <a:lnTo>
                  <a:pt x="130" y="655"/>
                </a:lnTo>
                <a:lnTo>
                  <a:pt x="130" y="655"/>
                </a:lnTo>
                <a:lnTo>
                  <a:pt x="127" y="647"/>
                </a:lnTo>
                <a:lnTo>
                  <a:pt x="124" y="644"/>
                </a:lnTo>
                <a:lnTo>
                  <a:pt x="121" y="642"/>
                </a:lnTo>
                <a:lnTo>
                  <a:pt x="121" y="642"/>
                </a:lnTo>
                <a:lnTo>
                  <a:pt x="126" y="654"/>
                </a:lnTo>
                <a:lnTo>
                  <a:pt x="131" y="667"/>
                </a:lnTo>
                <a:lnTo>
                  <a:pt x="131" y="667"/>
                </a:lnTo>
                <a:lnTo>
                  <a:pt x="137" y="678"/>
                </a:lnTo>
                <a:lnTo>
                  <a:pt x="137" y="682"/>
                </a:lnTo>
                <a:lnTo>
                  <a:pt x="137" y="687"/>
                </a:lnTo>
                <a:lnTo>
                  <a:pt x="137" y="687"/>
                </a:lnTo>
                <a:lnTo>
                  <a:pt x="131" y="682"/>
                </a:lnTo>
                <a:lnTo>
                  <a:pt x="127" y="677"/>
                </a:lnTo>
                <a:lnTo>
                  <a:pt x="127" y="677"/>
                </a:lnTo>
                <a:lnTo>
                  <a:pt x="121" y="664"/>
                </a:lnTo>
                <a:lnTo>
                  <a:pt x="121" y="664"/>
                </a:lnTo>
                <a:lnTo>
                  <a:pt x="117" y="650"/>
                </a:lnTo>
                <a:lnTo>
                  <a:pt x="110" y="637"/>
                </a:lnTo>
                <a:lnTo>
                  <a:pt x="110" y="637"/>
                </a:lnTo>
                <a:lnTo>
                  <a:pt x="116" y="634"/>
                </a:lnTo>
                <a:close/>
                <a:moveTo>
                  <a:pt x="191" y="650"/>
                </a:moveTo>
                <a:lnTo>
                  <a:pt x="191" y="650"/>
                </a:lnTo>
                <a:lnTo>
                  <a:pt x="188" y="650"/>
                </a:lnTo>
                <a:lnTo>
                  <a:pt x="187" y="650"/>
                </a:lnTo>
                <a:lnTo>
                  <a:pt x="184" y="648"/>
                </a:lnTo>
                <a:lnTo>
                  <a:pt x="184" y="645"/>
                </a:lnTo>
                <a:lnTo>
                  <a:pt x="184" y="645"/>
                </a:lnTo>
                <a:lnTo>
                  <a:pt x="187" y="645"/>
                </a:lnTo>
                <a:lnTo>
                  <a:pt x="188" y="645"/>
                </a:lnTo>
                <a:lnTo>
                  <a:pt x="191" y="650"/>
                </a:lnTo>
                <a:close/>
                <a:moveTo>
                  <a:pt x="176" y="638"/>
                </a:moveTo>
                <a:lnTo>
                  <a:pt x="176" y="638"/>
                </a:lnTo>
                <a:lnTo>
                  <a:pt x="177" y="640"/>
                </a:lnTo>
                <a:lnTo>
                  <a:pt x="178" y="638"/>
                </a:lnTo>
                <a:lnTo>
                  <a:pt x="178" y="638"/>
                </a:lnTo>
                <a:lnTo>
                  <a:pt x="173" y="627"/>
                </a:lnTo>
                <a:lnTo>
                  <a:pt x="167" y="620"/>
                </a:lnTo>
                <a:lnTo>
                  <a:pt x="167" y="620"/>
                </a:lnTo>
                <a:lnTo>
                  <a:pt x="156" y="603"/>
                </a:lnTo>
                <a:lnTo>
                  <a:pt x="156" y="603"/>
                </a:lnTo>
                <a:lnTo>
                  <a:pt x="157" y="601"/>
                </a:lnTo>
                <a:lnTo>
                  <a:pt x="160" y="600"/>
                </a:lnTo>
                <a:lnTo>
                  <a:pt x="164" y="601"/>
                </a:lnTo>
                <a:lnTo>
                  <a:pt x="164" y="601"/>
                </a:lnTo>
                <a:lnTo>
                  <a:pt x="168" y="605"/>
                </a:lnTo>
                <a:lnTo>
                  <a:pt x="168" y="605"/>
                </a:lnTo>
                <a:lnTo>
                  <a:pt x="173" y="611"/>
                </a:lnTo>
                <a:lnTo>
                  <a:pt x="173" y="611"/>
                </a:lnTo>
                <a:lnTo>
                  <a:pt x="181" y="624"/>
                </a:lnTo>
                <a:lnTo>
                  <a:pt x="187" y="634"/>
                </a:lnTo>
                <a:lnTo>
                  <a:pt x="187" y="634"/>
                </a:lnTo>
                <a:lnTo>
                  <a:pt x="186" y="640"/>
                </a:lnTo>
                <a:lnTo>
                  <a:pt x="184" y="642"/>
                </a:lnTo>
                <a:lnTo>
                  <a:pt x="184" y="642"/>
                </a:lnTo>
                <a:lnTo>
                  <a:pt x="181" y="642"/>
                </a:lnTo>
                <a:lnTo>
                  <a:pt x="180" y="642"/>
                </a:lnTo>
                <a:lnTo>
                  <a:pt x="176" y="638"/>
                </a:lnTo>
                <a:close/>
                <a:moveTo>
                  <a:pt x="150" y="641"/>
                </a:moveTo>
                <a:lnTo>
                  <a:pt x="150" y="641"/>
                </a:lnTo>
                <a:lnTo>
                  <a:pt x="147" y="641"/>
                </a:lnTo>
                <a:lnTo>
                  <a:pt x="144" y="640"/>
                </a:lnTo>
                <a:lnTo>
                  <a:pt x="141" y="638"/>
                </a:lnTo>
                <a:lnTo>
                  <a:pt x="139" y="638"/>
                </a:lnTo>
                <a:lnTo>
                  <a:pt x="139" y="638"/>
                </a:lnTo>
                <a:lnTo>
                  <a:pt x="140" y="637"/>
                </a:lnTo>
                <a:lnTo>
                  <a:pt x="140" y="634"/>
                </a:lnTo>
                <a:lnTo>
                  <a:pt x="137" y="630"/>
                </a:lnTo>
                <a:lnTo>
                  <a:pt x="136" y="624"/>
                </a:lnTo>
                <a:lnTo>
                  <a:pt x="136" y="622"/>
                </a:lnTo>
                <a:lnTo>
                  <a:pt x="137" y="621"/>
                </a:lnTo>
                <a:lnTo>
                  <a:pt x="137" y="621"/>
                </a:lnTo>
                <a:lnTo>
                  <a:pt x="137" y="624"/>
                </a:lnTo>
                <a:lnTo>
                  <a:pt x="139" y="627"/>
                </a:lnTo>
                <a:lnTo>
                  <a:pt x="143" y="631"/>
                </a:lnTo>
                <a:lnTo>
                  <a:pt x="147" y="635"/>
                </a:lnTo>
                <a:lnTo>
                  <a:pt x="148" y="638"/>
                </a:lnTo>
                <a:lnTo>
                  <a:pt x="150" y="641"/>
                </a:lnTo>
                <a:close/>
                <a:moveTo>
                  <a:pt x="184" y="554"/>
                </a:moveTo>
                <a:lnTo>
                  <a:pt x="184" y="554"/>
                </a:lnTo>
                <a:lnTo>
                  <a:pt x="184" y="553"/>
                </a:lnTo>
                <a:lnTo>
                  <a:pt x="184" y="550"/>
                </a:lnTo>
                <a:lnTo>
                  <a:pt x="184" y="550"/>
                </a:lnTo>
                <a:lnTo>
                  <a:pt x="186" y="551"/>
                </a:lnTo>
                <a:lnTo>
                  <a:pt x="187" y="553"/>
                </a:lnTo>
                <a:lnTo>
                  <a:pt x="187" y="554"/>
                </a:lnTo>
                <a:lnTo>
                  <a:pt x="190" y="554"/>
                </a:lnTo>
                <a:lnTo>
                  <a:pt x="190" y="554"/>
                </a:lnTo>
                <a:lnTo>
                  <a:pt x="190" y="551"/>
                </a:lnTo>
                <a:lnTo>
                  <a:pt x="188" y="547"/>
                </a:lnTo>
                <a:lnTo>
                  <a:pt x="186" y="540"/>
                </a:lnTo>
                <a:lnTo>
                  <a:pt x="186" y="540"/>
                </a:lnTo>
                <a:lnTo>
                  <a:pt x="188" y="541"/>
                </a:lnTo>
                <a:lnTo>
                  <a:pt x="191" y="544"/>
                </a:lnTo>
                <a:lnTo>
                  <a:pt x="196" y="551"/>
                </a:lnTo>
                <a:lnTo>
                  <a:pt x="200" y="558"/>
                </a:lnTo>
                <a:lnTo>
                  <a:pt x="206" y="563"/>
                </a:lnTo>
                <a:lnTo>
                  <a:pt x="206" y="563"/>
                </a:lnTo>
                <a:lnTo>
                  <a:pt x="203" y="564"/>
                </a:lnTo>
                <a:lnTo>
                  <a:pt x="200" y="565"/>
                </a:lnTo>
                <a:lnTo>
                  <a:pt x="196" y="565"/>
                </a:lnTo>
                <a:lnTo>
                  <a:pt x="196" y="565"/>
                </a:lnTo>
                <a:lnTo>
                  <a:pt x="194" y="568"/>
                </a:lnTo>
                <a:lnTo>
                  <a:pt x="196" y="570"/>
                </a:lnTo>
                <a:lnTo>
                  <a:pt x="196" y="571"/>
                </a:lnTo>
                <a:lnTo>
                  <a:pt x="196" y="573"/>
                </a:lnTo>
                <a:lnTo>
                  <a:pt x="196" y="573"/>
                </a:lnTo>
                <a:lnTo>
                  <a:pt x="198" y="574"/>
                </a:lnTo>
                <a:lnTo>
                  <a:pt x="198" y="571"/>
                </a:lnTo>
                <a:lnTo>
                  <a:pt x="200" y="568"/>
                </a:lnTo>
                <a:lnTo>
                  <a:pt x="200" y="567"/>
                </a:lnTo>
                <a:lnTo>
                  <a:pt x="201" y="567"/>
                </a:lnTo>
                <a:lnTo>
                  <a:pt x="201" y="567"/>
                </a:lnTo>
                <a:lnTo>
                  <a:pt x="207" y="578"/>
                </a:lnTo>
                <a:lnTo>
                  <a:pt x="210" y="583"/>
                </a:lnTo>
                <a:lnTo>
                  <a:pt x="213" y="584"/>
                </a:lnTo>
                <a:lnTo>
                  <a:pt x="213" y="584"/>
                </a:lnTo>
                <a:lnTo>
                  <a:pt x="213" y="588"/>
                </a:lnTo>
                <a:lnTo>
                  <a:pt x="216" y="594"/>
                </a:lnTo>
                <a:lnTo>
                  <a:pt x="216" y="594"/>
                </a:lnTo>
                <a:lnTo>
                  <a:pt x="213" y="594"/>
                </a:lnTo>
                <a:lnTo>
                  <a:pt x="211" y="594"/>
                </a:lnTo>
                <a:lnTo>
                  <a:pt x="210" y="593"/>
                </a:lnTo>
                <a:lnTo>
                  <a:pt x="208" y="591"/>
                </a:lnTo>
                <a:lnTo>
                  <a:pt x="207" y="587"/>
                </a:lnTo>
                <a:lnTo>
                  <a:pt x="206" y="584"/>
                </a:lnTo>
                <a:lnTo>
                  <a:pt x="204" y="584"/>
                </a:lnTo>
                <a:lnTo>
                  <a:pt x="204" y="584"/>
                </a:lnTo>
                <a:lnTo>
                  <a:pt x="204" y="587"/>
                </a:lnTo>
                <a:lnTo>
                  <a:pt x="204" y="590"/>
                </a:lnTo>
                <a:lnTo>
                  <a:pt x="204" y="590"/>
                </a:lnTo>
                <a:lnTo>
                  <a:pt x="208" y="595"/>
                </a:lnTo>
                <a:lnTo>
                  <a:pt x="208" y="595"/>
                </a:lnTo>
                <a:lnTo>
                  <a:pt x="211" y="600"/>
                </a:lnTo>
                <a:lnTo>
                  <a:pt x="211" y="603"/>
                </a:lnTo>
                <a:lnTo>
                  <a:pt x="208" y="604"/>
                </a:lnTo>
                <a:lnTo>
                  <a:pt x="208" y="604"/>
                </a:lnTo>
                <a:lnTo>
                  <a:pt x="206" y="597"/>
                </a:lnTo>
                <a:lnTo>
                  <a:pt x="201" y="590"/>
                </a:lnTo>
                <a:lnTo>
                  <a:pt x="201" y="590"/>
                </a:lnTo>
                <a:lnTo>
                  <a:pt x="193" y="575"/>
                </a:lnTo>
                <a:lnTo>
                  <a:pt x="193" y="575"/>
                </a:lnTo>
                <a:lnTo>
                  <a:pt x="188" y="568"/>
                </a:lnTo>
                <a:lnTo>
                  <a:pt x="184" y="560"/>
                </a:lnTo>
                <a:lnTo>
                  <a:pt x="184" y="560"/>
                </a:lnTo>
                <a:lnTo>
                  <a:pt x="183" y="551"/>
                </a:lnTo>
                <a:lnTo>
                  <a:pt x="183" y="543"/>
                </a:lnTo>
                <a:lnTo>
                  <a:pt x="183" y="543"/>
                </a:lnTo>
                <a:lnTo>
                  <a:pt x="184" y="544"/>
                </a:lnTo>
                <a:lnTo>
                  <a:pt x="184" y="547"/>
                </a:lnTo>
                <a:lnTo>
                  <a:pt x="183" y="550"/>
                </a:lnTo>
                <a:lnTo>
                  <a:pt x="184" y="554"/>
                </a:lnTo>
                <a:close/>
                <a:moveTo>
                  <a:pt x="147" y="617"/>
                </a:moveTo>
                <a:lnTo>
                  <a:pt x="147" y="617"/>
                </a:lnTo>
                <a:lnTo>
                  <a:pt x="148" y="618"/>
                </a:lnTo>
                <a:lnTo>
                  <a:pt x="147" y="618"/>
                </a:lnTo>
                <a:lnTo>
                  <a:pt x="146" y="618"/>
                </a:lnTo>
                <a:lnTo>
                  <a:pt x="143" y="618"/>
                </a:lnTo>
                <a:lnTo>
                  <a:pt x="143" y="618"/>
                </a:lnTo>
                <a:lnTo>
                  <a:pt x="143" y="621"/>
                </a:lnTo>
                <a:lnTo>
                  <a:pt x="143" y="621"/>
                </a:lnTo>
                <a:lnTo>
                  <a:pt x="140" y="620"/>
                </a:lnTo>
                <a:lnTo>
                  <a:pt x="140" y="618"/>
                </a:lnTo>
                <a:lnTo>
                  <a:pt x="141" y="614"/>
                </a:lnTo>
                <a:lnTo>
                  <a:pt x="141" y="614"/>
                </a:lnTo>
                <a:lnTo>
                  <a:pt x="143" y="613"/>
                </a:lnTo>
                <a:lnTo>
                  <a:pt x="144" y="614"/>
                </a:lnTo>
                <a:lnTo>
                  <a:pt x="146" y="615"/>
                </a:lnTo>
                <a:lnTo>
                  <a:pt x="147" y="617"/>
                </a:lnTo>
                <a:close/>
                <a:moveTo>
                  <a:pt x="139" y="613"/>
                </a:moveTo>
                <a:lnTo>
                  <a:pt x="139" y="613"/>
                </a:lnTo>
                <a:lnTo>
                  <a:pt x="133" y="603"/>
                </a:lnTo>
                <a:lnTo>
                  <a:pt x="127" y="590"/>
                </a:lnTo>
                <a:lnTo>
                  <a:pt x="127" y="590"/>
                </a:lnTo>
                <a:lnTo>
                  <a:pt x="126" y="584"/>
                </a:lnTo>
                <a:lnTo>
                  <a:pt x="126" y="580"/>
                </a:lnTo>
                <a:lnTo>
                  <a:pt x="126" y="580"/>
                </a:lnTo>
                <a:lnTo>
                  <a:pt x="127" y="578"/>
                </a:lnTo>
                <a:lnTo>
                  <a:pt x="130" y="578"/>
                </a:lnTo>
                <a:lnTo>
                  <a:pt x="130" y="578"/>
                </a:lnTo>
                <a:lnTo>
                  <a:pt x="130" y="581"/>
                </a:lnTo>
                <a:lnTo>
                  <a:pt x="130" y="585"/>
                </a:lnTo>
                <a:lnTo>
                  <a:pt x="134" y="594"/>
                </a:lnTo>
                <a:lnTo>
                  <a:pt x="134" y="594"/>
                </a:lnTo>
                <a:lnTo>
                  <a:pt x="137" y="603"/>
                </a:lnTo>
                <a:lnTo>
                  <a:pt x="139" y="607"/>
                </a:lnTo>
                <a:lnTo>
                  <a:pt x="139" y="613"/>
                </a:lnTo>
                <a:close/>
                <a:moveTo>
                  <a:pt x="244" y="535"/>
                </a:moveTo>
                <a:lnTo>
                  <a:pt x="244" y="535"/>
                </a:lnTo>
                <a:lnTo>
                  <a:pt x="244" y="537"/>
                </a:lnTo>
                <a:lnTo>
                  <a:pt x="243" y="537"/>
                </a:lnTo>
                <a:lnTo>
                  <a:pt x="241" y="537"/>
                </a:lnTo>
                <a:lnTo>
                  <a:pt x="241" y="538"/>
                </a:lnTo>
                <a:lnTo>
                  <a:pt x="241" y="538"/>
                </a:lnTo>
                <a:lnTo>
                  <a:pt x="238" y="538"/>
                </a:lnTo>
                <a:lnTo>
                  <a:pt x="237" y="537"/>
                </a:lnTo>
                <a:lnTo>
                  <a:pt x="236" y="533"/>
                </a:lnTo>
                <a:lnTo>
                  <a:pt x="236" y="523"/>
                </a:lnTo>
                <a:lnTo>
                  <a:pt x="236" y="523"/>
                </a:lnTo>
                <a:lnTo>
                  <a:pt x="237" y="523"/>
                </a:lnTo>
                <a:lnTo>
                  <a:pt x="238" y="524"/>
                </a:lnTo>
                <a:lnTo>
                  <a:pt x="240" y="528"/>
                </a:lnTo>
                <a:lnTo>
                  <a:pt x="241" y="533"/>
                </a:lnTo>
                <a:lnTo>
                  <a:pt x="243" y="535"/>
                </a:lnTo>
                <a:lnTo>
                  <a:pt x="244" y="535"/>
                </a:lnTo>
                <a:close/>
                <a:moveTo>
                  <a:pt x="238" y="523"/>
                </a:moveTo>
                <a:lnTo>
                  <a:pt x="238" y="523"/>
                </a:lnTo>
                <a:lnTo>
                  <a:pt x="236" y="515"/>
                </a:lnTo>
                <a:lnTo>
                  <a:pt x="236" y="515"/>
                </a:lnTo>
                <a:lnTo>
                  <a:pt x="238" y="515"/>
                </a:lnTo>
                <a:lnTo>
                  <a:pt x="238" y="514"/>
                </a:lnTo>
                <a:lnTo>
                  <a:pt x="238" y="514"/>
                </a:lnTo>
                <a:lnTo>
                  <a:pt x="240" y="515"/>
                </a:lnTo>
                <a:lnTo>
                  <a:pt x="241" y="515"/>
                </a:lnTo>
                <a:lnTo>
                  <a:pt x="241" y="517"/>
                </a:lnTo>
                <a:lnTo>
                  <a:pt x="243" y="517"/>
                </a:lnTo>
                <a:lnTo>
                  <a:pt x="243" y="517"/>
                </a:lnTo>
                <a:lnTo>
                  <a:pt x="243" y="520"/>
                </a:lnTo>
                <a:lnTo>
                  <a:pt x="243" y="520"/>
                </a:lnTo>
                <a:lnTo>
                  <a:pt x="238" y="523"/>
                </a:lnTo>
                <a:close/>
                <a:moveTo>
                  <a:pt x="123" y="575"/>
                </a:moveTo>
                <a:lnTo>
                  <a:pt x="123" y="575"/>
                </a:lnTo>
                <a:lnTo>
                  <a:pt x="120" y="571"/>
                </a:lnTo>
                <a:lnTo>
                  <a:pt x="117" y="565"/>
                </a:lnTo>
                <a:lnTo>
                  <a:pt x="111" y="553"/>
                </a:lnTo>
                <a:lnTo>
                  <a:pt x="111" y="553"/>
                </a:lnTo>
                <a:lnTo>
                  <a:pt x="107" y="540"/>
                </a:lnTo>
                <a:lnTo>
                  <a:pt x="107" y="540"/>
                </a:lnTo>
                <a:lnTo>
                  <a:pt x="106" y="535"/>
                </a:lnTo>
                <a:lnTo>
                  <a:pt x="106" y="535"/>
                </a:lnTo>
                <a:lnTo>
                  <a:pt x="101" y="527"/>
                </a:lnTo>
                <a:lnTo>
                  <a:pt x="101" y="527"/>
                </a:lnTo>
                <a:lnTo>
                  <a:pt x="106" y="528"/>
                </a:lnTo>
                <a:lnTo>
                  <a:pt x="109" y="531"/>
                </a:lnTo>
                <a:lnTo>
                  <a:pt x="111" y="534"/>
                </a:lnTo>
                <a:lnTo>
                  <a:pt x="113" y="538"/>
                </a:lnTo>
                <a:lnTo>
                  <a:pt x="113" y="538"/>
                </a:lnTo>
                <a:lnTo>
                  <a:pt x="113" y="541"/>
                </a:lnTo>
                <a:lnTo>
                  <a:pt x="113" y="543"/>
                </a:lnTo>
                <a:lnTo>
                  <a:pt x="113" y="543"/>
                </a:lnTo>
                <a:lnTo>
                  <a:pt x="116" y="550"/>
                </a:lnTo>
                <a:lnTo>
                  <a:pt x="116" y="551"/>
                </a:lnTo>
                <a:lnTo>
                  <a:pt x="117" y="551"/>
                </a:lnTo>
                <a:lnTo>
                  <a:pt x="117" y="551"/>
                </a:lnTo>
                <a:lnTo>
                  <a:pt x="117" y="555"/>
                </a:lnTo>
                <a:lnTo>
                  <a:pt x="117" y="555"/>
                </a:lnTo>
                <a:lnTo>
                  <a:pt x="120" y="561"/>
                </a:lnTo>
                <a:lnTo>
                  <a:pt x="123" y="568"/>
                </a:lnTo>
                <a:lnTo>
                  <a:pt x="123" y="568"/>
                </a:lnTo>
                <a:lnTo>
                  <a:pt x="120" y="568"/>
                </a:lnTo>
                <a:lnTo>
                  <a:pt x="120" y="571"/>
                </a:lnTo>
                <a:lnTo>
                  <a:pt x="123" y="575"/>
                </a:lnTo>
                <a:close/>
                <a:moveTo>
                  <a:pt x="236" y="483"/>
                </a:moveTo>
                <a:lnTo>
                  <a:pt x="236" y="483"/>
                </a:lnTo>
                <a:lnTo>
                  <a:pt x="236" y="481"/>
                </a:lnTo>
                <a:lnTo>
                  <a:pt x="236" y="481"/>
                </a:lnTo>
                <a:lnTo>
                  <a:pt x="236" y="481"/>
                </a:lnTo>
                <a:lnTo>
                  <a:pt x="236" y="481"/>
                </a:lnTo>
                <a:lnTo>
                  <a:pt x="236" y="478"/>
                </a:lnTo>
                <a:lnTo>
                  <a:pt x="236" y="478"/>
                </a:lnTo>
                <a:lnTo>
                  <a:pt x="234" y="474"/>
                </a:lnTo>
                <a:lnTo>
                  <a:pt x="234" y="474"/>
                </a:lnTo>
                <a:lnTo>
                  <a:pt x="233" y="470"/>
                </a:lnTo>
                <a:lnTo>
                  <a:pt x="234" y="467"/>
                </a:lnTo>
                <a:lnTo>
                  <a:pt x="236" y="465"/>
                </a:lnTo>
                <a:lnTo>
                  <a:pt x="236" y="465"/>
                </a:lnTo>
                <a:lnTo>
                  <a:pt x="233" y="461"/>
                </a:lnTo>
                <a:lnTo>
                  <a:pt x="230" y="458"/>
                </a:lnTo>
                <a:lnTo>
                  <a:pt x="230" y="456"/>
                </a:lnTo>
                <a:lnTo>
                  <a:pt x="230" y="456"/>
                </a:lnTo>
                <a:lnTo>
                  <a:pt x="233" y="451"/>
                </a:lnTo>
                <a:lnTo>
                  <a:pt x="234" y="451"/>
                </a:lnTo>
                <a:lnTo>
                  <a:pt x="237" y="451"/>
                </a:lnTo>
                <a:lnTo>
                  <a:pt x="237" y="451"/>
                </a:lnTo>
                <a:lnTo>
                  <a:pt x="237" y="454"/>
                </a:lnTo>
                <a:lnTo>
                  <a:pt x="236" y="454"/>
                </a:lnTo>
                <a:lnTo>
                  <a:pt x="234" y="456"/>
                </a:lnTo>
                <a:lnTo>
                  <a:pt x="234" y="457"/>
                </a:lnTo>
                <a:lnTo>
                  <a:pt x="234" y="457"/>
                </a:lnTo>
                <a:lnTo>
                  <a:pt x="236" y="460"/>
                </a:lnTo>
                <a:lnTo>
                  <a:pt x="237" y="460"/>
                </a:lnTo>
                <a:lnTo>
                  <a:pt x="238" y="458"/>
                </a:lnTo>
                <a:lnTo>
                  <a:pt x="238" y="457"/>
                </a:lnTo>
                <a:lnTo>
                  <a:pt x="238" y="457"/>
                </a:lnTo>
                <a:lnTo>
                  <a:pt x="243" y="467"/>
                </a:lnTo>
                <a:lnTo>
                  <a:pt x="245" y="475"/>
                </a:lnTo>
                <a:lnTo>
                  <a:pt x="247" y="477"/>
                </a:lnTo>
                <a:lnTo>
                  <a:pt x="247" y="478"/>
                </a:lnTo>
                <a:lnTo>
                  <a:pt x="247" y="478"/>
                </a:lnTo>
                <a:lnTo>
                  <a:pt x="247" y="481"/>
                </a:lnTo>
                <a:lnTo>
                  <a:pt x="247" y="481"/>
                </a:lnTo>
                <a:lnTo>
                  <a:pt x="248" y="487"/>
                </a:lnTo>
                <a:lnTo>
                  <a:pt x="248" y="487"/>
                </a:lnTo>
                <a:lnTo>
                  <a:pt x="243" y="485"/>
                </a:lnTo>
                <a:lnTo>
                  <a:pt x="241" y="484"/>
                </a:lnTo>
                <a:lnTo>
                  <a:pt x="243" y="483"/>
                </a:lnTo>
                <a:lnTo>
                  <a:pt x="243" y="483"/>
                </a:lnTo>
                <a:lnTo>
                  <a:pt x="238" y="484"/>
                </a:lnTo>
                <a:lnTo>
                  <a:pt x="237" y="485"/>
                </a:lnTo>
                <a:lnTo>
                  <a:pt x="238" y="487"/>
                </a:lnTo>
                <a:lnTo>
                  <a:pt x="240" y="488"/>
                </a:lnTo>
                <a:lnTo>
                  <a:pt x="243" y="490"/>
                </a:lnTo>
                <a:lnTo>
                  <a:pt x="243" y="490"/>
                </a:lnTo>
                <a:lnTo>
                  <a:pt x="240" y="493"/>
                </a:lnTo>
                <a:lnTo>
                  <a:pt x="238" y="493"/>
                </a:lnTo>
                <a:lnTo>
                  <a:pt x="238" y="493"/>
                </a:lnTo>
                <a:lnTo>
                  <a:pt x="238" y="493"/>
                </a:lnTo>
                <a:lnTo>
                  <a:pt x="236" y="493"/>
                </a:lnTo>
                <a:lnTo>
                  <a:pt x="234" y="491"/>
                </a:lnTo>
                <a:lnTo>
                  <a:pt x="234" y="488"/>
                </a:lnTo>
                <a:lnTo>
                  <a:pt x="233" y="487"/>
                </a:lnTo>
                <a:lnTo>
                  <a:pt x="233" y="487"/>
                </a:lnTo>
                <a:lnTo>
                  <a:pt x="231" y="488"/>
                </a:lnTo>
                <a:lnTo>
                  <a:pt x="231" y="490"/>
                </a:lnTo>
                <a:lnTo>
                  <a:pt x="233" y="494"/>
                </a:lnTo>
                <a:lnTo>
                  <a:pt x="234" y="497"/>
                </a:lnTo>
                <a:lnTo>
                  <a:pt x="236" y="500"/>
                </a:lnTo>
                <a:lnTo>
                  <a:pt x="236" y="500"/>
                </a:lnTo>
                <a:lnTo>
                  <a:pt x="240" y="497"/>
                </a:lnTo>
                <a:lnTo>
                  <a:pt x="241" y="497"/>
                </a:lnTo>
                <a:lnTo>
                  <a:pt x="243" y="498"/>
                </a:lnTo>
                <a:lnTo>
                  <a:pt x="243" y="498"/>
                </a:lnTo>
                <a:lnTo>
                  <a:pt x="237" y="501"/>
                </a:lnTo>
                <a:lnTo>
                  <a:pt x="237" y="501"/>
                </a:lnTo>
                <a:lnTo>
                  <a:pt x="236" y="503"/>
                </a:lnTo>
                <a:lnTo>
                  <a:pt x="236" y="503"/>
                </a:lnTo>
                <a:lnTo>
                  <a:pt x="234" y="504"/>
                </a:lnTo>
                <a:lnTo>
                  <a:pt x="234" y="504"/>
                </a:lnTo>
                <a:lnTo>
                  <a:pt x="234" y="504"/>
                </a:lnTo>
                <a:lnTo>
                  <a:pt x="234" y="504"/>
                </a:lnTo>
                <a:lnTo>
                  <a:pt x="234" y="504"/>
                </a:lnTo>
                <a:lnTo>
                  <a:pt x="236" y="508"/>
                </a:lnTo>
                <a:lnTo>
                  <a:pt x="236" y="508"/>
                </a:lnTo>
                <a:lnTo>
                  <a:pt x="236" y="508"/>
                </a:lnTo>
                <a:lnTo>
                  <a:pt x="236" y="508"/>
                </a:lnTo>
                <a:lnTo>
                  <a:pt x="236" y="508"/>
                </a:lnTo>
                <a:lnTo>
                  <a:pt x="236" y="508"/>
                </a:lnTo>
                <a:lnTo>
                  <a:pt x="236" y="510"/>
                </a:lnTo>
                <a:lnTo>
                  <a:pt x="236" y="510"/>
                </a:lnTo>
                <a:lnTo>
                  <a:pt x="236" y="514"/>
                </a:lnTo>
                <a:lnTo>
                  <a:pt x="236" y="520"/>
                </a:lnTo>
                <a:lnTo>
                  <a:pt x="236" y="520"/>
                </a:lnTo>
                <a:lnTo>
                  <a:pt x="233" y="520"/>
                </a:lnTo>
                <a:lnTo>
                  <a:pt x="230" y="521"/>
                </a:lnTo>
                <a:lnTo>
                  <a:pt x="230" y="521"/>
                </a:lnTo>
                <a:lnTo>
                  <a:pt x="228" y="514"/>
                </a:lnTo>
                <a:lnTo>
                  <a:pt x="228" y="514"/>
                </a:lnTo>
                <a:lnTo>
                  <a:pt x="227" y="513"/>
                </a:lnTo>
                <a:lnTo>
                  <a:pt x="227" y="511"/>
                </a:lnTo>
                <a:lnTo>
                  <a:pt x="227" y="511"/>
                </a:lnTo>
                <a:lnTo>
                  <a:pt x="226" y="507"/>
                </a:lnTo>
                <a:lnTo>
                  <a:pt x="226" y="505"/>
                </a:lnTo>
                <a:lnTo>
                  <a:pt x="226" y="505"/>
                </a:lnTo>
                <a:lnTo>
                  <a:pt x="224" y="504"/>
                </a:lnTo>
                <a:lnTo>
                  <a:pt x="224" y="504"/>
                </a:lnTo>
                <a:lnTo>
                  <a:pt x="218" y="493"/>
                </a:lnTo>
                <a:lnTo>
                  <a:pt x="218" y="493"/>
                </a:lnTo>
                <a:lnTo>
                  <a:pt x="217" y="490"/>
                </a:lnTo>
                <a:lnTo>
                  <a:pt x="217" y="488"/>
                </a:lnTo>
                <a:lnTo>
                  <a:pt x="217" y="488"/>
                </a:lnTo>
                <a:lnTo>
                  <a:pt x="217" y="487"/>
                </a:lnTo>
                <a:lnTo>
                  <a:pt x="216" y="487"/>
                </a:lnTo>
                <a:lnTo>
                  <a:pt x="216" y="485"/>
                </a:lnTo>
                <a:lnTo>
                  <a:pt x="216" y="485"/>
                </a:lnTo>
                <a:lnTo>
                  <a:pt x="211" y="475"/>
                </a:lnTo>
                <a:lnTo>
                  <a:pt x="211" y="475"/>
                </a:lnTo>
                <a:lnTo>
                  <a:pt x="208" y="464"/>
                </a:lnTo>
                <a:lnTo>
                  <a:pt x="206" y="454"/>
                </a:lnTo>
                <a:lnTo>
                  <a:pt x="206" y="454"/>
                </a:lnTo>
                <a:lnTo>
                  <a:pt x="210" y="454"/>
                </a:lnTo>
                <a:lnTo>
                  <a:pt x="213" y="454"/>
                </a:lnTo>
                <a:lnTo>
                  <a:pt x="213" y="454"/>
                </a:lnTo>
                <a:lnTo>
                  <a:pt x="211" y="451"/>
                </a:lnTo>
                <a:lnTo>
                  <a:pt x="208" y="450"/>
                </a:lnTo>
                <a:lnTo>
                  <a:pt x="208" y="450"/>
                </a:lnTo>
                <a:lnTo>
                  <a:pt x="206" y="448"/>
                </a:lnTo>
                <a:lnTo>
                  <a:pt x="204" y="446"/>
                </a:lnTo>
                <a:lnTo>
                  <a:pt x="204" y="446"/>
                </a:lnTo>
                <a:lnTo>
                  <a:pt x="210" y="444"/>
                </a:lnTo>
                <a:lnTo>
                  <a:pt x="210" y="444"/>
                </a:lnTo>
                <a:lnTo>
                  <a:pt x="208" y="441"/>
                </a:lnTo>
                <a:lnTo>
                  <a:pt x="207" y="438"/>
                </a:lnTo>
                <a:lnTo>
                  <a:pt x="207" y="438"/>
                </a:lnTo>
                <a:lnTo>
                  <a:pt x="207" y="438"/>
                </a:lnTo>
                <a:lnTo>
                  <a:pt x="206" y="438"/>
                </a:lnTo>
                <a:lnTo>
                  <a:pt x="204" y="440"/>
                </a:lnTo>
                <a:lnTo>
                  <a:pt x="203" y="438"/>
                </a:lnTo>
                <a:lnTo>
                  <a:pt x="201" y="431"/>
                </a:lnTo>
                <a:lnTo>
                  <a:pt x="201" y="431"/>
                </a:lnTo>
                <a:lnTo>
                  <a:pt x="203" y="430"/>
                </a:lnTo>
                <a:lnTo>
                  <a:pt x="204" y="428"/>
                </a:lnTo>
                <a:lnTo>
                  <a:pt x="204" y="428"/>
                </a:lnTo>
                <a:lnTo>
                  <a:pt x="210" y="431"/>
                </a:lnTo>
                <a:lnTo>
                  <a:pt x="213" y="434"/>
                </a:lnTo>
                <a:lnTo>
                  <a:pt x="214" y="437"/>
                </a:lnTo>
                <a:lnTo>
                  <a:pt x="214" y="437"/>
                </a:lnTo>
                <a:lnTo>
                  <a:pt x="216" y="436"/>
                </a:lnTo>
                <a:lnTo>
                  <a:pt x="220" y="434"/>
                </a:lnTo>
                <a:lnTo>
                  <a:pt x="220" y="434"/>
                </a:lnTo>
                <a:lnTo>
                  <a:pt x="220" y="437"/>
                </a:lnTo>
                <a:lnTo>
                  <a:pt x="221" y="440"/>
                </a:lnTo>
                <a:lnTo>
                  <a:pt x="221" y="443"/>
                </a:lnTo>
                <a:lnTo>
                  <a:pt x="221" y="446"/>
                </a:lnTo>
                <a:lnTo>
                  <a:pt x="221" y="446"/>
                </a:lnTo>
                <a:lnTo>
                  <a:pt x="224" y="447"/>
                </a:lnTo>
                <a:lnTo>
                  <a:pt x="227" y="447"/>
                </a:lnTo>
                <a:lnTo>
                  <a:pt x="227" y="447"/>
                </a:lnTo>
                <a:lnTo>
                  <a:pt x="227" y="448"/>
                </a:lnTo>
                <a:lnTo>
                  <a:pt x="227" y="448"/>
                </a:lnTo>
                <a:lnTo>
                  <a:pt x="228" y="450"/>
                </a:lnTo>
                <a:lnTo>
                  <a:pt x="228" y="450"/>
                </a:lnTo>
                <a:lnTo>
                  <a:pt x="228" y="453"/>
                </a:lnTo>
                <a:lnTo>
                  <a:pt x="228" y="453"/>
                </a:lnTo>
                <a:lnTo>
                  <a:pt x="228" y="457"/>
                </a:lnTo>
                <a:lnTo>
                  <a:pt x="228" y="457"/>
                </a:lnTo>
                <a:lnTo>
                  <a:pt x="230" y="465"/>
                </a:lnTo>
                <a:lnTo>
                  <a:pt x="230" y="465"/>
                </a:lnTo>
                <a:lnTo>
                  <a:pt x="233" y="473"/>
                </a:lnTo>
                <a:lnTo>
                  <a:pt x="233" y="473"/>
                </a:lnTo>
                <a:lnTo>
                  <a:pt x="234" y="478"/>
                </a:lnTo>
                <a:lnTo>
                  <a:pt x="234" y="478"/>
                </a:lnTo>
                <a:lnTo>
                  <a:pt x="236" y="480"/>
                </a:lnTo>
                <a:lnTo>
                  <a:pt x="236" y="480"/>
                </a:lnTo>
                <a:lnTo>
                  <a:pt x="236" y="483"/>
                </a:lnTo>
                <a:close/>
                <a:moveTo>
                  <a:pt x="87" y="524"/>
                </a:moveTo>
                <a:lnTo>
                  <a:pt x="87" y="524"/>
                </a:lnTo>
                <a:lnTo>
                  <a:pt x="90" y="523"/>
                </a:lnTo>
                <a:lnTo>
                  <a:pt x="93" y="524"/>
                </a:lnTo>
                <a:lnTo>
                  <a:pt x="94" y="525"/>
                </a:lnTo>
                <a:lnTo>
                  <a:pt x="96" y="525"/>
                </a:lnTo>
                <a:lnTo>
                  <a:pt x="96" y="525"/>
                </a:lnTo>
                <a:lnTo>
                  <a:pt x="97" y="533"/>
                </a:lnTo>
                <a:lnTo>
                  <a:pt x="99" y="538"/>
                </a:lnTo>
                <a:lnTo>
                  <a:pt x="99" y="538"/>
                </a:lnTo>
                <a:lnTo>
                  <a:pt x="101" y="537"/>
                </a:lnTo>
                <a:lnTo>
                  <a:pt x="103" y="537"/>
                </a:lnTo>
                <a:lnTo>
                  <a:pt x="104" y="538"/>
                </a:lnTo>
                <a:lnTo>
                  <a:pt x="104" y="541"/>
                </a:lnTo>
                <a:lnTo>
                  <a:pt x="104" y="541"/>
                </a:lnTo>
                <a:lnTo>
                  <a:pt x="106" y="544"/>
                </a:lnTo>
                <a:lnTo>
                  <a:pt x="106" y="545"/>
                </a:lnTo>
                <a:lnTo>
                  <a:pt x="106" y="545"/>
                </a:lnTo>
                <a:lnTo>
                  <a:pt x="106" y="545"/>
                </a:lnTo>
                <a:lnTo>
                  <a:pt x="106" y="545"/>
                </a:lnTo>
                <a:lnTo>
                  <a:pt x="106" y="545"/>
                </a:lnTo>
                <a:lnTo>
                  <a:pt x="106" y="545"/>
                </a:lnTo>
                <a:lnTo>
                  <a:pt x="106" y="545"/>
                </a:lnTo>
                <a:lnTo>
                  <a:pt x="109" y="553"/>
                </a:lnTo>
                <a:lnTo>
                  <a:pt x="109" y="553"/>
                </a:lnTo>
                <a:lnTo>
                  <a:pt x="109" y="553"/>
                </a:lnTo>
                <a:lnTo>
                  <a:pt x="109" y="554"/>
                </a:lnTo>
                <a:lnTo>
                  <a:pt x="109" y="554"/>
                </a:lnTo>
                <a:lnTo>
                  <a:pt x="109" y="557"/>
                </a:lnTo>
                <a:lnTo>
                  <a:pt x="109" y="557"/>
                </a:lnTo>
                <a:lnTo>
                  <a:pt x="109" y="561"/>
                </a:lnTo>
                <a:lnTo>
                  <a:pt x="109" y="564"/>
                </a:lnTo>
                <a:lnTo>
                  <a:pt x="109" y="564"/>
                </a:lnTo>
                <a:lnTo>
                  <a:pt x="104" y="558"/>
                </a:lnTo>
                <a:lnTo>
                  <a:pt x="104" y="558"/>
                </a:lnTo>
                <a:lnTo>
                  <a:pt x="101" y="555"/>
                </a:lnTo>
                <a:lnTo>
                  <a:pt x="101" y="555"/>
                </a:lnTo>
                <a:lnTo>
                  <a:pt x="101" y="555"/>
                </a:lnTo>
                <a:lnTo>
                  <a:pt x="101" y="555"/>
                </a:lnTo>
                <a:lnTo>
                  <a:pt x="101" y="555"/>
                </a:lnTo>
                <a:lnTo>
                  <a:pt x="99" y="547"/>
                </a:lnTo>
                <a:lnTo>
                  <a:pt x="99" y="547"/>
                </a:lnTo>
                <a:lnTo>
                  <a:pt x="99" y="547"/>
                </a:lnTo>
                <a:lnTo>
                  <a:pt x="99" y="547"/>
                </a:lnTo>
                <a:lnTo>
                  <a:pt x="99" y="545"/>
                </a:lnTo>
                <a:lnTo>
                  <a:pt x="99" y="545"/>
                </a:lnTo>
                <a:lnTo>
                  <a:pt x="96" y="538"/>
                </a:lnTo>
                <a:lnTo>
                  <a:pt x="96" y="538"/>
                </a:lnTo>
                <a:lnTo>
                  <a:pt x="93" y="531"/>
                </a:lnTo>
                <a:lnTo>
                  <a:pt x="93" y="531"/>
                </a:lnTo>
                <a:lnTo>
                  <a:pt x="91" y="528"/>
                </a:lnTo>
                <a:lnTo>
                  <a:pt x="91" y="528"/>
                </a:lnTo>
                <a:lnTo>
                  <a:pt x="90" y="528"/>
                </a:lnTo>
                <a:lnTo>
                  <a:pt x="90" y="528"/>
                </a:lnTo>
                <a:lnTo>
                  <a:pt x="90" y="527"/>
                </a:lnTo>
                <a:lnTo>
                  <a:pt x="90" y="527"/>
                </a:lnTo>
                <a:lnTo>
                  <a:pt x="87" y="524"/>
                </a:lnTo>
                <a:close/>
                <a:moveTo>
                  <a:pt x="83" y="533"/>
                </a:moveTo>
                <a:lnTo>
                  <a:pt x="83" y="533"/>
                </a:lnTo>
                <a:lnTo>
                  <a:pt x="81" y="533"/>
                </a:lnTo>
                <a:lnTo>
                  <a:pt x="81" y="533"/>
                </a:lnTo>
                <a:lnTo>
                  <a:pt x="81" y="531"/>
                </a:lnTo>
                <a:lnTo>
                  <a:pt x="81" y="531"/>
                </a:lnTo>
                <a:lnTo>
                  <a:pt x="81" y="531"/>
                </a:lnTo>
                <a:lnTo>
                  <a:pt x="81" y="531"/>
                </a:lnTo>
                <a:lnTo>
                  <a:pt x="80" y="524"/>
                </a:lnTo>
                <a:lnTo>
                  <a:pt x="80" y="524"/>
                </a:lnTo>
                <a:lnTo>
                  <a:pt x="84" y="525"/>
                </a:lnTo>
                <a:lnTo>
                  <a:pt x="84" y="528"/>
                </a:lnTo>
                <a:lnTo>
                  <a:pt x="84" y="528"/>
                </a:lnTo>
                <a:lnTo>
                  <a:pt x="84" y="530"/>
                </a:lnTo>
                <a:lnTo>
                  <a:pt x="84" y="530"/>
                </a:lnTo>
                <a:lnTo>
                  <a:pt x="84" y="531"/>
                </a:lnTo>
                <a:lnTo>
                  <a:pt x="84" y="531"/>
                </a:lnTo>
                <a:lnTo>
                  <a:pt x="83" y="533"/>
                </a:lnTo>
                <a:close/>
                <a:moveTo>
                  <a:pt x="94" y="518"/>
                </a:moveTo>
                <a:lnTo>
                  <a:pt x="94" y="518"/>
                </a:lnTo>
                <a:lnTo>
                  <a:pt x="90" y="518"/>
                </a:lnTo>
                <a:lnTo>
                  <a:pt x="87" y="517"/>
                </a:lnTo>
                <a:lnTo>
                  <a:pt x="86" y="514"/>
                </a:lnTo>
                <a:lnTo>
                  <a:pt x="84" y="510"/>
                </a:lnTo>
                <a:lnTo>
                  <a:pt x="84" y="510"/>
                </a:lnTo>
                <a:lnTo>
                  <a:pt x="87" y="508"/>
                </a:lnTo>
                <a:lnTo>
                  <a:pt x="89" y="510"/>
                </a:lnTo>
                <a:lnTo>
                  <a:pt x="90" y="511"/>
                </a:lnTo>
                <a:lnTo>
                  <a:pt x="91" y="511"/>
                </a:lnTo>
                <a:lnTo>
                  <a:pt x="91" y="511"/>
                </a:lnTo>
                <a:lnTo>
                  <a:pt x="90" y="498"/>
                </a:lnTo>
                <a:lnTo>
                  <a:pt x="89" y="487"/>
                </a:lnTo>
                <a:lnTo>
                  <a:pt x="89" y="487"/>
                </a:lnTo>
                <a:lnTo>
                  <a:pt x="87" y="481"/>
                </a:lnTo>
                <a:lnTo>
                  <a:pt x="87" y="481"/>
                </a:lnTo>
                <a:lnTo>
                  <a:pt x="89" y="477"/>
                </a:lnTo>
                <a:lnTo>
                  <a:pt x="89" y="477"/>
                </a:lnTo>
                <a:lnTo>
                  <a:pt x="90" y="474"/>
                </a:lnTo>
                <a:lnTo>
                  <a:pt x="93" y="471"/>
                </a:lnTo>
                <a:lnTo>
                  <a:pt x="93" y="471"/>
                </a:lnTo>
                <a:lnTo>
                  <a:pt x="93" y="478"/>
                </a:lnTo>
                <a:lnTo>
                  <a:pt x="93" y="478"/>
                </a:lnTo>
                <a:lnTo>
                  <a:pt x="94" y="480"/>
                </a:lnTo>
                <a:lnTo>
                  <a:pt x="94" y="480"/>
                </a:lnTo>
                <a:lnTo>
                  <a:pt x="94" y="483"/>
                </a:lnTo>
                <a:lnTo>
                  <a:pt x="94" y="483"/>
                </a:lnTo>
                <a:lnTo>
                  <a:pt x="96" y="485"/>
                </a:lnTo>
                <a:lnTo>
                  <a:pt x="96" y="485"/>
                </a:lnTo>
                <a:lnTo>
                  <a:pt x="104" y="498"/>
                </a:lnTo>
                <a:lnTo>
                  <a:pt x="104" y="498"/>
                </a:lnTo>
                <a:lnTo>
                  <a:pt x="103" y="503"/>
                </a:lnTo>
                <a:lnTo>
                  <a:pt x="103" y="505"/>
                </a:lnTo>
                <a:lnTo>
                  <a:pt x="103" y="508"/>
                </a:lnTo>
                <a:lnTo>
                  <a:pt x="103" y="508"/>
                </a:lnTo>
                <a:lnTo>
                  <a:pt x="100" y="507"/>
                </a:lnTo>
                <a:lnTo>
                  <a:pt x="99" y="504"/>
                </a:lnTo>
                <a:lnTo>
                  <a:pt x="99" y="498"/>
                </a:lnTo>
                <a:lnTo>
                  <a:pt x="99" y="498"/>
                </a:lnTo>
                <a:lnTo>
                  <a:pt x="94" y="501"/>
                </a:lnTo>
                <a:lnTo>
                  <a:pt x="93" y="505"/>
                </a:lnTo>
                <a:lnTo>
                  <a:pt x="93" y="511"/>
                </a:lnTo>
                <a:lnTo>
                  <a:pt x="94" y="518"/>
                </a:lnTo>
                <a:close/>
                <a:moveTo>
                  <a:pt x="76" y="457"/>
                </a:moveTo>
                <a:lnTo>
                  <a:pt x="76" y="457"/>
                </a:lnTo>
                <a:lnTo>
                  <a:pt x="74" y="454"/>
                </a:lnTo>
                <a:lnTo>
                  <a:pt x="73" y="451"/>
                </a:lnTo>
                <a:lnTo>
                  <a:pt x="74" y="448"/>
                </a:lnTo>
                <a:lnTo>
                  <a:pt x="76" y="447"/>
                </a:lnTo>
                <a:lnTo>
                  <a:pt x="77" y="447"/>
                </a:lnTo>
                <a:lnTo>
                  <a:pt x="77" y="447"/>
                </a:lnTo>
                <a:lnTo>
                  <a:pt x="80" y="450"/>
                </a:lnTo>
                <a:lnTo>
                  <a:pt x="80" y="454"/>
                </a:lnTo>
                <a:lnTo>
                  <a:pt x="80" y="454"/>
                </a:lnTo>
                <a:lnTo>
                  <a:pt x="77" y="454"/>
                </a:lnTo>
                <a:lnTo>
                  <a:pt x="77" y="456"/>
                </a:lnTo>
                <a:lnTo>
                  <a:pt x="76" y="457"/>
                </a:lnTo>
                <a:close/>
                <a:moveTo>
                  <a:pt x="790" y="314"/>
                </a:moveTo>
                <a:lnTo>
                  <a:pt x="790" y="314"/>
                </a:lnTo>
                <a:lnTo>
                  <a:pt x="790" y="314"/>
                </a:lnTo>
                <a:lnTo>
                  <a:pt x="790" y="314"/>
                </a:lnTo>
                <a:lnTo>
                  <a:pt x="790" y="314"/>
                </a:lnTo>
                <a:lnTo>
                  <a:pt x="790" y="314"/>
                </a:lnTo>
                <a:lnTo>
                  <a:pt x="790" y="314"/>
                </a:lnTo>
                <a:close/>
                <a:moveTo>
                  <a:pt x="790" y="314"/>
                </a:move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close/>
                <a:moveTo>
                  <a:pt x="99" y="326"/>
                </a:moveTo>
                <a:lnTo>
                  <a:pt x="99" y="326"/>
                </a:lnTo>
                <a:lnTo>
                  <a:pt x="97" y="326"/>
                </a:lnTo>
                <a:lnTo>
                  <a:pt x="97" y="323"/>
                </a:lnTo>
                <a:lnTo>
                  <a:pt x="97" y="316"/>
                </a:lnTo>
                <a:lnTo>
                  <a:pt x="97" y="316"/>
                </a:lnTo>
                <a:lnTo>
                  <a:pt x="100" y="317"/>
                </a:lnTo>
                <a:lnTo>
                  <a:pt x="100" y="320"/>
                </a:lnTo>
                <a:lnTo>
                  <a:pt x="100" y="324"/>
                </a:lnTo>
                <a:lnTo>
                  <a:pt x="99" y="326"/>
                </a:lnTo>
                <a:close/>
                <a:moveTo>
                  <a:pt x="69" y="320"/>
                </a:moveTo>
                <a:lnTo>
                  <a:pt x="69" y="320"/>
                </a:lnTo>
                <a:lnTo>
                  <a:pt x="67" y="318"/>
                </a:lnTo>
                <a:lnTo>
                  <a:pt x="67" y="316"/>
                </a:lnTo>
                <a:lnTo>
                  <a:pt x="67" y="307"/>
                </a:lnTo>
                <a:lnTo>
                  <a:pt x="67" y="307"/>
                </a:lnTo>
                <a:lnTo>
                  <a:pt x="70" y="308"/>
                </a:lnTo>
                <a:lnTo>
                  <a:pt x="70" y="311"/>
                </a:lnTo>
                <a:lnTo>
                  <a:pt x="69" y="316"/>
                </a:lnTo>
                <a:lnTo>
                  <a:pt x="69" y="320"/>
                </a:lnTo>
                <a:close/>
                <a:moveTo>
                  <a:pt x="89" y="253"/>
                </a:moveTo>
                <a:lnTo>
                  <a:pt x="89" y="253"/>
                </a:lnTo>
                <a:lnTo>
                  <a:pt x="89" y="254"/>
                </a:lnTo>
                <a:lnTo>
                  <a:pt x="87" y="254"/>
                </a:lnTo>
                <a:lnTo>
                  <a:pt x="86" y="253"/>
                </a:lnTo>
                <a:lnTo>
                  <a:pt x="84" y="249"/>
                </a:lnTo>
                <a:lnTo>
                  <a:pt x="86" y="244"/>
                </a:lnTo>
                <a:lnTo>
                  <a:pt x="86" y="244"/>
                </a:lnTo>
                <a:lnTo>
                  <a:pt x="87" y="244"/>
                </a:lnTo>
                <a:lnTo>
                  <a:pt x="89" y="246"/>
                </a:lnTo>
                <a:lnTo>
                  <a:pt x="89" y="249"/>
                </a:lnTo>
                <a:lnTo>
                  <a:pt x="89" y="251"/>
                </a:lnTo>
                <a:lnTo>
                  <a:pt x="89" y="253"/>
                </a:lnTo>
                <a:close/>
                <a:moveTo>
                  <a:pt x="785" y="314"/>
                </a:moveTo>
                <a:lnTo>
                  <a:pt x="785" y="314"/>
                </a:lnTo>
                <a:lnTo>
                  <a:pt x="778" y="311"/>
                </a:lnTo>
                <a:lnTo>
                  <a:pt x="778" y="311"/>
                </a:lnTo>
                <a:lnTo>
                  <a:pt x="786" y="313"/>
                </a:lnTo>
                <a:lnTo>
                  <a:pt x="786" y="313"/>
                </a:lnTo>
                <a:lnTo>
                  <a:pt x="793" y="316"/>
                </a:lnTo>
                <a:lnTo>
                  <a:pt x="793" y="316"/>
                </a:lnTo>
                <a:lnTo>
                  <a:pt x="793" y="316"/>
                </a:lnTo>
                <a:lnTo>
                  <a:pt x="793" y="316"/>
                </a:lnTo>
                <a:lnTo>
                  <a:pt x="793" y="314"/>
                </a:lnTo>
                <a:lnTo>
                  <a:pt x="793" y="314"/>
                </a:lnTo>
                <a:lnTo>
                  <a:pt x="785" y="314"/>
                </a:lnTo>
                <a:close/>
                <a:moveTo>
                  <a:pt x="270" y="177"/>
                </a:moveTo>
                <a:lnTo>
                  <a:pt x="270" y="177"/>
                </a:lnTo>
                <a:lnTo>
                  <a:pt x="267" y="176"/>
                </a:lnTo>
                <a:lnTo>
                  <a:pt x="265" y="174"/>
                </a:lnTo>
                <a:lnTo>
                  <a:pt x="267" y="169"/>
                </a:lnTo>
                <a:lnTo>
                  <a:pt x="267" y="169"/>
                </a:lnTo>
                <a:lnTo>
                  <a:pt x="270" y="169"/>
                </a:lnTo>
                <a:lnTo>
                  <a:pt x="273" y="169"/>
                </a:lnTo>
                <a:lnTo>
                  <a:pt x="273" y="169"/>
                </a:lnTo>
                <a:lnTo>
                  <a:pt x="271" y="174"/>
                </a:lnTo>
                <a:lnTo>
                  <a:pt x="270" y="177"/>
                </a:lnTo>
                <a:close/>
                <a:moveTo>
                  <a:pt x="770" y="304"/>
                </a:moveTo>
                <a:lnTo>
                  <a:pt x="770" y="304"/>
                </a:lnTo>
                <a:lnTo>
                  <a:pt x="762" y="300"/>
                </a:lnTo>
                <a:lnTo>
                  <a:pt x="762" y="300"/>
                </a:lnTo>
                <a:lnTo>
                  <a:pt x="749" y="294"/>
                </a:lnTo>
                <a:lnTo>
                  <a:pt x="740" y="289"/>
                </a:lnTo>
                <a:lnTo>
                  <a:pt x="740" y="289"/>
                </a:lnTo>
                <a:lnTo>
                  <a:pt x="742" y="290"/>
                </a:lnTo>
                <a:lnTo>
                  <a:pt x="745" y="290"/>
                </a:lnTo>
                <a:lnTo>
                  <a:pt x="745" y="290"/>
                </a:lnTo>
                <a:lnTo>
                  <a:pt x="768" y="301"/>
                </a:lnTo>
                <a:lnTo>
                  <a:pt x="768" y="301"/>
                </a:lnTo>
                <a:lnTo>
                  <a:pt x="769" y="303"/>
                </a:lnTo>
                <a:lnTo>
                  <a:pt x="769" y="303"/>
                </a:lnTo>
                <a:lnTo>
                  <a:pt x="773" y="306"/>
                </a:lnTo>
                <a:lnTo>
                  <a:pt x="773" y="306"/>
                </a:lnTo>
                <a:lnTo>
                  <a:pt x="770" y="304"/>
                </a:lnTo>
                <a:close/>
                <a:moveTo>
                  <a:pt x="487" y="170"/>
                </a:moveTo>
                <a:lnTo>
                  <a:pt x="487" y="170"/>
                </a:lnTo>
                <a:lnTo>
                  <a:pt x="485" y="167"/>
                </a:lnTo>
                <a:lnTo>
                  <a:pt x="485" y="166"/>
                </a:lnTo>
                <a:lnTo>
                  <a:pt x="488" y="164"/>
                </a:lnTo>
                <a:lnTo>
                  <a:pt x="488" y="164"/>
                </a:lnTo>
                <a:lnTo>
                  <a:pt x="489" y="167"/>
                </a:lnTo>
                <a:lnTo>
                  <a:pt x="489" y="169"/>
                </a:lnTo>
                <a:lnTo>
                  <a:pt x="489" y="169"/>
                </a:lnTo>
                <a:lnTo>
                  <a:pt x="487" y="169"/>
                </a:lnTo>
                <a:lnTo>
                  <a:pt x="487" y="170"/>
                </a:lnTo>
                <a:close/>
                <a:moveTo>
                  <a:pt x="753" y="294"/>
                </a:moveTo>
                <a:lnTo>
                  <a:pt x="753" y="294"/>
                </a:lnTo>
                <a:lnTo>
                  <a:pt x="755" y="294"/>
                </a:lnTo>
                <a:lnTo>
                  <a:pt x="755" y="294"/>
                </a:lnTo>
                <a:lnTo>
                  <a:pt x="762" y="299"/>
                </a:lnTo>
                <a:lnTo>
                  <a:pt x="762" y="299"/>
                </a:lnTo>
                <a:lnTo>
                  <a:pt x="753" y="294"/>
                </a:lnTo>
                <a:close/>
                <a:moveTo>
                  <a:pt x="291" y="56"/>
                </a:moveTo>
                <a:lnTo>
                  <a:pt x="291" y="56"/>
                </a:lnTo>
                <a:lnTo>
                  <a:pt x="290" y="56"/>
                </a:lnTo>
                <a:lnTo>
                  <a:pt x="290" y="54"/>
                </a:lnTo>
                <a:lnTo>
                  <a:pt x="291" y="50"/>
                </a:lnTo>
                <a:lnTo>
                  <a:pt x="294" y="49"/>
                </a:lnTo>
                <a:lnTo>
                  <a:pt x="295" y="49"/>
                </a:lnTo>
                <a:lnTo>
                  <a:pt x="297" y="50"/>
                </a:lnTo>
                <a:lnTo>
                  <a:pt x="297" y="50"/>
                </a:lnTo>
                <a:lnTo>
                  <a:pt x="297" y="52"/>
                </a:lnTo>
                <a:lnTo>
                  <a:pt x="295" y="53"/>
                </a:lnTo>
                <a:lnTo>
                  <a:pt x="291" y="56"/>
                </a:lnTo>
                <a:close/>
                <a:moveTo>
                  <a:pt x="341" y="20"/>
                </a:moveTo>
                <a:lnTo>
                  <a:pt x="342" y="17"/>
                </a:lnTo>
                <a:lnTo>
                  <a:pt x="342" y="17"/>
                </a:lnTo>
                <a:lnTo>
                  <a:pt x="347" y="20"/>
                </a:lnTo>
                <a:lnTo>
                  <a:pt x="348" y="22"/>
                </a:lnTo>
                <a:lnTo>
                  <a:pt x="347" y="24"/>
                </a:lnTo>
                <a:lnTo>
                  <a:pt x="347" y="24"/>
                </a:lnTo>
                <a:lnTo>
                  <a:pt x="345" y="23"/>
                </a:lnTo>
                <a:lnTo>
                  <a:pt x="342" y="23"/>
                </a:lnTo>
                <a:lnTo>
                  <a:pt x="341" y="22"/>
                </a:lnTo>
                <a:lnTo>
                  <a:pt x="341" y="20"/>
                </a:ln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en-US"/>
          </a:p>
        </p:txBody>
      </p:sp>
      <p:sp>
        <p:nvSpPr>
          <p:cNvPr id="273" name="Freeform 273"/>
          <p:cNvSpPr/>
          <p:nvPr/>
        </p:nvSpPr>
        <p:spPr bwMode="auto">
          <a:xfrm>
            <a:off x="1107455" y="2485981"/>
            <a:ext cx="4576928" cy="3464949"/>
          </a:xfrm>
          <a:custGeom>
            <a:avLst/>
            <a:gdLst>
              <a:gd name="T0" fmla="*/ 923 w 1489"/>
              <a:gd name="T1" fmla="*/ 260 h 1128"/>
              <a:gd name="T2" fmla="*/ 909 w 1489"/>
              <a:gd name="T3" fmla="*/ 314 h 1128"/>
              <a:gd name="T4" fmla="*/ 866 w 1489"/>
              <a:gd name="T5" fmla="*/ 368 h 1128"/>
              <a:gd name="T6" fmla="*/ 830 w 1489"/>
              <a:gd name="T7" fmla="*/ 356 h 1128"/>
              <a:gd name="T8" fmla="*/ 819 w 1489"/>
              <a:gd name="T9" fmla="*/ 353 h 1128"/>
              <a:gd name="T10" fmla="*/ 805 w 1489"/>
              <a:gd name="T11" fmla="*/ 373 h 1128"/>
              <a:gd name="T12" fmla="*/ 789 w 1489"/>
              <a:gd name="T13" fmla="*/ 360 h 1128"/>
              <a:gd name="T14" fmla="*/ 792 w 1489"/>
              <a:gd name="T15" fmla="*/ 317 h 1128"/>
              <a:gd name="T16" fmla="*/ 772 w 1489"/>
              <a:gd name="T17" fmla="*/ 337 h 1128"/>
              <a:gd name="T18" fmla="*/ 792 w 1489"/>
              <a:gd name="T19" fmla="*/ 316 h 1128"/>
              <a:gd name="T20" fmla="*/ 790 w 1489"/>
              <a:gd name="T21" fmla="*/ 317 h 1128"/>
              <a:gd name="T22" fmla="*/ 799 w 1489"/>
              <a:gd name="T23" fmla="*/ 313 h 1128"/>
              <a:gd name="T24" fmla="*/ 790 w 1489"/>
              <a:gd name="T25" fmla="*/ 314 h 1128"/>
              <a:gd name="T26" fmla="*/ 796 w 1489"/>
              <a:gd name="T27" fmla="*/ 316 h 1128"/>
              <a:gd name="T28" fmla="*/ 671 w 1489"/>
              <a:gd name="T29" fmla="*/ 210 h 1128"/>
              <a:gd name="T30" fmla="*/ 683 w 1489"/>
              <a:gd name="T31" fmla="*/ 190 h 1128"/>
              <a:gd name="T32" fmla="*/ 568 w 1489"/>
              <a:gd name="T33" fmla="*/ 146 h 1128"/>
              <a:gd name="T34" fmla="*/ 471 w 1489"/>
              <a:gd name="T35" fmla="*/ 206 h 1128"/>
              <a:gd name="T36" fmla="*/ 492 w 1489"/>
              <a:gd name="T37" fmla="*/ 110 h 1128"/>
              <a:gd name="T38" fmla="*/ 371 w 1489"/>
              <a:gd name="T39" fmla="*/ 22 h 1128"/>
              <a:gd name="T40" fmla="*/ 234 w 1489"/>
              <a:gd name="T41" fmla="*/ 210 h 1128"/>
              <a:gd name="T42" fmla="*/ 221 w 1489"/>
              <a:gd name="T43" fmla="*/ 257 h 1128"/>
              <a:gd name="T44" fmla="*/ 200 w 1489"/>
              <a:gd name="T45" fmla="*/ 316 h 1128"/>
              <a:gd name="T46" fmla="*/ 170 w 1489"/>
              <a:gd name="T47" fmla="*/ 239 h 1128"/>
              <a:gd name="T48" fmla="*/ 146 w 1489"/>
              <a:gd name="T49" fmla="*/ 271 h 1128"/>
              <a:gd name="T50" fmla="*/ 161 w 1489"/>
              <a:gd name="T51" fmla="*/ 525 h 1128"/>
              <a:gd name="T52" fmla="*/ 97 w 1489"/>
              <a:gd name="T53" fmla="*/ 314 h 1128"/>
              <a:gd name="T54" fmla="*/ 74 w 1489"/>
              <a:gd name="T55" fmla="*/ 254 h 1128"/>
              <a:gd name="T56" fmla="*/ 83 w 1489"/>
              <a:gd name="T57" fmla="*/ 481 h 1128"/>
              <a:gd name="T58" fmla="*/ 43 w 1489"/>
              <a:gd name="T59" fmla="*/ 304 h 1128"/>
              <a:gd name="T60" fmla="*/ 47 w 1489"/>
              <a:gd name="T61" fmla="*/ 156 h 1128"/>
              <a:gd name="T62" fmla="*/ 4 w 1489"/>
              <a:gd name="T63" fmla="*/ 299 h 1128"/>
              <a:gd name="T64" fmla="*/ 36 w 1489"/>
              <a:gd name="T65" fmla="*/ 531 h 1128"/>
              <a:gd name="T66" fmla="*/ 123 w 1489"/>
              <a:gd name="T67" fmla="*/ 718 h 1128"/>
              <a:gd name="T68" fmla="*/ 258 w 1489"/>
              <a:gd name="T69" fmla="*/ 894 h 1128"/>
              <a:gd name="T70" fmla="*/ 350 w 1489"/>
              <a:gd name="T71" fmla="*/ 992 h 1128"/>
              <a:gd name="T72" fmla="*/ 512 w 1489"/>
              <a:gd name="T73" fmla="*/ 1074 h 1128"/>
              <a:gd name="T74" fmla="*/ 672 w 1489"/>
              <a:gd name="T75" fmla="*/ 1102 h 1128"/>
              <a:gd name="T76" fmla="*/ 840 w 1489"/>
              <a:gd name="T77" fmla="*/ 1118 h 1128"/>
              <a:gd name="T78" fmla="*/ 1044 w 1489"/>
              <a:gd name="T79" fmla="*/ 1068 h 1128"/>
              <a:gd name="T80" fmla="*/ 1231 w 1489"/>
              <a:gd name="T81" fmla="*/ 936 h 1128"/>
              <a:gd name="T82" fmla="*/ 1459 w 1489"/>
              <a:gd name="T83" fmla="*/ 678 h 1128"/>
              <a:gd name="T84" fmla="*/ 1332 w 1489"/>
              <a:gd name="T85" fmla="*/ 809 h 1128"/>
              <a:gd name="T86" fmla="*/ 1090 w 1489"/>
              <a:gd name="T87" fmla="*/ 1002 h 1128"/>
              <a:gd name="T88" fmla="*/ 929 w 1489"/>
              <a:gd name="T89" fmla="*/ 1052 h 1128"/>
              <a:gd name="T90" fmla="*/ 869 w 1489"/>
              <a:gd name="T91" fmla="*/ 1058 h 1128"/>
              <a:gd name="T92" fmla="*/ 1039 w 1489"/>
              <a:gd name="T93" fmla="*/ 1005 h 1128"/>
              <a:gd name="T94" fmla="*/ 1178 w 1489"/>
              <a:gd name="T95" fmla="*/ 894 h 1128"/>
              <a:gd name="T96" fmla="*/ 1254 w 1489"/>
              <a:gd name="T97" fmla="*/ 822 h 1128"/>
              <a:gd name="T98" fmla="*/ 1330 w 1489"/>
              <a:gd name="T99" fmla="*/ 730 h 1128"/>
              <a:gd name="T100" fmla="*/ 1434 w 1489"/>
              <a:gd name="T101" fmla="*/ 400 h 1128"/>
              <a:gd name="T102" fmla="*/ 1381 w 1489"/>
              <a:gd name="T103" fmla="*/ 411 h 1128"/>
              <a:gd name="T104" fmla="*/ 1324 w 1489"/>
              <a:gd name="T105" fmla="*/ 236 h 1128"/>
              <a:gd name="T106" fmla="*/ 1281 w 1489"/>
              <a:gd name="T107" fmla="*/ 378 h 1128"/>
              <a:gd name="T108" fmla="*/ 1123 w 1489"/>
              <a:gd name="T109" fmla="*/ 648 h 1128"/>
              <a:gd name="T110" fmla="*/ 1118 w 1489"/>
              <a:gd name="T111" fmla="*/ 620 h 1128"/>
              <a:gd name="T112" fmla="*/ 1047 w 1489"/>
              <a:gd name="T113" fmla="*/ 638 h 1128"/>
              <a:gd name="T114" fmla="*/ 1170 w 1489"/>
              <a:gd name="T115" fmla="*/ 310 h 1128"/>
              <a:gd name="T116" fmla="*/ 1154 w 1489"/>
              <a:gd name="T117" fmla="*/ 234 h 1128"/>
              <a:gd name="T118" fmla="*/ 1137 w 1489"/>
              <a:gd name="T119" fmla="*/ 433 h 1128"/>
              <a:gd name="T120" fmla="*/ 1136 w 1489"/>
              <a:gd name="T121" fmla="*/ 390 h 1128"/>
              <a:gd name="T122" fmla="*/ 1103 w 1489"/>
              <a:gd name="T123" fmla="*/ 207 h 1128"/>
              <a:gd name="T124" fmla="*/ 983 w 1489"/>
              <a:gd name="T125" fmla="*/ 15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9" h="1128">
                <a:moveTo>
                  <a:pt x="912" y="184"/>
                </a:moveTo>
                <a:lnTo>
                  <a:pt x="912" y="184"/>
                </a:lnTo>
                <a:lnTo>
                  <a:pt x="912" y="187"/>
                </a:lnTo>
                <a:lnTo>
                  <a:pt x="912" y="187"/>
                </a:lnTo>
                <a:lnTo>
                  <a:pt x="913" y="190"/>
                </a:lnTo>
                <a:lnTo>
                  <a:pt x="913" y="190"/>
                </a:lnTo>
                <a:lnTo>
                  <a:pt x="916" y="193"/>
                </a:lnTo>
                <a:lnTo>
                  <a:pt x="916" y="193"/>
                </a:lnTo>
                <a:lnTo>
                  <a:pt x="917" y="193"/>
                </a:lnTo>
                <a:lnTo>
                  <a:pt x="917" y="193"/>
                </a:lnTo>
                <a:lnTo>
                  <a:pt x="916" y="196"/>
                </a:lnTo>
                <a:lnTo>
                  <a:pt x="916" y="199"/>
                </a:lnTo>
                <a:lnTo>
                  <a:pt x="917" y="200"/>
                </a:lnTo>
                <a:lnTo>
                  <a:pt x="917" y="200"/>
                </a:lnTo>
                <a:lnTo>
                  <a:pt x="919" y="201"/>
                </a:lnTo>
                <a:lnTo>
                  <a:pt x="919" y="201"/>
                </a:lnTo>
                <a:lnTo>
                  <a:pt x="919" y="203"/>
                </a:lnTo>
                <a:lnTo>
                  <a:pt x="919" y="203"/>
                </a:lnTo>
                <a:lnTo>
                  <a:pt x="917" y="206"/>
                </a:lnTo>
                <a:lnTo>
                  <a:pt x="914" y="210"/>
                </a:lnTo>
                <a:lnTo>
                  <a:pt x="914" y="210"/>
                </a:lnTo>
                <a:lnTo>
                  <a:pt x="916" y="209"/>
                </a:lnTo>
                <a:lnTo>
                  <a:pt x="917" y="207"/>
                </a:lnTo>
                <a:lnTo>
                  <a:pt x="920" y="206"/>
                </a:lnTo>
                <a:lnTo>
                  <a:pt x="922" y="206"/>
                </a:lnTo>
                <a:lnTo>
                  <a:pt x="922" y="206"/>
                </a:lnTo>
                <a:lnTo>
                  <a:pt x="917" y="214"/>
                </a:lnTo>
                <a:lnTo>
                  <a:pt x="917" y="214"/>
                </a:lnTo>
                <a:lnTo>
                  <a:pt x="920" y="213"/>
                </a:lnTo>
                <a:lnTo>
                  <a:pt x="922" y="214"/>
                </a:lnTo>
                <a:lnTo>
                  <a:pt x="920" y="216"/>
                </a:lnTo>
                <a:lnTo>
                  <a:pt x="919" y="219"/>
                </a:lnTo>
                <a:lnTo>
                  <a:pt x="919" y="219"/>
                </a:lnTo>
                <a:lnTo>
                  <a:pt x="914" y="220"/>
                </a:lnTo>
                <a:lnTo>
                  <a:pt x="914" y="220"/>
                </a:lnTo>
                <a:lnTo>
                  <a:pt x="916" y="217"/>
                </a:lnTo>
                <a:lnTo>
                  <a:pt x="916" y="216"/>
                </a:lnTo>
                <a:lnTo>
                  <a:pt x="916" y="216"/>
                </a:lnTo>
                <a:lnTo>
                  <a:pt x="913" y="214"/>
                </a:lnTo>
                <a:lnTo>
                  <a:pt x="910" y="216"/>
                </a:lnTo>
                <a:lnTo>
                  <a:pt x="910" y="216"/>
                </a:lnTo>
                <a:lnTo>
                  <a:pt x="912" y="219"/>
                </a:lnTo>
                <a:lnTo>
                  <a:pt x="913" y="221"/>
                </a:lnTo>
                <a:lnTo>
                  <a:pt x="916" y="221"/>
                </a:lnTo>
                <a:lnTo>
                  <a:pt x="916" y="221"/>
                </a:lnTo>
                <a:lnTo>
                  <a:pt x="916" y="221"/>
                </a:lnTo>
                <a:lnTo>
                  <a:pt x="917" y="220"/>
                </a:lnTo>
                <a:lnTo>
                  <a:pt x="917" y="220"/>
                </a:lnTo>
                <a:lnTo>
                  <a:pt x="919" y="220"/>
                </a:lnTo>
                <a:lnTo>
                  <a:pt x="920" y="220"/>
                </a:lnTo>
                <a:lnTo>
                  <a:pt x="920" y="220"/>
                </a:lnTo>
                <a:lnTo>
                  <a:pt x="917" y="221"/>
                </a:lnTo>
                <a:lnTo>
                  <a:pt x="917" y="221"/>
                </a:lnTo>
                <a:lnTo>
                  <a:pt x="917" y="223"/>
                </a:lnTo>
                <a:lnTo>
                  <a:pt x="917" y="223"/>
                </a:lnTo>
                <a:lnTo>
                  <a:pt x="920" y="221"/>
                </a:lnTo>
                <a:lnTo>
                  <a:pt x="922" y="221"/>
                </a:lnTo>
                <a:lnTo>
                  <a:pt x="922" y="221"/>
                </a:lnTo>
                <a:lnTo>
                  <a:pt x="920" y="224"/>
                </a:lnTo>
                <a:lnTo>
                  <a:pt x="920" y="227"/>
                </a:lnTo>
                <a:lnTo>
                  <a:pt x="920" y="227"/>
                </a:lnTo>
                <a:lnTo>
                  <a:pt x="922" y="229"/>
                </a:lnTo>
                <a:lnTo>
                  <a:pt x="922" y="229"/>
                </a:lnTo>
                <a:lnTo>
                  <a:pt x="924" y="230"/>
                </a:lnTo>
                <a:lnTo>
                  <a:pt x="924" y="230"/>
                </a:lnTo>
                <a:lnTo>
                  <a:pt x="923" y="233"/>
                </a:lnTo>
                <a:lnTo>
                  <a:pt x="922" y="234"/>
                </a:lnTo>
                <a:lnTo>
                  <a:pt x="922" y="234"/>
                </a:lnTo>
                <a:lnTo>
                  <a:pt x="924" y="239"/>
                </a:lnTo>
                <a:lnTo>
                  <a:pt x="924" y="239"/>
                </a:lnTo>
                <a:lnTo>
                  <a:pt x="924" y="240"/>
                </a:lnTo>
                <a:lnTo>
                  <a:pt x="924" y="241"/>
                </a:lnTo>
                <a:lnTo>
                  <a:pt x="922" y="244"/>
                </a:lnTo>
                <a:lnTo>
                  <a:pt x="916" y="247"/>
                </a:lnTo>
                <a:lnTo>
                  <a:pt x="916" y="247"/>
                </a:lnTo>
                <a:lnTo>
                  <a:pt x="919" y="249"/>
                </a:lnTo>
                <a:lnTo>
                  <a:pt x="920" y="250"/>
                </a:lnTo>
                <a:lnTo>
                  <a:pt x="920" y="250"/>
                </a:lnTo>
                <a:lnTo>
                  <a:pt x="920" y="253"/>
                </a:lnTo>
                <a:lnTo>
                  <a:pt x="917" y="256"/>
                </a:lnTo>
                <a:lnTo>
                  <a:pt x="917" y="256"/>
                </a:lnTo>
                <a:lnTo>
                  <a:pt x="920" y="256"/>
                </a:lnTo>
                <a:lnTo>
                  <a:pt x="922" y="254"/>
                </a:lnTo>
                <a:lnTo>
                  <a:pt x="922" y="254"/>
                </a:lnTo>
                <a:lnTo>
                  <a:pt x="920" y="257"/>
                </a:lnTo>
                <a:lnTo>
                  <a:pt x="920" y="259"/>
                </a:lnTo>
                <a:lnTo>
                  <a:pt x="923" y="260"/>
                </a:lnTo>
                <a:lnTo>
                  <a:pt x="923" y="260"/>
                </a:lnTo>
                <a:lnTo>
                  <a:pt x="924" y="261"/>
                </a:lnTo>
                <a:lnTo>
                  <a:pt x="924" y="261"/>
                </a:lnTo>
                <a:lnTo>
                  <a:pt x="926" y="261"/>
                </a:lnTo>
                <a:lnTo>
                  <a:pt x="926" y="261"/>
                </a:lnTo>
                <a:lnTo>
                  <a:pt x="927" y="263"/>
                </a:lnTo>
                <a:lnTo>
                  <a:pt x="927" y="264"/>
                </a:lnTo>
                <a:lnTo>
                  <a:pt x="927" y="264"/>
                </a:lnTo>
                <a:lnTo>
                  <a:pt x="924" y="264"/>
                </a:lnTo>
                <a:lnTo>
                  <a:pt x="924" y="264"/>
                </a:lnTo>
                <a:lnTo>
                  <a:pt x="923" y="263"/>
                </a:lnTo>
                <a:lnTo>
                  <a:pt x="920" y="264"/>
                </a:lnTo>
                <a:lnTo>
                  <a:pt x="920" y="264"/>
                </a:lnTo>
                <a:lnTo>
                  <a:pt x="922" y="266"/>
                </a:lnTo>
                <a:lnTo>
                  <a:pt x="923" y="267"/>
                </a:lnTo>
                <a:lnTo>
                  <a:pt x="923" y="267"/>
                </a:lnTo>
                <a:lnTo>
                  <a:pt x="923" y="269"/>
                </a:lnTo>
                <a:lnTo>
                  <a:pt x="923" y="270"/>
                </a:lnTo>
                <a:lnTo>
                  <a:pt x="923" y="270"/>
                </a:lnTo>
                <a:lnTo>
                  <a:pt x="923" y="270"/>
                </a:lnTo>
                <a:lnTo>
                  <a:pt x="923" y="270"/>
                </a:lnTo>
                <a:lnTo>
                  <a:pt x="920" y="263"/>
                </a:lnTo>
                <a:lnTo>
                  <a:pt x="920" y="263"/>
                </a:lnTo>
                <a:lnTo>
                  <a:pt x="920" y="263"/>
                </a:lnTo>
                <a:lnTo>
                  <a:pt x="920" y="263"/>
                </a:lnTo>
                <a:lnTo>
                  <a:pt x="920" y="264"/>
                </a:lnTo>
                <a:lnTo>
                  <a:pt x="920" y="264"/>
                </a:lnTo>
                <a:lnTo>
                  <a:pt x="920" y="264"/>
                </a:lnTo>
                <a:lnTo>
                  <a:pt x="920" y="267"/>
                </a:lnTo>
                <a:lnTo>
                  <a:pt x="920" y="267"/>
                </a:lnTo>
                <a:lnTo>
                  <a:pt x="920" y="276"/>
                </a:lnTo>
                <a:lnTo>
                  <a:pt x="920" y="280"/>
                </a:lnTo>
                <a:lnTo>
                  <a:pt x="922" y="284"/>
                </a:lnTo>
                <a:lnTo>
                  <a:pt x="922" y="284"/>
                </a:lnTo>
                <a:lnTo>
                  <a:pt x="919" y="284"/>
                </a:lnTo>
                <a:lnTo>
                  <a:pt x="917" y="283"/>
                </a:lnTo>
                <a:lnTo>
                  <a:pt x="916" y="283"/>
                </a:lnTo>
                <a:lnTo>
                  <a:pt x="913" y="283"/>
                </a:lnTo>
                <a:lnTo>
                  <a:pt x="913" y="283"/>
                </a:lnTo>
                <a:lnTo>
                  <a:pt x="914" y="286"/>
                </a:lnTo>
                <a:lnTo>
                  <a:pt x="914" y="286"/>
                </a:lnTo>
                <a:lnTo>
                  <a:pt x="914" y="287"/>
                </a:lnTo>
                <a:lnTo>
                  <a:pt x="914" y="287"/>
                </a:lnTo>
                <a:lnTo>
                  <a:pt x="914" y="287"/>
                </a:lnTo>
                <a:lnTo>
                  <a:pt x="914" y="287"/>
                </a:lnTo>
                <a:lnTo>
                  <a:pt x="914" y="287"/>
                </a:lnTo>
                <a:lnTo>
                  <a:pt x="914" y="287"/>
                </a:lnTo>
                <a:lnTo>
                  <a:pt x="914" y="287"/>
                </a:lnTo>
                <a:lnTo>
                  <a:pt x="914" y="287"/>
                </a:lnTo>
                <a:lnTo>
                  <a:pt x="909" y="289"/>
                </a:lnTo>
                <a:lnTo>
                  <a:pt x="909" y="289"/>
                </a:lnTo>
                <a:lnTo>
                  <a:pt x="910" y="287"/>
                </a:lnTo>
                <a:lnTo>
                  <a:pt x="910" y="287"/>
                </a:lnTo>
                <a:lnTo>
                  <a:pt x="909" y="287"/>
                </a:lnTo>
                <a:lnTo>
                  <a:pt x="909" y="287"/>
                </a:lnTo>
                <a:lnTo>
                  <a:pt x="909" y="289"/>
                </a:lnTo>
                <a:lnTo>
                  <a:pt x="909" y="289"/>
                </a:lnTo>
                <a:lnTo>
                  <a:pt x="903" y="293"/>
                </a:lnTo>
                <a:lnTo>
                  <a:pt x="903" y="293"/>
                </a:lnTo>
                <a:lnTo>
                  <a:pt x="907" y="291"/>
                </a:lnTo>
                <a:lnTo>
                  <a:pt x="910" y="291"/>
                </a:lnTo>
                <a:lnTo>
                  <a:pt x="910" y="291"/>
                </a:lnTo>
                <a:lnTo>
                  <a:pt x="910" y="293"/>
                </a:lnTo>
                <a:lnTo>
                  <a:pt x="910" y="293"/>
                </a:lnTo>
                <a:lnTo>
                  <a:pt x="906" y="293"/>
                </a:lnTo>
                <a:lnTo>
                  <a:pt x="904" y="294"/>
                </a:lnTo>
                <a:lnTo>
                  <a:pt x="904" y="294"/>
                </a:lnTo>
                <a:lnTo>
                  <a:pt x="906" y="296"/>
                </a:lnTo>
                <a:lnTo>
                  <a:pt x="906" y="297"/>
                </a:lnTo>
                <a:lnTo>
                  <a:pt x="906" y="297"/>
                </a:lnTo>
                <a:lnTo>
                  <a:pt x="907" y="300"/>
                </a:lnTo>
                <a:lnTo>
                  <a:pt x="907" y="300"/>
                </a:lnTo>
                <a:lnTo>
                  <a:pt x="910" y="301"/>
                </a:lnTo>
                <a:lnTo>
                  <a:pt x="910" y="301"/>
                </a:lnTo>
                <a:lnTo>
                  <a:pt x="907" y="301"/>
                </a:lnTo>
                <a:lnTo>
                  <a:pt x="909" y="301"/>
                </a:lnTo>
                <a:lnTo>
                  <a:pt x="909" y="301"/>
                </a:lnTo>
                <a:lnTo>
                  <a:pt x="906" y="303"/>
                </a:lnTo>
                <a:lnTo>
                  <a:pt x="906" y="303"/>
                </a:lnTo>
                <a:lnTo>
                  <a:pt x="904" y="304"/>
                </a:lnTo>
                <a:lnTo>
                  <a:pt x="904" y="306"/>
                </a:lnTo>
                <a:lnTo>
                  <a:pt x="904" y="306"/>
                </a:lnTo>
                <a:lnTo>
                  <a:pt x="907" y="310"/>
                </a:lnTo>
                <a:lnTo>
                  <a:pt x="907" y="310"/>
                </a:lnTo>
                <a:lnTo>
                  <a:pt x="909" y="313"/>
                </a:lnTo>
                <a:lnTo>
                  <a:pt x="909" y="313"/>
                </a:lnTo>
                <a:lnTo>
                  <a:pt x="909" y="314"/>
                </a:lnTo>
                <a:lnTo>
                  <a:pt x="909" y="314"/>
                </a:lnTo>
                <a:lnTo>
                  <a:pt x="909" y="316"/>
                </a:lnTo>
                <a:lnTo>
                  <a:pt x="907" y="317"/>
                </a:lnTo>
                <a:lnTo>
                  <a:pt x="907" y="317"/>
                </a:lnTo>
                <a:lnTo>
                  <a:pt x="913" y="317"/>
                </a:lnTo>
                <a:lnTo>
                  <a:pt x="913" y="318"/>
                </a:lnTo>
                <a:lnTo>
                  <a:pt x="912" y="318"/>
                </a:lnTo>
                <a:lnTo>
                  <a:pt x="912" y="318"/>
                </a:lnTo>
                <a:lnTo>
                  <a:pt x="904" y="318"/>
                </a:lnTo>
                <a:lnTo>
                  <a:pt x="904" y="318"/>
                </a:lnTo>
                <a:lnTo>
                  <a:pt x="906" y="323"/>
                </a:lnTo>
                <a:lnTo>
                  <a:pt x="906" y="323"/>
                </a:lnTo>
                <a:lnTo>
                  <a:pt x="906" y="326"/>
                </a:lnTo>
                <a:lnTo>
                  <a:pt x="906" y="326"/>
                </a:lnTo>
                <a:lnTo>
                  <a:pt x="906" y="327"/>
                </a:lnTo>
                <a:lnTo>
                  <a:pt x="906" y="328"/>
                </a:lnTo>
                <a:lnTo>
                  <a:pt x="906" y="328"/>
                </a:lnTo>
                <a:lnTo>
                  <a:pt x="906" y="331"/>
                </a:lnTo>
                <a:lnTo>
                  <a:pt x="906" y="331"/>
                </a:lnTo>
                <a:lnTo>
                  <a:pt x="904" y="333"/>
                </a:lnTo>
                <a:lnTo>
                  <a:pt x="904" y="333"/>
                </a:lnTo>
                <a:lnTo>
                  <a:pt x="904" y="334"/>
                </a:lnTo>
                <a:lnTo>
                  <a:pt x="904" y="334"/>
                </a:lnTo>
                <a:lnTo>
                  <a:pt x="904" y="340"/>
                </a:lnTo>
                <a:lnTo>
                  <a:pt x="904" y="340"/>
                </a:lnTo>
                <a:lnTo>
                  <a:pt x="906" y="340"/>
                </a:lnTo>
                <a:lnTo>
                  <a:pt x="906" y="340"/>
                </a:lnTo>
                <a:lnTo>
                  <a:pt x="902" y="343"/>
                </a:lnTo>
                <a:lnTo>
                  <a:pt x="902" y="343"/>
                </a:lnTo>
                <a:lnTo>
                  <a:pt x="900" y="346"/>
                </a:lnTo>
                <a:lnTo>
                  <a:pt x="902" y="347"/>
                </a:lnTo>
                <a:lnTo>
                  <a:pt x="902" y="347"/>
                </a:lnTo>
                <a:lnTo>
                  <a:pt x="900" y="350"/>
                </a:lnTo>
                <a:lnTo>
                  <a:pt x="899" y="353"/>
                </a:lnTo>
                <a:lnTo>
                  <a:pt x="897" y="356"/>
                </a:lnTo>
                <a:lnTo>
                  <a:pt x="897" y="356"/>
                </a:lnTo>
                <a:lnTo>
                  <a:pt x="900" y="356"/>
                </a:lnTo>
                <a:lnTo>
                  <a:pt x="902" y="357"/>
                </a:lnTo>
                <a:lnTo>
                  <a:pt x="902" y="357"/>
                </a:lnTo>
                <a:lnTo>
                  <a:pt x="896" y="357"/>
                </a:lnTo>
                <a:lnTo>
                  <a:pt x="896" y="357"/>
                </a:lnTo>
                <a:lnTo>
                  <a:pt x="894" y="357"/>
                </a:lnTo>
                <a:lnTo>
                  <a:pt x="894" y="357"/>
                </a:lnTo>
                <a:lnTo>
                  <a:pt x="893" y="358"/>
                </a:lnTo>
                <a:lnTo>
                  <a:pt x="893" y="358"/>
                </a:lnTo>
                <a:lnTo>
                  <a:pt x="892" y="360"/>
                </a:lnTo>
                <a:lnTo>
                  <a:pt x="892" y="360"/>
                </a:lnTo>
                <a:lnTo>
                  <a:pt x="890" y="363"/>
                </a:lnTo>
                <a:lnTo>
                  <a:pt x="890" y="363"/>
                </a:lnTo>
                <a:lnTo>
                  <a:pt x="886" y="361"/>
                </a:lnTo>
                <a:lnTo>
                  <a:pt x="884" y="361"/>
                </a:lnTo>
                <a:lnTo>
                  <a:pt x="886" y="363"/>
                </a:lnTo>
                <a:lnTo>
                  <a:pt x="889" y="366"/>
                </a:lnTo>
                <a:lnTo>
                  <a:pt x="889" y="366"/>
                </a:lnTo>
                <a:lnTo>
                  <a:pt x="889" y="364"/>
                </a:lnTo>
                <a:lnTo>
                  <a:pt x="887" y="363"/>
                </a:lnTo>
                <a:lnTo>
                  <a:pt x="887" y="363"/>
                </a:lnTo>
                <a:lnTo>
                  <a:pt x="889" y="363"/>
                </a:lnTo>
                <a:lnTo>
                  <a:pt x="893" y="364"/>
                </a:lnTo>
                <a:lnTo>
                  <a:pt x="893" y="364"/>
                </a:lnTo>
                <a:lnTo>
                  <a:pt x="892" y="367"/>
                </a:lnTo>
                <a:lnTo>
                  <a:pt x="890" y="368"/>
                </a:lnTo>
                <a:lnTo>
                  <a:pt x="887" y="366"/>
                </a:lnTo>
                <a:lnTo>
                  <a:pt x="887" y="366"/>
                </a:lnTo>
                <a:lnTo>
                  <a:pt x="887" y="367"/>
                </a:lnTo>
                <a:lnTo>
                  <a:pt x="887" y="368"/>
                </a:lnTo>
                <a:lnTo>
                  <a:pt x="884" y="370"/>
                </a:lnTo>
                <a:lnTo>
                  <a:pt x="884" y="370"/>
                </a:lnTo>
                <a:lnTo>
                  <a:pt x="882" y="370"/>
                </a:lnTo>
                <a:lnTo>
                  <a:pt x="882" y="370"/>
                </a:lnTo>
                <a:lnTo>
                  <a:pt x="882" y="371"/>
                </a:lnTo>
                <a:lnTo>
                  <a:pt x="882" y="373"/>
                </a:lnTo>
                <a:lnTo>
                  <a:pt x="882" y="373"/>
                </a:lnTo>
                <a:lnTo>
                  <a:pt x="876" y="370"/>
                </a:lnTo>
                <a:lnTo>
                  <a:pt x="875" y="370"/>
                </a:lnTo>
                <a:lnTo>
                  <a:pt x="873" y="371"/>
                </a:lnTo>
                <a:lnTo>
                  <a:pt x="873" y="371"/>
                </a:lnTo>
                <a:lnTo>
                  <a:pt x="873" y="373"/>
                </a:lnTo>
                <a:lnTo>
                  <a:pt x="870" y="371"/>
                </a:lnTo>
                <a:lnTo>
                  <a:pt x="870" y="371"/>
                </a:lnTo>
                <a:lnTo>
                  <a:pt x="872" y="373"/>
                </a:lnTo>
                <a:lnTo>
                  <a:pt x="872" y="374"/>
                </a:lnTo>
                <a:lnTo>
                  <a:pt x="872" y="374"/>
                </a:lnTo>
                <a:lnTo>
                  <a:pt x="866" y="371"/>
                </a:lnTo>
                <a:lnTo>
                  <a:pt x="866" y="371"/>
                </a:lnTo>
                <a:lnTo>
                  <a:pt x="866" y="370"/>
                </a:lnTo>
                <a:lnTo>
                  <a:pt x="866" y="368"/>
                </a:lnTo>
                <a:lnTo>
                  <a:pt x="866" y="368"/>
                </a:lnTo>
                <a:lnTo>
                  <a:pt x="866" y="367"/>
                </a:lnTo>
                <a:lnTo>
                  <a:pt x="865" y="366"/>
                </a:lnTo>
                <a:lnTo>
                  <a:pt x="865" y="366"/>
                </a:lnTo>
                <a:lnTo>
                  <a:pt x="865" y="366"/>
                </a:lnTo>
                <a:lnTo>
                  <a:pt x="862" y="364"/>
                </a:lnTo>
                <a:lnTo>
                  <a:pt x="862" y="364"/>
                </a:lnTo>
                <a:lnTo>
                  <a:pt x="863" y="368"/>
                </a:lnTo>
                <a:lnTo>
                  <a:pt x="863" y="368"/>
                </a:lnTo>
                <a:lnTo>
                  <a:pt x="860" y="367"/>
                </a:lnTo>
                <a:lnTo>
                  <a:pt x="860" y="367"/>
                </a:lnTo>
                <a:lnTo>
                  <a:pt x="862" y="370"/>
                </a:lnTo>
                <a:lnTo>
                  <a:pt x="859" y="368"/>
                </a:lnTo>
                <a:lnTo>
                  <a:pt x="859" y="368"/>
                </a:lnTo>
                <a:lnTo>
                  <a:pt x="862" y="370"/>
                </a:lnTo>
                <a:lnTo>
                  <a:pt x="865" y="371"/>
                </a:lnTo>
                <a:lnTo>
                  <a:pt x="865" y="371"/>
                </a:lnTo>
                <a:lnTo>
                  <a:pt x="865" y="373"/>
                </a:lnTo>
                <a:lnTo>
                  <a:pt x="863" y="374"/>
                </a:lnTo>
                <a:lnTo>
                  <a:pt x="863" y="374"/>
                </a:lnTo>
                <a:lnTo>
                  <a:pt x="859" y="373"/>
                </a:lnTo>
                <a:lnTo>
                  <a:pt x="859" y="373"/>
                </a:lnTo>
                <a:lnTo>
                  <a:pt x="856" y="370"/>
                </a:lnTo>
                <a:lnTo>
                  <a:pt x="856" y="370"/>
                </a:lnTo>
                <a:lnTo>
                  <a:pt x="856" y="370"/>
                </a:lnTo>
                <a:lnTo>
                  <a:pt x="855" y="370"/>
                </a:lnTo>
                <a:lnTo>
                  <a:pt x="855" y="371"/>
                </a:lnTo>
                <a:lnTo>
                  <a:pt x="857" y="374"/>
                </a:lnTo>
                <a:lnTo>
                  <a:pt x="857" y="374"/>
                </a:lnTo>
                <a:lnTo>
                  <a:pt x="857" y="373"/>
                </a:lnTo>
                <a:lnTo>
                  <a:pt x="857" y="373"/>
                </a:lnTo>
                <a:lnTo>
                  <a:pt x="859" y="374"/>
                </a:lnTo>
                <a:lnTo>
                  <a:pt x="859" y="374"/>
                </a:lnTo>
                <a:lnTo>
                  <a:pt x="860" y="376"/>
                </a:lnTo>
                <a:lnTo>
                  <a:pt x="859" y="376"/>
                </a:lnTo>
                <a:lnTo>
                  <a:pt x="855" y="374"/>
                </a:lnTo>
                <a:lnTo>
                  <a:pt x="855" y="374"/>
                </a:lnTo>
                <a:lnTo>
                  <a:pt x="856" y="374"/>
                </a:lnTo>
                <a:lnTo>
                  <a:pt x="855" y="373"/>
                </a:lnTo>
                <a:lnTo>
                  <a:pt x="855" y="373"/>
                </a:lnTo>
                <a:lnTo>
                  <a:pt x="853" y="373"/>
                </a:lnTo>
                <a:lnTo>
                  <a:pt x="855" y="374"/>
                </a:lnTo>
                <a:lnTo>
                  <a:pt x="856" y="377"/>
                </a:lnTo>
                <a:lnTo>
                  <a:pt x="856" y="377"/>
                </a:lnTo>
                <a:lnTo>
                  <a:pt x="852" y="374"/>
                </a:lnTo>
                <a:lnTo>
                  <a:pt x="852" y="374"/>
                </a:lnTo>
                <a:lnTo>
                  <a:pt x="850" y="373"/>
                </a:lnTo>
                <a:lnTo>
                  <a:pt x="850" y="373"/>
                </a:lnTo>
                <a:lnTo>
                  <a:pt x="847" y="373"/>
                </a:lnTo>
                <a:lnTo>
                  <a:pt x="847" y="373"/>
                </a:lnTo>
                <a:lnTo>
                  <a:pt x="846" y="373"/>
                </a:lnTo>
                <a:lnTo>
                  <a:pt x="845" y="373"/>
                </a:lnTo>
                <a:lnTo>
                  <a:pt x="845" y="373"/>
                </a:lnTo>
                <a:lnTo>
                  <a:pt x="846" y="377"/>
                </a:lnTo>
                <a:lnTo>
                  <a:pt x="846" y="378"/>
                </a:lnTo>
                <a:lnTo>
                  <a:pt x="846" y="378"/>
                </a:lnTo>
                <a:lnTo>
                  <a:pt x="843" y="374"/>
                </a:lnTo>
                <a:lnTo>
                  <a:pt x="843" y="374"/>
                </a:lnTo>
                <a:lnTo>
                  <a:pt x="840" y="373"/>
                </a:lnTo>
                <a:lnTo>
                  <a:pt x="839" y="368"/>
                </a:lnTo>
                <a:lnTo>
                  <a:pt x="839" y="368"/>
                </a:lnTo>
                <a:lnTo>
                  <a:pt x="837" y="370"/>
                </a:lnTo>
                <a:lnTo>
                  <a:pt x="836" y="370"/>
                </a:lnTo>
                <a:lnTo>
                  <a:pt x="833" y="368"/>
                </a:lnTo>
                <a:lnTo>
                  <a:pt x="833" y="368"/>
                </a:lnTo>
                <a:lnTo>
                  <a:pt x="835" y="371"/>
                </a:lnTo>
                <a:lnTo>
                  <a:pt x="835" y="371"/>
                </a:lnTo>
                <a:lnTo>
                  <a:pt x="833" y="371"/>
                </a:lnTo>
                <a:lnTo>
                  <a:pt x="830" y="367"/>
                </a:lnTo>
                <a:lnTo>
                  <a:pt x="830" y="367"/>
                </a:lnTo>
                <a:lnTo>
                  <a:pt x="830" y="364"/>
                </a:lnTo>
                <a:lnTo>
                  <a:pt x="830" y="364"/>
                </a:lnTo>
                <a:lnTo>
                  <a:pt x="830" y="364"/>
                </a:lnTo>
                <a:lnTo>
                  <a:pt x="832" y="366"/>
                </a:lnTo>
                <a:lnTo>
                  <a:pt x="832" y="366"/>
                </a:lnTo>
                <a:lnTo>
                  <a:pt x="832" y="363"/>
                </a:lnTo>
                <a:lnTo>
                  <a:pt x="832" y="363"/>
                </a:lnTo>
                <a:lnTo>
                  <a:pt x="832" y="363"/>
                </a:lnTo>
                <a:lnTo>
                  <a:pt x="832" y="361"/>
                </a:lnTo>
                <a:lnTo>
                  <a:pt x="830" y="358"/>
                </a:lnTo>
                <a:lnTo>
                  <a:pt x="830" y="358"/>
                </a:lnTo>
                <a:lnTo>
                  <a:pt x="833" y="361"/>
                </a:lnTo>
                <a:lnTo>
                  <a:pt x="833" y="361"/>
                </a:lnTo>
                <a:lnTo>
                  <a:pt x="827" y="353"/>
                </a:lnTo>
                <a:lnTo>
                  <a:pt x="827" y="353"/>
                </a:lnTo>
                <a:lnTo>
                  <a:pt x="830" y="357"/>
                </a:lnTo>
                <a:lnTo>
                  <a:pt x="830" y="356"/>
                </a:lnTo>
                <a:lnTo>
                  <a:pt x="830" y="356"/>
                </a:lnTo>
                <a:lnTo>
                  <a:pt x="829" y="354"/>
                </a:lnTo>
                <a:lnTo>
                  <a:pt x="832" y="356"/>
                </a:lnTo>
                <a:lnTo>
                  <a:pt x="832" y="356"/>
                </a:lnTo>
                <a:lnTo>
                  <a:pt x="829" y="353"/>
                </a:lnTo>
                <a:lnTo>
                  <a:pt x="829" y="353"/>
                </a:lnTo>
                <a:lnTo>
                  <a:pt x="833" y="356"/>
                </a:lnTo>
                <a:lnTo>
                  <a:pt x="833" y="356"/>
                </a:lnTo>
                <a:lnTo>
                  <a:pt x="832" y="354"/>
                </a:lnTo>
                <a:lnTo>
                  <a:pt x="832" y="354"/>
                </a:lnTo>
                <a:lnTo>
                  <a:pt x="832" y="353"/>
                </a:lnTo>
                <a:lnTo>
                  <a:pt x="832" y="353"/>
                </a:lnTo>
                <a:lnTo>
                  <a:pt x="832" y="351"/>
                </a:lnTo>
                <a:lnTo>
                  <a:pt x="832" y="351"/>
                </a:lnTo>
                <a:lnTo>
                  <a:pt x="833" y="350"/>
                </a:lnTo>
                <a:lnTo>
                  <a:pt x="833" y="350"/>
                </a:lnTo>
                <a:lnTo>
                  <a:pt x="835" y="350"/>
                </a:lnTo>
                <a:lnTo>
                  <a:pt x="835" y="350"/>
                </a:lnTo>
                <a:lnTo>
                  <a:pt x="836" y="348"/>
                </a:lnTo>
                <a:lnTo>
                  <a:pt x="836" y="348"/>
                </a:lnTo>
                <a:lnTo>
                  <a:pt x="837" y="348"/>
                </a:lnTo>
                <a:lnTo>
                  <a:pt x="837" y="348"/>
                </a:lnTo>
                <a:lnTo>
                  <a:pt x="837" y="347"/>
                </a:lnTo>
                <a:lnTo>
                  <a:pt x="837" y="347"/>
                </a:lnTo>
                <a:lnTo>
                  <a:pt x="835" y="347"/>
                </a:lnTo>
                <a:lnTo>
                  <a:pt x="835" y="347"/>
                </a:lnTo>
                <a:lnTo>
                  <a:pt x="832" y="344"/>
                </a:lnTo>
                <a:lnTo>
                  <a:pt x="832" y="344"/>
                </a:lnTo>
                <a:lnTo>
                  <a:pt x="833" y="346"/>
                </a:lnTo>
                <a:lnTo>
                  <a:pt x="832" y="344"/>
                </a:lnTo>
                <a:lnTo>
                  <a:pt x="832" y="344"/>
                </a:lnTo>
                <a:lnTo>
                  <a:pt x="829" y="343"/>
                </a:lnTo>
                <a:lnTo>
                  <a:pt x="829" y="343"/>
                </a:lnTo>
                <a:lnTo>
                  <a:pt x="829" y="341"/>
                </a:lnTo>
                <a:lnTo>
                  <a:pt x="830" y="343"/>
                </a:lnTo>
                <a:lnTo>
                  <a:pt x="830" y="343"/>
                </a:lnTo>
                <a:lnTo>
                  <a:pt x="832" y="343"/>
                </a:lnTo>
                <a:lnTo>
                  <a:pt x="832" y="343"/>
                </a:lnTo>
                <a:lnTo>
                  <a:pt x="829" y="341"/>
                </a:lnTo>
                <a:lnTo>
                  <a:pt x="826" y="340"/>
                </a:lnTo>
                <a:lnTo>
                  <a:pt x="826" y="340"/>
                </a:lnTo>
                <a:lnTo>
                  <a:pt x="826" y="340"/>
                </a:lnTo>
                <a:lnTo>
                  <a:pt x="822" y="337"/>
                </a:lnTo>
                <a:lnTo>
                  <a:pt x="822" y="337"/>
                </a:lnTo>
                <a:lnTo>
                  <a:pt x="827" y="341"/>
                </a:lnTo>
                <a:lnTo>
                  <a:pt x="827" y="341"/>
                </a:lnTo>
                <a:lnTo>
                  <a:pt x="823" y="338"/>
                </a:lnTo>
                <a:lnTo>
                  <a:pt x="823" y="338"/>
                </a:lnTo>
                <a:lnTo>
                  <a:pt x="829" y="344"/>
                </a:lnTo>
                <a:lnTo>
                  <a:pt x="829" y="344"/>
                </a:lnTo>
                <a:lnTo>
                  <a:pt x="829" y="346"/>
                </a:lnTo>
                <a:lnTo>
                  <a:pt x="829" y="346"/>
                </a:lnTo>
                <a:lnTo>
                  <a:pt x="829" y="346"/>
                </a:lnTo>
                <a:lnTo>
                  <a:pt x="827" y="346"/>
                </a:lnTo>
                <a:lnTo>
                  <a:pt x="827" y="346"/>
                </a:lnTo>
                <a:lnTo>
                  <a:pt x="827" y="347"/>
                </a:lnTo>
                <a:lnTo>
                  <a:pt x="827" y="347"/>
                </a:lnTo>
                <a:lnTo>
                  <a:pt x="827" y="350"/>
                </a:lnTo>
                <a:lnTo>
                  <a:pt x="827" y="350"/>
                </a:lnTo>
                <a:lnTo>
                  <a:pt x="825" y="347"/>
                </a:lnTo>
                <a:lnTo>
                  <a:pt x="827" y="350"/>
                </a:lnTo>
                <a:lnTo>
                  <a:pt x="827" y="350"/>
                </a:lnTo>
                <a:lnTo>
                  <a:pt x="820" y="344"/>
                </a:lnTo>
                <a:lnTo>
                  <a:pt x="820" y="344"/>
                </a:lnTo>
                <a:lnTo>
                  <a:pt x="823" y="347"/>
                </a:lnTo>
                <a:lnTo>
                  <a:pt x="823" y="348"/>
                </a:lnTo>
                <a:lnTo>
                  <a:pt x="823" y="348"/>
                </a:lnTo>
                <a:lnTo>
                  <a:pt x="822" y="348"/>
                </a:lnTo>
                <a:lnTo>
                  <a:pt x="823" y="351"/>
                </a:lnTo>
                <a:lnTo>
                  <a:pt x="823" y="351"/>
                </a:lnTo>
                <a:lnTo>
                  <a:pt x="820" y="348"/>
                </a:lnTo>
                <a:lnTo>
                  <a:pt x="820" y="348"/>
                </a:lnTo>
                <a:lnTo>
                  <a:pt x="820" y="350"/>
                </a:lnTo>
                <a:lnTo>
                  <a:pt x="820" y="350"/>
                </a:lnTo>
                <a:lnTo>
                  <a:pt x="822" y="353"/>
                </a:lnTo>
                <a:lnTo>
                  <a:pt x="822" y="353"/>
                </a:lnTo>
                <a:lnTo>
                  <a:pt x="823" y="356"/>
                </a:lnTo>
                <a:lnTo>
                  <a:pt x="823" y="356"/>
                </a:lnTo>
                <a:lnTo>
                  <a:pt x="825" y="357"/>
                </a:lnTo>
                <a:lnTo>
                  <a:pt x="822" y="356"/>
                </a:lnTo>
                <a:lnTo>
                  <a:pt x="822" y="356"/>
                </a:lnTo>
                <a:lnTo>
                  <a:pt x="822" y="354"/>
                </a:lnTo>
                <a:lnTo>
                  <a:pt x="822" y="354"/>
                </a:lnTo>
                <a:lnTo>
                  <a:pt x="823" y="356"/>
                </a:lnTo>
                <a:lnTo>
                  <a:pt x="823" y="356"/>
                </a:lnTo>
                <a:lnTo>
                  <a:pt x="820" y="353"/>
                </a:lnTo>
                <a:lnTo>
                  <a:pt x="819" y="353"/>
                </a:lnTo>
                <a:lnTo>
                  <a:pt x="819" y="353"/>
                </a:lnTo>
                <a:lnTo>
                  <a:pt x="819" y="353"/>
                </a:lnTo>
                <a:lnTo>
                  <a:pt x="817" y="353"/>
                </a:lnTo>
                <a:lnTo>
                  <a:pt x="817" y="353"/>
                </a:lnTo>
                <a:lnTo>
                  <a:pt x="820" y="357"/>
                </a:lnTo>
                <a:lnTo>
                  <a:pt x="820" y="357"/>
                </a:lnTo>
                <a:lnTo>
                  <a:pt x="817" y="356"/>
                </a:lnTo>
                <a:lnTo>
                  <a:pt x="817" y="356"/>
                </a:lnTo>
                <a:lnTo>
                  <a:pt x="817" y="356"/>
                </a:lnTo>
                <a:lnTo>
                  <a:pt x="819" y="360"/>
                </a:lnTo>
                <a:lnTo>
                  <a:pt x="819" y="361"/>
                </a:lnTo>
                <a:lnTo>
                  <a:pt x="819" y="361"/>
                </a:lnTo>
                <a:lnTo>
                  <a:pt x="823" y="367"/>
                </a:lnTo>
                <a:lnTo>
                  <a:pt x="825" y="368"/>
                </a:lnTo>
                <a:lnTo>
                  <a:pt x="825" y="368"/>
                </a:lnTo>
                <a:lnTo>
                  <a:pt x="825" y="367"/>
                </a:lnTo>
                <a:lnTo>
                  <a:pt x="825" y="367"/>
                </a:lnTo>
                <a:lnTo>
                  <a:pt x="825" y="366"/>
                </a:lnTo>
                <a:lnTo>
                  <a:pt x="825" y="366"/>
                </a:lnTo>
                <a:lnTo>
                  <a:pt x="830" y="376"/>
                </a:lnTo>
                <a:lnTo>
                  <a:pt x="830" y="376"/>
                </a:lnTo>
                <a:lnTo>
                  <a:pt x="827" y="373"/>
                </a:lnTo>
                <a:lnTo>
                  <a:pt x="827" y="373"/>
                </a:lnTo>
                <a:lnTo>
                  <a:pt x="826" y="373"/>
                </a:lnTo>
                <a:lnTo>
                  <a:pt x="826" y="373"/>
                </a:lnTo>
                <a:lnTo>
                  <a:pt x="826" y="373"/>
                </a:lnTo>
                <a:lnTo>
                  <a:pt x="825" y="374"/>
                </a:lnTo>
                <a:lnTo>
                  <a:pt x="825" y="374"/>
                </a:lnTo>
                <a:lnTo>
                  <a:pt x="826" y="374"/>
                </a:lnTo>
                <a:lnTo>
                  <a:pt x="827" y="377"/>
                </a:lnTo>
                <a:lnTo>
                  <a:pt x="827" y="377"/>
                </a:lnTo>
                <a:lnTo>
                  <a:pt x="827" y="380"/>
                </a:lnTo>
                <a:lnTo>
                  <a:pt x="827" y="380"/>
                </a:lnTo>
                <a:lnTo>
                  <a:pt x="827" y="380"/>
                </a:lnTo>
                <a:lnTo>
                  <a:pt x="826" y="378"/>
                </a:lnTo>
                <a:lnTo>
                  <a:pt x="826" y="378"/>
                </a:lnTo>
                <a:lnTo>
                  <a:pt x="826" y="378"/>
                </a:lnTo>
                <a:lnTo>
                  <a:pt x="826" y="377"/>
                </a:lnTo>
                <a:lnTo>
                  <a:pt x="827" y="377"/>
                </a:lnTo>
                <a:lnTo>
                  <a:pt x="827" y="377"/>
                </a:lnTo>
                <a:lnTo>
                  <a:pt x="820" y="368"/>
                </a:lnTo>
                <a:lnTo>
                  <a:pt x="820" y="368"/>
                </a:lnTo>
                <a:lnTo>
                  <a:pt x="825" y="376"/>
                </a:lnTo>
                <a:lnTo>
                  <a:pt x="825" y="376"/>
                </a:lnTo>
                <a:lnTo>
                  <a:pt x="825" y="377"/>
                </a:lnTo>
                <a:lnTo>
                  <a:pt x="825" y="377"/>
                </a:lnTo>
                <a:lnTo>
                  <a:pt x="823" y="374"/>
                </a:lnTo>
                <a:lnTo>
                  <a:pt x="820" y="371"/>
                </a:lnTo>
                <a:lnTo>
                  <a:pt x="820" y="371"/>
                </a:lnTo>
                <a:lnTo>
                  <a:pt x="820" y="373"/>
                </a:lnTo>
                <a:lnTo>
                  <a:pt x="820" y="373"/>
                </a:lnTo>
                <a:lnTo>
                  <a:pt x="819" y="373"/>
                </a:lnTo>
                <a:lnTo>
                  <a:pt x="819" y="373"/>
                </a:lnTo>
                <a:lnTo>
                  <a:pt x="817" y="370"/>
                </a:lnTo>
                <a:lnTo>
                  <a:pt x="815" y="366"/>
                </a:lnTo>
                <a:lnTo>
                  <a:pt x="815" y="366"/>
                </a:lnTo>
                <a:lnTo>
                  <a:pt x="815" y="367"/>
                </a:lnTo>
                <a:lnTo>
                  <a:pt x="815" y="367"/>
                </a:lnTo>
                <a:lnTo>
                  <a:pt x="815" y="368"/>
                </a:lnTo>
                <a:lnTo>
                  <a:pt x="815" y="368"/>
                </a:lnTo>
                <a:lnTo>
                  <a:pt x="815" y="371"/>
                </a:lnTo>
                <a:lnTo>
                  <a:pt x="815" y="371"/>
                </a:lnTo>
                <a:lnTo>
                  <a:pt x="813" y="373"/>
                </a:lnTo>
                <a:lnTo>
                  <a:pt x="813" y="373"/>
                </a:lnTo>
                <a:lnTo>
                  <a:pt x="813" y="373"/>
                </a:lnTo>
                <a:lnTo>
                  <a:pt x="813" y="373"/>
                </a:lnTo>
                <a:lnTo>
                  <a:pt x="813" y="373"/>
                </a:lnTo>
                <a:lnTo>
                  <a:pt x="822" y="370"/>
                </a:lnTo>
                <a:lnTo>
                  <a:pt x="822" y="370"/>
                </a:lnTo>
                <a:lnTo>
                  <a:pt x="822" y="370"/>
                </a:lnTo>
                <a:lnTo>
                  <a:pt x="822" y="370"/>
                </a:lnTo>
                <a:lnTo>
                  <a:pt x="820" y="370"/>
                </a:lnTo>
                <a:lnTo>
                  <a:pt x="820" y="370"/>
                </a:lnTo>
                <a:lnTo>
                  <a:pt x="819" y="371"/>
                </a:lnTo>
                <a:lnTo>
                  <a:pt x="819" y="371"/>
                </a:lnTo>
                <a:lnTo>
                  <a:pt x="813" y="371"/>
                </a:lnTo>
                <a:lnTo>
                  <a:pt x="813" y="371"/>
                </a:lnTo>
                <a:lnTo>
                  <a:pt x="813" y="368"/>
                </a:lnTo>
                <a:lnTo>
                  <a:pt x="810" y="366"/>
                </a:lnTo>
                <a:lnTo>
                  <a:pt x="810" y="366"/>
                </a:lnTo>
                <a:lnTo>
                  <a:pt x="810" y="368"/>
                </a:lnTo>
                <a:lnTo>
                  <a:pt x="810" y="370"/>
                </a:lnTo>
                <a:lnTo>
                  <a:pt x="809" y="374"/>
                </a:lnTo>
                <a:lnTo>
                  <a:pt x="809" y="374"/>
                </a:lnTo>
                <a:lnTo>
                  <a:pt x="807" y="371"/>
                </a:lnTo>
                <a:lnTo>
                  <a:pt x="806" y="371"/>
                </a:lnTo>
                <a:lnTo>
                  <a:pt x="805" y="373"/>
                </a:lnTo>
                <a:lnTo>
                  <a:pt x="805" y="371"/>
                </a:lnTo>
                <a:lnTo>
                  <a:pt x="805" y="371"/>
                </a:lnTo>
                <a:lnTo>
                  <a:pt x="805" y="368"/>
                </a:lnTo>
                <a:lnTo>
                  <a:pt x="805" y="366"/>
                </a:lnTo>
                <a:lnTo>
                  <a:pt x="805" y="366"/>
                </a:lnTo>
                <a:lnTo>
                  <a:pt x="802" y="367"/>
                </a:lnTo>
                <a:lnTo>
                  <a:pt x="799" y="367"/>
                </a:lnTo>
                <a:lnTo>
                  <a:pt x="799" y="367"/>
                </a:lnTo>
                <a:lnTo>
                  <a:pt x="800" y="368"/>
                </a:lnTo>
                <a:lnTo>
                  <a:pt x="802" y="370"/>
                </a:lnTo>
                <a:lnTo>
                  <a:pt x="803" y="370"/>
                </a:lnTo>
                <a:lnTo>
                  <a:pt x="805" y="373"/>
                </a:lnTo>
                <a:lnTo>
                  <a:pt x="805" y="373"/>
                </a:lnTo>
                <a:lnTo>
                  <a:pt x="803" y="374"/>
                </a:lnTo>
                <a:lnTo>
                  <a:pt x="802" y="376"/>
                </a:lnTo>
                <a:lnTo>
                  <a:pt x="802" y="376"/>
                </a:lnTo>
                <a:lnTo>
                  <a:pt x="802" y="376"/>
                </a:lnTo>
                <a:lnTo>
                  <a:pt x="802" y="376"/>
                </a:lnTo>
                <a:lnTo>
                  <a:pt x="802" y="376"/>
                </a:lnTo>
                <a:lnTo>
                  <a:pt x="802" y="377"/>
                </a:lnTo>
                <a:lnTo>
                  <a:pt x="802" y="377"/>
                </a:lnTo>
                <a:lnTo>
                  <a:pt x="803" y="377"/>
                </a:lnTo>
                <a:lnTo>
                  <a:pt x="803" y="377"/>
                </a:lnTo>
                <a:lnTo>
                  <a:pt x="803" y="376"/>
                </a:lnTo>
                <a:lnTo>
                  <a:pt x="805" y="376"/>
                </a:lnTo>
                <a:lnTo>
                  <a:pt x="805" y="376"/>
                </a:lnTo>
                <a:lnTo>
                  <a:pt x="806" y="377"/>
                </a:lnTo>
                <a:lnTo>
                  <a:pt x="806" y="374"/>
                </a:lnTo>
                <a:lnTo>
                  <a:pt x="806" y="374"/>
                </a:lnTo>
                <a:lnTo>
                  <a:pt x="805" y="368"/>
                </a:lnTo>
                <a:lnTo>
                  <a:pt x="805" y="368"/>
                </a:lnTo>
                <a:lnTo>
                  <a:pt x="806" y="370"/>
                </a:lnTo>
                <a:lnTo>
                  <a:pt x="806" y="373"/>
                </a:lnTo>
                <a:lnTo>
                  <a:pt x="806" y="373"/>
                </a:lnTo>
                <a:lnTo>
                  <a:pt x="806" y="377"/>
                </a:lnTo>
                <a:lnTo>
                  <a:pt x="806" y="377"/>
                </a:lnTo>
                <a:lnTo>
                  <a:pt x="806" y="371"/>
                </a:lnTo>
                <a:lnTo>
                  <a:pt x="806" y="371"/>
                </a:lnTo>
                <a:lnTo>
                  <a:pt x="806" y="377"/>
                </a:lnTo>
                <a:lnTo>
                  <a:pt x="805" y="376"/>
                </a:lnTo>
                <a:lnTo>
                  <a:pt x="805" y="376"/>
                </a:lnTo>
                <a:lnTo>
                  <a:pt x="803" y="371"/>
                </a:lnTo>
                <a:lnTo>
                  <a:pt x="803" y="371"/>
                </a:lnTo>
                <a:lnTo>
                  <a:pt x="803" y="374"/>
                </a:lnTo>
                <a:lnTo>
                  <a:pt x="803" y="374"/>
                </a:lnTo>
                <a:lnTo>
                  <a:pt x="802" y="373"/>
                </a:lnTo>
                <a:lnTo>
                  <a:pt x="802" y="373"/>
                </a:lnTo>
                <a:lnTo>
                  <a:pt x="800" y="374"/>
                </a:lnTo>
                <a:lnTo>
                  <a:pt x="800" y="374"/>
                </a:lnTo>
                <a:lnTo>
                  <a:pt x="799" y="376"/>
                </a:lnTo>
                <a:lnTo>
                  <a:pt x="799" y="376"/>
                </a:lnTo>
                <a:lnTo>
                  <a:pt x="797" y="376"/>
                </a:lnTo>
                <a:lnTo>
                  <a:pt x="797" y="376"/>
                </a:lnTo>
                <a:lnTo>
                  <a:pt x="797" y="376"/>
                </a:lnTo>
                <a:lnTo>
                  <a:pt x="797" y="376"/>
                </a:lnTo>
                <a:lnTo>
                  <a:pt x="797" y="373"/>
                </a:lnTo>
                <a:lnTo>
                  <a:pt x="797" y="373"/>
                </a:lnTo>
                <a:lnTo>
                  <a:pt x="796" y="377"/>
                </a:lnTo>
                <a:lnTo>
                  <a:pt x="796" y="377"/>
                </a:lnTo>
                <a:lnTo>
                  <a:pt x="795" y="378"/>
                </a:lnTo>
                <a:lnTo>
                  <a:pt x="795" y="378"/>
                </a:lnTo>
                <a:lnTo>
                  <a:pt x="795" y="381"/>
                </a:lnTo>
                <a:lnTo>
                  <a:pt x="795" y="381"/>
                </a:lnTo>
                <a:lnTo>
                  <a:pt x="793" y="383"/>
                </a:lnTo>
                <a:lnTo>
                  <a:pt x="792" y="383"/>
                </a:lnTo>
                <a:lnTo>
                  <a:pt x="792" y="383"/>
                </a:lnTo>
                <a:lnTo>
                  <a:pt x="792" y="374"/>
                </a:lnTo>
                <a:lnTo>
                  <a:pt x="792" y="374"/>
                </a:lnTo>
                <a:lnTo>
                  <a:pt x="792" y="373"/>
                </a:lnTo>
                <a:lnTo>
                  <a:pt x="792" y="373"/>
                </a:lnTo>
                <a:lnTo>
                  <a:pt x="792" y="371"/>
                </a:lnTo>
                <a:lnTo>
                  <a:pt x="792" y="371"/>
                </a:lnTo>
                <a:lnTo>
                  <a:pt x="792" y="370"/>
                </a:lnTo>
                <a:lnTo>
                  <a:pt x="792" y="371"/>
                </a:lnTo>
                <a:lnTo>
                  <a:pt x="790" y="374"/>
                </a:lnTo>
                <a:lnTo>
                  <a:pt x="790" y="374"/>
                </a:lnTo>
                <a:lnTo>
                  <a:pt x="790" y="368"/>
                </a:lnTo>
                <a:lnTo>
                  <a:pt x="790" y="368"/>
                </a:lnTo>
                <a:lnTo>
                  <a:pt x="789" y="371"/>
                </a:lnTo>
                <a:lnTo>
                  <a:pt x="789" y="371"/>
                </a:lnTo>
                <a:lnTo>
                  <a:pt x="789" y="370"/>
                </a:lnTo>
                <a:lnTo>
                  <a:pt x="789" y="370"/>
                </a:lnTo>
                <a:lnTo>
                  <a:pt x="789" y="366"/>
                </a:lnTo>
                <a:lnTo>
                  <a:pt x="789" y="366"/>
                </a:lnTo>
                <a:lnTo>
                  <a:pt x="788" y="367"/>
                </a:lnTo>
                <a:lnTo>
                  <a:pt x="788" y="367"/>
                </a:lnTo>
                <a:lnTo>
                  <a:pt x="789" y="360"/>
                </a:lnTo>
                <a:lnTo>
                  <a:pt x="789" y="360"/>
                </a:lnTo>
                <a:lnTo>
                  <a:pt x="788" y="366"/>
                </a:lnTo>
                <a:lnTo>
                  <a:pt x="788" y="366"/>
                </a:lnTo>
                <a:lnTo>
                  <a:pt x="786" y="367"/>
                </a:lnTo>
                <a:lnTo>
                  <a:pt x="786" y="367"/>
                </a:lnTo>
                <a:lnTo>
                  <a:pt x="786" y="367"/>
                </a:lnTo>
                <a:lnTo>
                  <a:pt x="785" y="366"/>
                </a:lnTo>
                <a:lnTo>
                  <a:pt x="783" y="366"/>
                </a:lnTo>
                <a:lnTo>
                  <a:pt x="783" y="367"/>
                </a:lnTo>
                <a:lnTo>
                  <a:pt x="783" y="367"/>
                </a:lnTo>
                <a:lnTo>
                  <a:pt x="783" y="366"/>
                </a:lnTo>
                <a:lnTo>
                  <a:pt x="785" y="361"/>
                </a:lnTo>
                <a:lnTo>
                  <a:pt x="785" y="361"/>
                </a:lnTo>
                <a:lnTo>
                  <a:pt x="783" y="364"/>
                </a:lnTo>
                <a:lnTo>
                  <a:pt x="783" y="364"/>
                </a:lnTo>
                <a:lnTo>
                  <a:pt x="782" y="364"/>
                </a:lnTo>
                <a:lnTo>
                  <a:pt x="782" y="364"/>
                </a:lnTo>
                <a:lnTo>
                  <a:pt x="780" y="363"/>
                </a:lnTo>
                <a:lnTo>
                  <a:pt x="778" y="364"/>
                </a:lnTo>
                <a:lnTo>
                  <a:pt x="778" y="364"/>
                </a:lnTo>
                <a:lnTo>
                  <a:pt x="779" y="361"/>
                </a:lnTo>
                <a:lnTo>
                  <a:pt x="779" y="358"/>
                </a:lnTo>
                <a:lnTo>
                  <a:pt x="779" y="358"/>
                </a:lnTo>
                <a:lnTo>
                  <a:pt x="782" y="354"/>
                </a:lnTo>
                <a:lnTo>
                  <a:pt x="783" y="354"/>
                </a:lnTo>
                <a:lnTo>
                  <a:pt x="783" y="354"/>
                </a:lnTo>
                <a:lnTo>
                  <a:pt x="783" y="353"/>
                </a:lnTo>
                <a:lnTo>
                  <a:pt x="785" y="350"/>
                </a:lnTo>
                <a:lnTo>
                  <a:pt x="785" y="350"/>
                </a:lnTo>
                <a:lnTo>
                  <a:pt x="788" y="341"/>
                </a:lnTo>
                <a:lnTo>
                  <a:pt x="788" y="341"/>
                </a:lnTo>
                <a:lnTo>
                  <a:pt x="785" y="348"/>
                </a:lnTo>
                <a:lnTo>
                  <a:pt x="783" y="351"/>
                </a:lnTo>
                <a:lnTo>
                  <a:pt x="783" y="351"/>
                </a:lnTo>
                <a:lnTo>
                  <a:pt x="783" y="351"/>
                </a:lnTo>
                <a:lnTo>
                  <a:pt x="782" y="353"/>
                </a:lnTo>
                <a:lnTo>
                  <a:pt x="782" y="353"/>
                </a:lnTo>
                <a:lnTo>
                  <a:pt x="783" y="347"/>
                </a:lnTo>
                <a:lnTo>
                  <a:pt x="783" y="347"/>
                </a:lnTo>
                <a:lnTo>
                  <a:pt x="782" y="351"/>
                </a:lnTo>
                <a:lnTo>
                  <a:pt x="780" y="353"/>
                </a:lnTo>
                <a:lnTo>
                  <a:pt x="780" y="353"/>
                </a:lnTo>
                <a:lnTo>
                  <a:pt x="779" y="351"/>
                </a:lnTo>
                <a:lnTo>
                  <a:pt x="779" y="351"/>
                </a:lnTo>
                <a:lnTo>
                  <a:pt x="780" y="348"/>
                </a:lnTo>
                <a:lnTo>
                  <a:pt x="780" y="348"/>
                </a:lnTo>
                <a:lnTo>
                  <a:pt x="779" y="350"/>
                </a:lnTo>
                <a:lnTo>
                  <a:pt x="779" y="350"/>
                </a:lnTo>
                <a:lnTo>
                  <a:pt x="779" y="350"/>
                </a:lnTo>
                <a:lnTo>
                  <a:pt x="778" y="350"/>
                </a:lnTo>
                <a:lnTo>
                  <a:pt x="778" y="350"/>
                </a:lnTo>
                <a:lnTo>
                  <a:pt x="778" y="350"/>
                </a:lnTo>
                <a:lnTo>
                  <a:pt x="782" y="341"/>
                </a:lnTo>
                <a:lnTo>
                  <a:pt x="782" y="341"/>
                </a:lnTo>
                <a:lnTo>
                  <a:pt x="779" y="348"/>
                </a:lnTo>
                <a:lnTo>
                  <a:pt x="779" y="348"/>
                </a:lnTo>
                <a:lnTo>
                  <a:pt x="782" y="341"/>
                </a:lnTo>
                <a:lnTo>
                  <a:pt x="782" y="341"/>
                </a:lnTo>
                <a:lnTo>
                  <a:pt x="783" y="341"/>
                </a:lnTo>
                <a:lnTo>
                  <a:pt x="783" y="340"/>
                </a:lnTo>
                <a:lnTo>
                  <a:pt x="783" y="340"/>
                </a:lnTo>
                <a:lnTo>
                  <a:pt x="786" y="334"/>
                </a:lnTo>
                <a:lnTo>
                  <a:pt x="786" y="334"/>
                </a:lnTo>
                <a:lnTo>
                  <a:pt x="783" y="338"/>
                </a:lnTo>
                <a:lnTo>
                  <a:pt x="783" y="338"/>
                </a:lnTo>
                <a:lnTo>
                  <a:pt x="785" y="334"/>
                </a:lnTo>
                <a:lnTo>
                  <a:pt x="783" y="338"/>
                </a:lnTo>
                <a:lnTo>
                  <a:pt x="783" y="338"/>
                </a:lnTo>
                <a:lnTo>
                  <a:pt x="785" y="334"/>
                </a:lnTo>
                <a:lnTo>
                  <a:pt x="786" y="330"/>
                </a:lnTo>
                <a:lnTo>
                  <a:pt x="786" y="330"/>
                </a:lnTo>
                <a:lnTo>
                  <a:pt x="788" y="328"/>
                </a:lnTo>
                <a:lnTo>
                  <a:pt x="788" y="328"/>
                </a:lnTo>
                <a:lnTo>
                  <a:pt x="789" y="326"/>
                </a:lnTo>
                <a:lnTo>
                  <a:pt x="789" y="326"/>
                </a:lnTo>
                <a:lnTo>
                  <a:pt x="789" y="324"/>
                </a:lnTo>
                <a:lnTo>
                  <a:pt x="789" y="324"/>
                </a:lnTo>
                <a:lnTo>
                  <a:pt x="790" y="321"/>
                </a:lnTo>
                <a:lnTo>
                  <a:pt x="790" y="321"/>
                </a:lnTo>
                <a:lnTo>
                  <a:pt x="790" y="321"/>
                </a:lnTo>
                <a:lnTo>
                  <a:pt x="790" y="321"/>
                </a:lnTo>
                <a:lnTo>
                  <a:pt x="790" y="321"/>
                </a:lnTo>
                <a:lnTo>
                  <a:pt x="790" y="321"/>
                </a:lnTo>
                <a:lnTo>
                  <a:pt x="792" y="317"/>
                </a:lnTo>
                <a:lnTo>
                  <a:pt x="792" y="317"/>
                </a:lnTo>
                <a:lnTo>
                  <a:pt x="792" y="317"/>
                </a:lnTo>
                <a:lnTo>
                  <a:pt x="792" y="317"/>
                </a:lnTo>
                <a:lnTo>
                  <a:pt x="792" y="317"/>
                </a:lnTo>
                <a:lnTo>
                  <a:pt x="792" y="317"/>
                </a:lnTo>
                <a:lnTo>
                  <a:pt x="792" y="316"/>
                </a:lnTo>
                <a:lnTo>
                  <a:pt x="792" y="316"/>
                </a:lnTo>
                <a:lnTo>
                  <a:pt x="793" y="314"/>
                </a:lnTo>
                <a:lnTo>
                  <a:pt x="795" y="313"/>
                </a:lnTo>
                <a:lnTo>
                  <a:pt x="795" y="313"/>
                </a:lnTo>
                <a:lnTo>
                  <a:pt x="795" y="313"/>
                </a:lnTo>
                <a:lnTo>
                  <a:pt x="795" y="313"/>
                </a:lnTo>
                <a:lnTo>
                  <a:pt x="793" y="314"/>
                </a:lnTo>
                <a:lnTo>
                  <a:pt x="793" y="314"/>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3" y="314"/>
                </a:lnTo>
                <a:lnTo>
                  <a:pt x="793" y="314"/>
                </a:lnTo>
                <a:lnTo>
                  <a:pt x="793" y="314"/>
                </a:lnTo>
                <a:lnTo>
                  <a:pt x="793" y="314"/>
                </a:lnTo>
                <a:lnTo>
                  <a:pt x="793" y="313"/>
                </a:lnTo>
                <a:lnTo>
                  <a:pt x="793" y="313"/>
                </a:lnTo>
                <a:lnTo>
                  <a:pt x="793" y="313"/>
                </a:lnTo>
                <a:lnTo>
                  <a:pt x="793" y="313"/>
                </a:lnTo>
                <a:lnTo>
                  <a:pt x="792" y="316"/>
                </a:lnTo>
                <a:lnTo>
                  <a:pt x="792" y="316"/>
                </a:lnTo>
                <a:lnTo>
                  <a:pt x="793" y="313"/>
                </a:lnTo>
                <a:lnTo>
                  <a:pt x="793" y="313"/>
                </a:lnTo>
                <a:lnTo>
                  <a:pt x="793" y="313"/>
                </a:lnTo>
                <a:lnTo>
                  <a:pt x="793" y="313"/>
                </a:lnTo>
                <a:lnTo>
                  <a:pt x="793" y="313"/>
                </a:lnTo>
                <a:lnTo>
                  <a:pt x="793" y="314"/>
                </a:lnTo>
                <a:lnTo>
                  <a:pt x="793" y="314"/>
                </a:lnTo>
                <a:lnTo>
                  <a:pt x="793" y="314"/>
                </a:lnTo>
                <a:lnTo>
                  <a:pt x="793" y="314"/>
                </a:lnTo>
                <a:lnTo>
                  <a:pt x="793" y="314"/>
                </a:lnTo>
                <a:lnTo>
                  <a:pt x="793" y="314"/>
                </a:lnTo>
                <a:lnTo>
                  <a:pt x="793" y="314"/>
                </a:lnTo>
                <a:lnTo>
                  <a:pt x="793" y="314"/>
                </a:lnTo>
                <a:lnTo>
                  <a:pt x="780" y="330"/>
                </a:lnTo>
                <a:lnTo>
                  <a:pt x="780" y="330"/>
                </a:lnTo>
                <a:lnTo>
                  <a:pt x="782" y="327"/>
                </a:lnTo>
                <a:lnTo>
                  <a:pt x="778" y="334"/>
                </a:lnTo>
                <a:lnTo>
                  <a:pt x="778" y="334"/>
                </a:lnTo>
                <a:lnTo>
                  <a:pt x="780" y="331"/>
                </a:lnTo>
                <a:lnTo>
                  <a:pt x="779" y="334"/>
                </a:lnTo>
                <a:lnTo>
                  <a:pt x="779" y="334"/>
                </a:lnTo>
                <a:lnTo>
                  <a:pt x="782" y="331"/>
                </a:lnTo>
                <a:lnTo>
                  <a:pt x="780" y="333"/>
                </a:lnTo>
                <a:lnTo>
                  <a:pt x="780" y="333"/>
                </a:lnTo>
                <a:lnTo>
                  <a:pt x="779" y="334"/>
                </a:lnTo>
                <a:lnTo>
                  <a:pt x="779" y="336"/>
                </a:lnTo>
                <a:lnTo>
                  <a:pt x="779" y="336"/>
                </a:lnTo>
                <a:lnTo>
                  <a:pt x="776" y="343"/>
                </a:lnTo>
                <a:lnTo>
                  <a:pt x="776" y="343"/>
                </a:lnTo>
                <a:lnTo>
                  <a:pt x="773" y="344"/>
                </a:lnTo>
                <a:lnTo>
                  <a:pt x="773" y="344"/>
                </a:lnTo>
                <a:lnTo>
                  <a:pt x="778" y="337"/>
                </a:lnTo>
                <a:lnTo>
                  <a:pt x="778" y="337"/>
                </a:lnTo>
                <a:lnTo>
                  <a:pt x="776" y="340"/>
                </a:lnTo>
                <a:lnTo>
                  <a:pt x="776" y="340"/>
                </a:lnTo>
                <a:lnTo>
                  <a:pt x="778" y="337"/>
                </a:lnTo>
                <a:lnTo>
                  <a:pt x="778" y="337"/>
                </a:lnTo>
                <a:lnTo>
                  <a:pt x="775" y="341"/>
                </a:lnTo>
                <a:lnTo>
                  <a:pt x="775" y="341"/>
                </a:lnTo>
                <a:lnTo>
                  <a:pt x="770" y="347"/>
                </a:lnTo>
                <a:lnTo>
                  <a:pt x="770" y="347"/>
                </a:lnTo>
                <a:lnTo>
                  <a:pt x="773" y="341"/>
                </a:lnTo>
                <a:lnTo>
                  <a:pt x="772" y="343"/>
                </a:lnTo>
                <a:lnTo>
                  <a:pt x="772" y="343"/>
                </a:lnTo>
                <a:lnTo>
                  <a:pt x="776" y="336"/>
                </a:lnTo>
                <a:lnTo>
                  <a:pt x="776" y="336"/>
                </a:lnTo>
                <a:lnTo>
                  <a:pt x="772" y="338"/>
                </a:lnTo>
                <a:lnTo>
                  <a:pt x="772" y="338"/>
                </a:lnTo>
                <a:lnTo>
                  <a:pt x="776" y="334"/>
                </a:lnTo>
                <a:lnTo>
                  <a:pt x="776" y="334"/>
                </a:lnTo>
                <a:lnTo>
                  <a:pt x="772" y="337"/>
                </a:lnTo>
                <a:lnTo>
                  <a:pt x="773" y="337"/>
                </a:lnTo>
                <a:lnTo>
                  <a:pt x="773" y="337"/>
                </a:lnTo>
                <a:lnTo>
                  <a:pt x="775" y="334"/>
                </a:lnTo>
                <a:lnTo>
                  <a:pt x="775" y="334"/>
                </a:lnTo>
                <a:lnTo>
                  <a:pt x="772" y="337"/>
                </a:lnTo>
                <a:lnTo>
                  <a:pt x="772" y="337"/>
                </a:lnTo>
                <a:lnTo>
                  <a:pt x="770" y="338"/>
                </a:lnTo>
                <a:lnTo>
                  <a:pt x="770" y="338"/>
                </a:lnTo>
                <a:lnTo>
                  <a:pt x="775" y="333"/>
                </a:lnTo>
                <a:lnTo>
                  <a:pt x="775" y="333"/>
                </a:lnTo>
                <a:lnTo>
                  <a:pt x="770" y="337"/>
                </a:lnTo>
                <a:lnTo>
                  <a:pt x="770" y="337"/>
                </a:lnTo>
                <a:lnTo>
                  <a:pt x="770" y="336"/>
                </a:lnTo>
                <a:lnTo>
                  <a:pt x="770" y="336"/>
                </a:lnTo>
                <a:lnTo>
                  <a:pt x="768" y="337"/>
                </a:lnTo>
                <a:lnTo>
                  <a:pt x="768" y="337"/>
                </a:lnTo>
                <a:lnTo>
                  <a:pt x="775" y="331"/>
                </a:lnTo>
                <a:lnTo>
                  <a:pt x="775" y="331"/>
                </a:lnTo>
                <a:lnTo>
                  <a:pt x="770" y="336"/>
                </a:lnTo>
                <a:lnTo>
                  <a:pt x="770" y="336"/>
                </a:lnTo>
                <a:lnTo>
                  <a:pt x="770" y="334"/>
                </a:lnTo>
                <a:lnTo>
                  <a:pt x="770" y="336"/>
                </a:lnTo>
                <a:lnTo>
                  <a:pt x="770" y="336"/>
                </a:lnTo>
                <a:lnTo>
                  <a:pt x="770" y="336"/>
                </a:lnTo>
                <a:lnTo>
                  <a:pt x="770" y="334"/>
                </a:lnTo>
                <a:lnTo>
                  <a:pt x="770" y="334"/>
                </a:lnTo>
                <a:lnTo>
                  <a:pt x="768" y="337"/>
                </a:lnTo>
                <a:lnTo>
                  <a:pt x="768" y="337"/>
                </a:lnTo>
                <a:lnTo>
                  <a:pt x="772" y="333"/>
                </a:lnTo>
                <a:lnTo>
                  <a:pt x="772" y="333"/>
                </a:lnTo>
                <a:lnTo>
                  <a:pt x="769" y="336"/>
                </a:lnTo>
                <a:lnTo>
                  <a:pt x="769" y="336"/>
                </a:lnTo>
                <a:lnTo>
                  <a:pt x="775" y="331"/>
                </a:lnTo>
                <a:lnTo>
                  <a:pt x="775" y="331"/>
                </a:lnTo>
                <a:lnTo>
                  <a:pt x="780" y="326"/>
                </a:lnTo>
                <a:lnTo>
                  <a:pt x="782" y="324"/>
                </a:lnTo>
                <a:lnTo>
                  <a:pt x="779" y="327"/>
                </a:lnTo>
                <a:lnTo>
                  <a:pt x="779" y="327"/>
                </a:lnTo>
                <a:lnTo>
                  <a:pt x="780" y="326"/>
                </a:lnTo>
                <a:lnTo>
                  <a:pt x="780" y="326"/>
                </a:lnTo>
                <a:lnTo>
                  <a:pt x="782" y="324"/>
                </a:lnTo>
                <a:lnTo>
                  <a:pt x="782" y="324"/>
                </a:lnTo>
                <a:lnTo>
                  <a:pt x="785" y="321"/>
                </a:lnTo>
                <a:lnTo>
                  <a:pt x="785" y="321"/>
                </a:lnTo>
                <a:lnTo>
                  <a:pt x="788" y="318"/>
                </a:lnTo>
                <a:lnTo>
                  <a:pt x="788" y="318"/>
                </a:lnTo>
                <a:lnTo>
                  <a:pt x="789" y="318"/>
                </a:lnTo>
                <a:lnTo>
                  <a:pt x="789" y="318"/>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6"/>
                </a:lnTo>
                <a:lnTo>
                  <a:pt x="790"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4"/>
                </a:lnTo>
                <a:lnTo>
                  <a:pt x="792" y="314"/>
                </a:lnTo>
                <a:lnTo>
                  <a:pt x="793" y="314"/>
                </a:lnTo>
                <a:lnTo>
                  <a:pt x="793" y="314"/>
                </a:lnTo>
                <a:lnTo>
                  <a:pt x="793" y="314"/>
                </a:lnTo>
                <a:lnTo>
                  <a:pt x="793" y="314"/>
                </a:lnTo>
                <a:lnTo>
                  <a:pt x="793" y="314"/>
                </a:lnTo>
                <a:lnTo>
                  <a:pt x="793" y="314"/>
                </a:lnTo>
                <a:lnTo>
                  <a:pt x="793" y="314"/>
                </a:lnTo>
                <a:lnTo>
                  <a:pt x="793" y="314"/>
                </a:lnTo>
                <a:lnTo>
                  <a:pt x="793" y="314"/>
                </a:lnTo>
                <a:lnTo>
                  <a:pt x="793" y="313"/>
                </a:lnTo>
                <a:lnTo>
                  <a:pt x="793"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3" y="313"/>
                </a:lnTo>
                <a:lnTo>
                  <a:pt x="793" y="313"/>
                </a:lnTo>
                <a:lnTo>
                  <a:pt x="793" y="313"/>
                </a:lnTo>
                <a:lnTo>
                  <a:pt x="793" y="313"/>
                </a:lnTo>
                <a:lnTo>
                  <a:pt x="793" y="314"/>
                </a:lnTo>
                <a:lnTo>
                  <a:pt x="793" y="314"/>
                </a:lnTo>
                <a:lnTo>
                  <a:pt x="793" y="314"/>
                </a:lnTo>
                <a:lnTo>
                  <a:pt x="793" y="314"/>
                </a:lnTo>
                <a:lnTo>
                  <a:pt x="793" y="314"/>
                </a:lnTo>
                <a:lnTo>
                  <a:pt x="793" y="314"/>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6"/>
                </a:lnTo>
                <a:lnTo>
                  <a:pt x="790" y="316"/>
                </a:lnTo>
                <a:lnTo>
                  <a:pt x="790" y="317"/>
                </a:lnTo>
                <a:lnTo>
                  <a:pt x="790" y="317"/>
                </a:lnTo>
                <a:lnTo>
                  <a:pt x="790" y="316"/>
                </a:lnTo>
                <a:lnTo>
                  <a:pt x="790"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0" y="316"/>
                </a:lnTo>
                <a:lnTo>
                  <a:pt x="790" y="316"/>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2" y="317"/>
                </a:lnTo>
                <a:lnTo>
                  <a:pt x="792" y="317"/>
                </a:lnTo>
                <a:lnTo>
                  <a:pt x="790" y="317"/>
                </a:lnTo>
                <a:lnTo>
                  <a:pt x="790" y="317"/>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3" y="316"/>
                </a:lnTo>
                <a:lnTo>
                  <a:pt x="793" y="316"/>
                </a:lnTo>
                <a:lnTo>
                  <a:pt x="793" y="316"/>
                </a:lnTo>
                <a:lnTo>
                  <a:pt x="793" y="316"/>
                </a:lnTo>
                <a:lnTo>
                  <a:pt x="793" y="316"/>
                </a:lnTo>
                <a:lnTo>
                  <a:pt x="793" y="316"/>
                </a:lnTo>
                <a:lnTo>
                  <a:pt x="793" y="316"/>
                </a:lnTo>
                <a:lnTo>
                  <a:pt x="793" y="316"/>
                </a:lnTo>
                <a:lnTo>
                  <a:pt x="795" y="314"/>
                </a:lnTo>
                <a:lnTo>
                  <a:pt x="795" y="314"/>
                </a:lnTo>
                <a:lnTo>
                  <a:pt x="793" y="316"/>
                </a:lnTo>
                <a:lnTo>
                  <a:pt x="793" y="316"/>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6" y="314"/>
                </a:lnTo>
                <a:lnTo>
                  <a:pt x="796" y="314"/>
                </a:lnTo>
                <a:lnTo>
                  <a:pt x="796" y="314"/>
                </a:lnTo>
                <a:lnTo>
                  <a:pt x="796" y="314"/>
                </a:lnTo>
                <a:lnTo>
                  <a:pt x="797" y="313"/>
                </a:lnTo>
                <a:lnTo>
                  <a:pt x="797" y="313"/>
                </a:lnTo>
                <a:lnTo>
                  <a:pt x="797" y="313"/>
                </a:lnTo>
                <a:lnTo>
                  <a:pt x="797" y="313"/>
                </a:lnTo>
                <a:lnTo>
                  <a:pt x="799" y="313"/>
                </a:lnTo>
                <a:lnTo>
                  <a:pt x="799" y="313"/>
                </a:lnTo>
                <a:lnTo>
                  <a:pt x="799" y="313"/>
                </a:lnTo>
                <a:lnTo>
                  <a:pt x="799" y="313"/>
                </a:lnTo>
                <a:lnTo>
                  <a:pt x="800" y="311"/>
                </a:lnTo>
                <a:lnTo>
                  <a:pt x="802" y="311"/>
                </a:lnTo>
                <a:lnTo>
                  <a:pt x="802" y="311"/>
                </a:lnTo>
                <a:lnTo>
                  <a:pt x="802" y="311"/>
                </a:lnTo>
                <a:lnTo>
                  <a:pt x="802" y="311"/>
                </a:lnTo>
                <a:lnTo>
                  <a:pt x="802" y="311"/>
                </a:lnTo>
                <a:lnTo>
                  <a:pt x="805" y="321"/>
                </a:lnTo>
                <a:lnTo>
                  <a:pt x="805" y="321"/>
                </a:lnTo>
                <a:lnTo>
                  <a:pt x="805" y="321"/>
                </a:lnTo>
                <a:lnTo>
                  <a:pt x="805" y="321"/>
                </a:lnTo>
                <a:lnTo>
                  <a:pt x="805" y="321"/>
                </a:lnTo>
                <a:lnTo>
                  <a:pt x="803" y="318"/>
                </a:lnTo>
                <a:lnTo>
                  <a:pt x="803" y="318"/>
                </a:lnTo>
                <a:lnTo>
                  <a:pt x="803" y="320"/>
                </a:lnTo>
                <a:lnTo>
                  <a:pt x="803" y="320"/>
                </a:lnTo>
                <a:lnTo>
                  <a:pt x="805" y="321"/>
                </a:lnTo>
                <a:lnTo>
                  <a:pt x="805" y="321"/>
                </a:lnTo>
                <a:lnTo>
                  <a:pt x="805" y="321"/>
                </a:lnTo>
                <a:lnTo>
                  <a:pt x="805" y="321"/>
                </a:lnTo>
                <a:lnTo>
                  <a:pt x="805" y="321"/>
                </a:lnTo>
                <a:lnTo>
                  <a:pt x="805" y="321"/>
                </a:lnTo>
                <a:lnTo>
                  <a:pt x="805" y="321"/>
                </a:lnTo>
                <a:lnTo>
                  <a:pt x="805" y="321"/>
                </a:lnTo>
                <a:lnTo>
                  <a:pt x="802" y="311"/>
                </a:lnTo>
                <a:lnTo>
                  <a:pt x="802" y="311"/>
                </a:lnTo>
                <a:lnTo>
                  <a:pt x="802" y="311"/>
                </a:lnTo>
                <a:lnTo>
                  <a:pt x="802" y="311"/>
                </a:lnTo>
                <a:lnTo>
                  <a:pt x="805" y="321"/>
                </a:lnTo>
                <a:lnTo>
                  <a:pt x="805" y="321"/>
                </a:lnTo>
                <a:lnTo>
                  <a:pt x="805" y="321"/>
                </a:lnTo>
                <a:lnTo>
                  <a:pt x="805" y="321"/>
                </a:lnTo>
                <a:lnTo>
                  <a:pt x="805" y="321"/>
                </a:lnTo>
                <a:lnTo>
                  <a:pt x="805" y="321"/>
                </a:lnTo>
                <a:lnTo>
                  <a:pt x="805" y="321"/>
                </a:lnTo>
                <a:lnTo>
                  <a:pt x="805" y="321"/>
                </a:lnTo>
                <a:lnTo>
                  <a:pt x="805" y="320"/>
                </a:lnTo>
                <a:lnTo>
                  <a:pt x="805" y="320"/>
                </a:lnTo>
                <a:lnTo>
                  <a:pt x="803" y="318"/>
                </a:lnTo>
                <a:lnTo>
                  <a:pt x="803" y="318"/>
                </a:lnTo>
                <a:lnTo>
                  <a:pt x="802" y="317"/>
                </a:lnTo>
                <a:lnTo>
                  <a:pt x="802" y="317"/>
                </a:lnTo>
                <a:lnTo>
                  <a:pt x="797" y="308"/>
                </a:lnTo>
                <a:lnTo>
                  <a:pt x="797" y="308"/>
                </a:lnTo>
                <a:lnTo>
                  <a:pt x="795" y="304"/>
                </a:lnTo>
                <a:lnTo>
                  <a:pt x="795" y="304"/>
                </a:lnTo>
                <a:lnTo>
                  <a:pt x="795" y="303"/>
                </a:lnTo>
                <a:lnTo>
                  <a:pt x="795" y="304"/>
                </a:lnTo>
                <a:lnTo>
                  <a:pt x="795" y="304"/>
                </a:lnTo>
                <a:lnTo>
                  <a:pt x="795" y="306"/>
                </a:lnTo>
                <a:lnTo>
                  <a:pt x="795" y="306"/>
                </a:lnTo>
                <a:lnTo>
                  <a:pt x="795" y="307"/>
                </a:lnTo>
                <a:lnTo>
                  <a:pt x="795" y="307"/>
                </a:lnTo>
                <a:lnTo>
                  <a:pt x="795" y="307"/>
                </a:lnTo>
                <a:lnTo>
                  <a:pt x="795" y="307"/>
                </a:lnTo>
                <a:lnTo>
                  <a:pt x="795" y="310"/>
                </a:lnTo>
                <a:lnTo>
                  <a:pt x="795" y="310"/>
                </a:lnTo>
                <a:lnTo>
                  <a:pt x="795" y="311"/>
                </a:lnTo>
                <a:lnTo>
                  <a:pt x="795" y="311"/>
                </a:lnTo>
                <a:lnTo>
                  <a:pt x="795" y="313"/>
                </a:lnTo>
                <a:lnTo>
                  <a:pt x="795" y="313"/>
                </a:lnTo>
                <a:lnTo>
                  <a:pt x="795" y="313"/>
                </a:lnTo>
                <a:lnTo>
                  <a:pt x="795" y="314"/>
                </a:lnTo>
                <a:lnTo>
                  <a:pt x="795" y="314"/>
                </a:lnTo>
                <a:lnTo>
                  <a:pt x="795" y="314"/>
                </a:lnTo>
                <a:lnTo>
                  <a:pt x="795" y="314"/>
                </a:lnTo>
                <a:lnTo>
                  <a:pt x="793" y="314"/>
                </a:lnTo>
                <a:lnTo>
                  <a:pt x="793" y="314"/>
                </a:lnTo>
                <a:lnTo>
                  <a:pt x="793" y="314"/>
                </a:lnTo>
                <a:lnTo>
                  <a:pt x="793" y="314"/>
                </a:lnTo>
                <a:lnTo>
                  <a:pt x="792" y="314"/>
                </a:lnTo>
                <a:lnTo>
                  <a:pt x="792"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2" y="314"/>
                </a:lnTo>
                <a:lnTo>
                  <a:pt x="792" y="314"/>
                </a:lnTo>
                <a:lnTo>
                  <a:pt x="792" y="314"/>
                </a:lnTo>
                <a:lnTo>
                  <a:pt x="792" y="314"/>
                </a:lnTo>
                <a:lnTo>
                  <a:pt x="792" y="314"/>
                </a:lnTo>
                <a:lnTo>
                  <a:pt x="792" y="314"/>
                </a:lnTo>
                <a:lnTo>
                  <a:pt x="792" y="314"/>
                </a:lnTo>
                <a:lnTo>
                  <a:pt x="792" y="314"/>
                </a:lnTo>
                <a:lnTo>
                  <a:pt x="793" y="316"/>
                </a:lnTo>
                <a:lnTo>
                  <a:pt x="793" y="316"/>
                </a:lnTo>
                <a:lnTo>
                  <a:pt x="793" y="316"/>
                </a:lnTo>
                <a:lnTo>
                  <a:pt x="793" y="316"/>
                </a:lnTo>
                <a:lnTo>
                  <a:pt x="793" y="316"/>
                </a:lnTo>
                <a:lnTo>
                  <a:pt x="793" y="316"/>
                </a:lnTo>
                <a:lnTo>
                  <a:pt x="793" y="316"/>
                </a:lnTo>
                <a:lnTo>
                  <a:pt x="793"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6" y="316"/>
                </a:lnTo>
                <a:lnTo>
                  <a:pt x="796" y="316"/>
                </a:lnTo>
                <a:lnTo>
                  <a:pt x="796" y="316"/>
                </a:lnTo>
                <a:lnTo>
                  <a:pt x="796" y="316"/>
                </a:lnTo>
                <a:lnTo>
                  <a:pt x="796" y="316"/>
                </a:lnTo>
                <a:lnTo>
                  <a:pt x="796" y="316"/>
                </a:lnTo>
                <a:lnTo>
                  <a:pt x="796" y="316"/>
                </a:lnTo>
                <a:lnTo>
                  <a:pt x="795" y="316"/>
                </a:lnTo>
                <a:lnTo>
                  <a:pt x="795" y="316"/>
                </a:lnTo>
                <a:lnTo>
                  <a:pt x="796" y="316"/>
                </a:lnTo>
                <a:lnTo>
                  <a:pt x="796" y="316"/>
                </a:lnTo>
                <a:lnTo>
                  <a:pt x="796" y="316"/>
                </a:lnTo>
                <a:lnTo>
                  <a:pt x="796" y="316"/>
                </a:lnTo>
                <a:lnTo>
                  <a:pt x="796" y="316"/>
                </a:lnTo>
                <a:lnTo>
                  <a:pt x="796" y="316"/>
                </a:lnTo>
                <a:lnTo>
                  <a:pt x="796" y="316"/>
                </a:lnTo>
                <a:lnTo>
                  <a:pt x="796" y="316"/>
                </a:lnTo>
                <a:lnTo>
                  <a:pt x="795" y="316"/>
                </a:lnTo>
                <a:lnTo>
                  <a:pt x="795" y="316"/>
                </a:lnTo>
                <a:lnTo>
                  <a:pt x="795" y="316"/>
                </a:lnTo>
                <a:lnTo>
                  <a:pt x="795" y="316"/>
                </a:lnTo>
                <a:lnTo>
                  <a:pt x="795" y="316"/>
                </a:lnTo>
                <a:lnTo>
                  <a:pt x="795" y="316"/>
                </a:lnTo>
                <a:lnTo>
                  <a:pt x="795" y="316"/>
                </a:lnTo>
                <a:lnTo>
                  <a:pt x="795" y="316"/>
                </a:lnTo>
                <a:lnTo>
                  <a:pt x="795" y="316"/>
                </a:lnTo>
                <a:lnTo>
                  <a:pt x="789" y="311"/>
                </a:lnTo>
                <a:lnTo>
                  <a:pt x="789" y="311"/>
                </a:lnTo>
                <a:lnTo>
                  <a:pt x="778" y="304"/>
                </a:lnTo>
                <a:lnTo>
                  <a:pt x="778" y="304"/>
                </a:lnTo>
                <a:lnTo>
                  <a:pt x="775" y="303"/>
                </a:lnTo>
                <a:lnTo>
                  <a:pt x="775" y="303"/>
                </a:lnTo>
                <a:lnTo>
                  <a:pt x="768" y="297"/>
                </a:lnTo>
                <a:lnTo>
                  <a:pt x="768" y="297"/>
                </a:lnTo>
                <a:lnTo>
                  <a:pt x="765" y="296"/>
                </a:lnTo>
                <a:lnTo>
                  <a:pt x="765" y="296"/>
                </a:lnTo>
                <a:lnTo>
                  <a:pt x="726" y="273"/>
                </a:lnTo>
                <a:lnTo>
                  <a:pt x="726" y="273"/>
                </a:lnTo>
                <a:lnTo>
                  <a:pt x="685" y="253"/>
                </a:lnTo>
                <a:lnTo>
                  <a:pt x="685" y="253"/>
                </a:lnTo>
                <a:lnTo>
                  <a:pt x="671" y="249"/>
                </a:lnTo>
                <a:lnTo>
                  <a:pt x="671" y="249"/>
                </a:lnTo>
                <a:lnTo>
                  <a:pt x="663" y="246"/>
                </a:lnTo>
                <a:lnTo>
                  <a:pt x="656" y="244"/>
                </a:lnTo>
                <a:lnTo>
                  <a:pt x="656" y="244"/>
                </a:lnTo>
                <a:lnTo>
                  <a:pt x="652" y="241"/>
                </a:lnTo>
                <a:lnTo>
                  <a:pt x="646" y="240"/>
                </a:lnTo>
                <a:lnTo>
                  <a:pt x="642" y="239"/>
                </a:lnTo>
                <a:lnTo>
                  <a:pt x="638" y="236"/>
                </a:lnTo>
                <a:lnTo>
                  <a:pt x="638" y="236"/>
                </a:lnTo>
                <a:lnTo>
                  <a:pt x="636" y="237"/>
                </a:lnTo>
                <a:lnTo>
                  <a:pt x="633" y="236"/>
                </a:lnTo>
                <a:lnTo>
                  <a:pt x="633" y="236"/>
                </a:lnTo>
                <a:lnTo>
                  <a:pt x="633" y="234"/>
                </a:lnTo>
                <a:lnTo>
                  <a:pt x="632" y="233"/>
                </a:lnTo>
                <a:lnTo>
                  <a:pt x="632" y="233"/>
                </a:lnTo>
                <a:lnTo>
                  <a:pt x="631" y="234"/>
                </a:lnTo>
                <a:lnTo>
                  <a:pt x="628" y="233"/>
                </a:lnTo>
                <a:lnTo>
                  <a:pt x="623" y="230"/>
                </a:lnTo>
                <a:lnTo>
                  <a:pt x="623" y="230"/>
                </a:lnTo>
                <a:lnTo>
                  <a:pt x="615" y="227"/>
                </a:lnTo>
                <a:lnTo>
                  <a:pt x="606" y="226"/>
                </a:lnTo>
                <a:lnTo>
                  <a:pt x="598" y="224"/>
                </a:lnTo>
                <a:lnTo>
                  <a:pt x="588" y="221"/>
                </a:lnTo>
                <a:lnTo>
                  <a:pt x="588" y="221"/>
                </a:lnTo>
                <a:lnTo>
                  <a:pt x="588" y="219"/>
                </a:lnTo>
                <a:lnTo>
                  <a:pt x="589" y="217"/>
                </a:lnTo>
                <a:lnTo>
                  <a:pt x="589" y="217"/>
                </a:lnTo>
                <a:lnTo>
                  <a:pt x="595" y="214"/>
                </a:lnTo>
                <a:lnTo>
                  <a:pt x="595" y="214"/>
                </a:lnTo>
                <a:lnTo>
                  <a:pt x="601" y="213"/>
                </a:lnTo>
                <a:lnTo>
                  <a:pt x="602" y="211"/>
                </a:lnTo>
                <a:lnTo>
                  <a:pt x="601" y="209"/>
                </a:lnTo>
                <a:lnTo>
                  <a:pt x="601" y="209"/>
                </a:lnTo>
                <a:lnTo>
                  <a:pt x="606" y="209"/>
                </a:lnTo>
                <a:lnTo>
                  <a:pt x="611" y="209"/>
                </a:lnTo>
                <a:lnTo>
                  <a:pt x="616" y="211"/>
                </a:lnTo>
                <a:lnTo>
                  <a:pt x="616" y="211"/>
                </a:lnTo>
                <a:lnTo>
                  <a:pt x="616" y="213"/>
                </a:lnTo>
                <a:lnTo>
                  <a:pt x="619" y="217"/>
                </a:lnTo>
                <a:lnTo>
                  <a:pt x="619" y="217"/>
                </a:lnTo>
                <a:lnTo>
                  <a:pt x="629" y="216"/>
                </a:lnTo>
                <a:lnTo>
                  <a:pt x="629" y="216"/>
                </a:lnTo>
                <a:lnTo>
                  <a:pt x="633" y="216"/>
                </a:lnTo>
                <a:lnTo>
                  <a:pt x="633" y="216"/>
                </a:lnTo>
                <a:lnTo>
                  <a:pt x="636" y="213"/>
                </a:lnTo>
                <a:lnTo>
                  <a:pt x="636" y="213"/>
                </a:lnTo>
                <a:lnTo>
                  <a:pt x="643" y="216"/>
                </a:lnTo>
                <a:lnTo>
                  <a:pt x="648" y="216"/>
                </a:lnTo>
                <a:lnTo>
                  <a:pt x="648" y="216"/>
                </a:lnTo>
                <a:lnTo>
                  <a:pt x="649" y="214"/>
                </a:lnTo>
                <a:lnTo>
                  <a:pt x="653" y="213"/>
                </a:lnTo>
                <a:lnTo>
                  <a:pt x="653" y="213"/>
                </a:lnTo>
                <a:lnTo>
                  <a:pt x="655" y="214"/>
                </a:lnTo>
                <a:lnTo>
                  <a:pt x="658" y="217"/>
                </a:lnTo>
                <a:lnTo>
                  <a:pt x="658" y="217"/>
                </a:lnTo>
                <a:lnTo>
                  <a:pt x="659" y="214"/>
                </a:lnTo>
                <a:lnTo>
                  <a:pt x="659" y="214"/>
                </a:lnTo>
                <a:lnTo>
                  <a:pt x="662" y="211"/>
                </a:lnTo>
                <a:lnTo>
                  <a:pt x="662" y="211"/>
                </a:lnTo>
                <a:lnTo>
                  <a:pt x="666" y="210"/>
                </a:lnTo>
                <a:lnTo>
                  <a:pt x="666" y="210"/>
                </a:lnTo>
                <a:lnTo>
                  <a:pt x="671" y="210"/>
                </a:lnTo>
                <a:lnTo>
                  <a:pt x="671" y="210"/>
                </a:lnTo>
                <a:lnTo>
                  <a:pt x="681" y="214"/>
                </a:lnTo>
                <a:lnTo>
                  <a:pt x="686" y="216"/>
                </a:lnTo>
                <a:lnTo>
                  <a:pt x="686" y="216"/>
                </a:lnTo>
                <a:lnTo>
                  <a:pt x="693" y="219"/>
                </a:lnTo>
                <a:lnTo>
                  <a:pt x="702" y="224"/>
                </a:lnTo>
                <a:lnTo>
                  <a:pt x="702" y="224"/>
                </a:lnTo>
                <a:lnTo>
                  <a:pt x="705" y="224"/>
                </a:lnTo>
                <a:lnTo>
                  <a:pt x="710" y="229"/>
                </a:lnTo>
                <a:lnTo>
                  <a:pt x="710" y="229"/>
                </a:lnTo>
                <a:lnTo>
                  <a:pt x="718" y="237"/>
                </a:lnTo>
                <a:lnTo>
                  <a:pt x="726" y="246"/>
                </a:lnTo>
                <a:lnTo>
                  <a:pt x="726" y="246"/>
                </a:lnTo>
                <a:lnTo>
                  <a:pt x="733" y="251"/>
                </a:lnTo>
                <a:lnTo>
                  <a:pt x="739" y="254"/>
                </a:lnTo>
                <a:lnTo>
                  <a:pt x="739" y="254"/>
                </a:lnTo>
                <a:lnTo>
                  <a:pt x="735" y="249"/>
                </a:lnTo>
                <a:lnTo>
                  <a:pt x="733" y="247"/>
                </a:lnTo>
                <a:lnTo>
                  <a:pt x="736" y="249"/>
                </a:lnTo>
                <a:lnTo>
                  <a:pt x="736" y="249"/>
                </a:lnTo>
                <a:lnTo>
                  <a:pt x="739" y="253"/>
                </a:lnTo>
                <a:lnTo>
                  <a:pt x="739" y="253"/>
                </a:lnTo>
                <a:lnTo>
                  <a:pt x="758" y="273"/>
                </a:lnTo>
                <a:lnTo>
                  <a:pt x="758" y="273"/>
                </a:lnTo>
                <a:lnTo>
                  <a:pt x="758" y="271"/>
                </a:lnTo>
                <a:lnTo>
                  <a:pt x="762" y="276"/>
                </a:lnTo>
                <a:lnTo>
                  <a:pt x="762" y="276"/>
                </a:lnTo>
                <a:lnTo>
                  <a:pt x="760" y="274"/>
                </a:lnTo>
                <a:lnTo>
                  <a:pt x="760" y="276"/>
                </a:lnTo>
                <a:lnTo>
                  <a:pt x="760" y="276"/>
                </a:lnTo>
                <a:lnTo>
                  <a:pt x="766" y="280"/>
                </a:lnTo>
                <a:lnTo>
                  <a:pt x="766" y="280"/>
                </a:lnTo>
                <a:lnTo>
                  <a:pt x="763" y="277"/>
                </a:lnTo>
                <a:lnTo>
                  <a:pt x="766" y="280"/>
                </a:lnTo>
                <a:lnTo>
                  <a:pt x="766" y="280"/>
                </a:lnTo>
                <a:lnTo>
                  <a:pt x="758" y="270"/>
                </a:lnTo>
                <a:lnTo>
                  <a:pt x="758" y="270"/>
                </a:lnTo>
                <a:lnTo>
                  <a:pt x="762" y="271"/>
                </a:lnTo>
                <a:lnTo>
                  <a:pt x="768" y="279"/>
                </a:lnTo>
                <a:lnTo>
                  <a:pt x="768" y="279"/>
                </a:lnTo>
                <a:lnTo>
                  <a:pt x="770" y="283"/>
                </a:lnTo>
                <a:lnTo>
                  <a:pt x="769" y="279"/>
                </a:lnTo>
                <a:lnTo>
                  <a:pt x="769" y="279"/>
                </a:lnTo>
                <a:lnTo>
                  <a:pt x="768" y="277"/>
                </a:lnTo>
                <a:lnTo>
                  <a:pt x="768" y="279"/>
                </a:lnTo>
                <a:lnTo>
                  <a:pt x="768" y="279"/>
                </a:lnTo>
                <a:lnTo>
                  <a:pt x="756" y="264"/>
                </a:lnTo>
                <a:lnTo>
                  <a:pt x="756" y="264"/>
                </a:lnTo>
                <a:lnTo>
                  <a:pt x="745" y="254"/>
                </a:lnTo>
                <a:lnTo>
                  <a:pt x="745" y="254"/>
                </a:lnTo>
                <a:lnTo>
                  <a:pt x="742" y="249"/>
                </a:lnTo>
                <a:lnTo>
                  <a:pt x="742" y="249"/>
                </a:lnTo>
                <a:lnTo>
                  <a:pt x="743" y="253"/>
                </a:lnTo>
                <a:lnTo>
                  <a:pt x="743" y="253"/>
                </a:lnTo>
                <a:lnTo>
                  <a:pt x="740" y="250"/>
                </a:lnTo>
                <a:lnTo>
                  <a:pt x="739" y="250"/>
                </a:lnTo>
                <a:lnTo>
                  <a:pt x="739" y="251"/>
                </a:lnTo>
                <a:lnTo>
                  <a:pt x="739" y="251"/>
                </a:lnTo>
                <a:lnTo>
                  <a:pt x="735" y="246"/>
                </a:lnTo>
                <a:lnTo>
                  <a:pt x="730" y="241"/>
                </a:lnTo>
                <a:lnTo>
                  <a:pt x="730" y="241"/>
                </a:lnTo>
                <a:lnTo>
                  <a:pt x="729" y="239"/>
                </a:lnTo>
                <a:lnTo>
                  <a:pt x="725" y="234"/>
                </a:lnTo>
                <a:lnTo>
                  <a:pt x="725" y="234"/>
                </a:lnTo>
                <a:lnTo>
                  <a:pt x="723" y="233"/>
                </a:lnTo>
                <a:lnTo>
                  <a:pt x="723" y="231"/>
                </a:lnTo>
                <a:lnTo>
                  <a:pt x="723" y="231"/>
                </a:lnTo>
                <a:lnTo>
                  <a:pt x="730" y="233"/>
                </a:lnTo>
                <a:lnTo>
                  <a:pt x="730" y="233"/>
                </a:lnTo>
                <a:lnTo>
                  <a:pt x="732" y="233"/>
                </a:lnTo>
                <a:lnTo>
                  <a:pt x="732" y="233"/>
                </a:lnTo>
                <a:lnTo>
                  <a:pt x="735" y="233"/>
                </a:lnTo>
                <a:lnTo>
                  <a:pt x="735" y="233"/>
                </a:lnTo>
                <a:lnTo>
                  <a:pt x="730" y="229"/>
                </a:lnTo>
                <a:lnTo>
                  <a:pt x="726" y="226"/>
                </a:lnTo>
                <a:lnTo>
                  <a:pt x="726" y="226"/>
                </a:lnTo>
                <a:lnTo>
                  <a:pt x="719" y="221"/>
                </a:lnTo>
                <a:lnTo>
                  <a:pt x="719" y="221"/>
                </a:lnTo>
                <a:lnTo>
                  <a:pt x="709" y="210"/>
                </a:lnTo>
                <a:lnTo>
                  <a:pt x="709" y="210"/>
                </a:lnTo>
                <a:lnTo>
                  <a:pt x="699" y="201"/>
                </a:lnTo>
                <a:lnTo>
                  <a:pt x="699" y="201"/>
                </a:lnTo>
                <a:lnTo>
                  <a:pt x="699" y="201"/>
                </a:lnTo>
                <a:lnTo>
                  <a:pt x="699" y="203"/>
                </a:lnTo>
                <a:lnTo>
                  <a:pt x="700" y="204"/>
                </a:lnTo>
                <a:lnTo>
                  <a:pt x="700" y="204"/>
                </a:lnTo>
                <a:lnTo>
                  <a:pt x="700" y="204"/>
                </a:lnTo>
                <a:lnTo>
                  <a:pt x="683" y="190"/>
                </a:lnTo>
                <a:lnTo>
                  <a:pt x="683" y="190"/>
                </a:lnTo>
                <a:lnTo>
                  <a:pt x="675" y="181"/>
                </a:lnTo>
                <a:lnTo>
                  <a:pt x="666" y="171"/>
                </a:lnTo>
                <a:lnTo>
                  <a:pt x="666" y="171"/>
                </a:lnTo>
                <a:lnTo>
                  <a:pt x="668" y="170"/>
                </a:lnTo>
                <a:lnTo>
                  <a:pt x="666" y="167"/>
                </a:lnTo>
                <a:lnTo>
                  <a:pt x="665" y="161"/>
                </a:lnTo>
                <a:lnTo>
                  <a:pt x="665" y="161"/>
                </a:lnTo>
                <a:lnTo>
                  <a:pt x="663" y="156"/>
                </a:lnTo>
                <a:lnTo>
                  <a:pt x="663" y="156"/>
                </a:lnTo>
                <a:lnTo>
                  <a:pt x="663" y="153"/>
                </a:lnTo>
                <a:lnTo>
                  <a:pt x="665" y="151"/>
                </a:lnTo>
                <a:lnTo>
                  <a:pt x="665" y="151"/>
                </a:lnTo>
                <a:lnTo>
                  <a:pt x="661" y="144"/>
                </a:lnTo>
                <a:lnTo>
                  <a:pt x="658" y="139"/>
                </a:lnTo>
                <a:lnTo>
                  <a:pt x="658" y="139"/>
                </a:lnTo>
                <a:lnTo>
                  <a:pt x="655" y="136"/>
                </a:lnTo>
                <a:lnTo>
                  <a:pt x="652" y="134"/>
                </a:lnTo>
                <a:lnTo>
                  <a:pt x="652" y="134"/>
                </a:lnTo>
                <a:lnTo>
                  <a:pt x="651" y="130"/>
                </a:lnTo>
                <a:lnTo>
                  <a:pt x="651" y="126"/>
                </a:lnTo>
                <a:lnTo>
                  <a:pt x="651" y="126"/>
                </a:lnTo>
                <a:lnTo>
                  <a:pt x="642" y="117"/>
                </a:lnTo>
                <a:lnTo>
                  <a:pt x="638" y="113"/>
                </a:lnTo>
                <a:lnTo>
                  <a:pt x="632" y="112"/>
                </a:lnTo>
                <a:lnTo>
                  <a:pt x="625" y="106"/>
                </a:lnTo>
                <a:lnTo>
                  <a:pt x="625" y="106"/>
                </a:lnTo>
                <a:lnTo>
                  <a:pt x="628" y="100"/>
                </a:lnTo>
                <a:lnTo>
                  <a:pt x="631" y="96"/>
                </a:lnTo>
                <a:lnTo>
                  <a:pt x="631" y="96"/>
                </a:lnTo>
                <a:lnTo>
                  <a:pt x="633" y="92"/>
                </a:lnTo>
                <a:lnTo>
                  <a:pt x="635" y="86"/>
                </a:lnTo>
                <a:lnTo>
                  <a:pt x="635" y="86"/>
                </a:lnTo>
                <a:lnTo>
                  <a:pt x="632" y="84"/>
                </a:lnTo>
                <a:lnTo>
                  <a:pt x="628" y="82"/>
                </a:lnTo>
                <a:lnTo>
                  <a:pt x="625" y="77"/>
                </a:lnTo>
                <a:lnTo>
                  <a:pt x="623" y="74"/>
                </a:lnTo>
                <a:lnTo>
                  <a:pt x="623" y="74"/>
                </a:lnTo>
                <a:lnTo>
                  <a:pt x="619" y="72"/>
                </a:lnTo>
                <a:lnTo>
                  <a:pt x="613" y="67"/>
                </a:lnTo>
                <a:lnTo>
                  <a:pt x="613" y="67"/>
                </a:lnTo>
                <a:lnTo>
                  <a:pt x="609" y="63"/>
                </a:lnTo>
                <a:lnTo>
                  <a:pt x="604" y="62"/>
                </a:lnTo>
                <a:lnTo>
                  <a:pt x="604" y="62"/>
                </a:lnTo>
                <a:lnTo>
                  <a:pt x="604" y="66"/>
                </a:lnTo>
                <a:lnTo>
                  <a:pt x="605" y="70"/>
                </a:lnTo>
                <a:lnTo>
                  <a:pt x="608" y="80"/>
                </a:lnTo>
                <a:lnTo>
                  <a:pt x="608" y="80"/>
                </a:lnTo>
                <a:lnTo>
                  <a:pt x="612" y="89"/>
                </a:lnTo>
                <a:lnTo>
                  <a:pt x="612" y="89"/>
                </a:lnTo>
                <a:lnTo>
                  <a:pt x="612" y="93"/>
                </a:lnTo>
                <a:lnTo>
                  <a:pt x="613" y="97"/>
                </a:lnTo>
                <a:lnTo>
                  <a:pt x="613" y="97"/>
                </a:lnTo>
                <a:lnTo>
                  <a:pt x="606" y="93"/>
                </a:lnTo>
                <a:lnTo>
                  <a:pt x="599" y="90"/>
                </a:lnTo>
                <a:lnTo>
                  <a:pt x="599" y="90"/>
                </a:lnTo>
                <a:lnTo>
                  <a:pt x="594" y="90"/>
                </a:lnTo>
                <a:lnTo>
                  <a:pt x="588" y="92"/>
                </a:lnTo>
                <a:lnTo>
                  <a:pt x="588" y="92"/>
                </a:lnTo>
                <a:lnTo>
                  <a:pt x="578" y="97"/>
                </a:lnTo>
                <a:lnTo>
                  <a:pt x="578" y="97"/>
                </a:lnTo>
                <a:lnTo>
                  <a:pt x="575" y="99"/>
                </a:lnTo>
                <a:lnTo>
                  <a:pt x="571" y="100"/>
                </a:lnTo>
                <a:lnTo>
                  <a:pt x="571" y="100"/>
                </a:lnTo>
                <a:lnTo>
                  <a:pt x="574" y="102"/>
                </a:lnTo>
                <a:lnTo>
                  <a:pt x="576" y="103"/>
                </a:lnTo>
                <a:lnTo>
                  <a:pt x="576" y="103"/>
                </a:lnTo>
                <a:lnTo>
                  <a:pt x="575" y="104"/>
                </a:lnTo>
                <a:lnTo>
                  <a:pt x="572" y="106"/>
                </a:lnTo>
                <a:lnTo>
                  <a:pt x="568" y="106"/>
                </a:lnTo>
                <a:lnTo>
                  <a:pt x="568" y="106"/>
                </a:lnTo>
                <a:lnTo>
                  <a:pt x="571" y="109"/>
                </a:lnTo>
                <a:lnTo>
                  <a:pt x="571" y="110"/>
                </a:lnTo>
                <a:lnTo>
                  <a:pt x="571" y="110"/>
                </a:lnTo>
                <a:lnTo>
                  <a:pt x="569" y="112"/>
                </a:lnTo>
                <a:lnTo>
                  <a:pt x="571" y="114"/>
                </a:lnTo>
                <a:lnTo>
                  <a:pt x="571" y="114"/>
                </a:lnTo>
                <a:lnTo>
                  <a:pt x="572" y="114"/>
                </a:lnTo>
                <a:lnTo>
                  <a:pt x="576" y="116"/>
                </a:lnTo>
                <a:lnTo>
                  <a:pt x="576" y="116"/>
                </a:lnTo>
                <a:lnTo>
                  <a:pt x="574" y="120"/>
                </a:lnTo>
                <a:lnTo>
                  <a:pt x="572" y="123"/>
                </a:lnTo>
                <a:lnTo>
                  <a:pt x="571" y="130"/>
                </a:lnTo>
                <a:lnTo>
                  <a:pt x="571" y="130"/>
                </a:lnTo>
                <a:lnTo>
                  <a:pt x="569" y="139"/>
                </a:lnTo>
                <a:lnTo>
                  <a:pt x="568" y="146"/>
                </a:lnTo>
                <a:lnTo>
                  <a:pt x="568" y="146"/>
                </a:lnTo>
                <a:lnTo>
                  <a:pt x="571" y="147"/>
                </a:lnTo>
                <a:lnTo>
                  <a:pt x="571" y="149"/>
                </a:lnTo>
                <a:lnTo>
                  <a:pt x="571" y="149"/>
                </a:lnTo>
                <a:lnTo>
                  <a:pt x="566" y="159"/>
                </a:lnTo>
                <a:lnTo>
                  <a:pt x="566" y="159"/>
                </a:lnTo>
                <a:lnTo>
                  <a:pt x="565" y="160"/>
                </a:lnTo>
                <a:lnTo>
                  <a:pt x="565" y="160"/>
                </a:lnTo>
                <a:lnTo>
                  <a:pt x="565" y="163"/>
                </a:lnTo>
                <a:lnTo>
                  <a:pt x="565" y="163"/>
                </a:lnTo>
                <a:lnTo>
                  <a:pt x="564" y="167"/>
                </a:lnTo>
                <a:lnTo>
                  <a:pt x="564" y="167"/>
                </a:lnTo>
                <a:lnTo>
                  <a:pt x="562" y="171"/>
                </a:lnTo>
                <a:lnTo>
                  <a:pt x="562" y="171"/>
                </a:lnTo>
                <a:lnTo>
                  <a:pt x="562" y="174"/>
                </a:lnTo>
                <a:lnTo>
                  <a:pt x="562" y="174"/>
                </a:lnTo>
                <a:lnTo>
                  <a:pt x="562" y="176"/>
                </a:lnTo>
                <a:lnTo>
                  <a:pt x="562" y="176"/>
                </a:lnTo>
                <a:lnTo>
                  <a:pt x="561" y="186"/>
                </a:lnTo>
                <a:lnTo>
                  <a:pt x="561" y="186"/>
                </a:lnTo>
                <a:lnTo>
                  <a:pt x="564" y="187"/>
                </a:lnTo>
                <a:lnTo>
                  <a:pt x="565" y="189"/>
                </a:lnTo>
                <a:lnTo>
                  <a:pt x="565" y="189"/>
                </a:lnTo>
                <a:lnTo>
                  <a:pt x="562" y="190"/>
                </a:lnTo>
                <a:lnTo>
                  <a:pt x="561" y="191"/>
                </a:lnTo>
                <a:lnTo>
                  <a:pt x="558" y="194"/>
                </a:lnTo>
                <a:lnTo>
                  <a:pt x="558" y="194"/>
                </a:lnTo>
                <a:lnTo>
                  <a:pt x="561" y="196"/>
                </a:lnTo>
                <a:lnTo>
                  <a:pt x="561" y="196"/>
                </a:lnTo>
                <a:lnTo>
                  <a:pt x="558" y="201"/>
                </a:lnTo>
                <a:lnTo>
                  <a:pt x="558" y="201"/>
                </a:lnTo>
                <a:lnTo>
                  <a:pt x="555" y="209"/>
                </a:lnTo>
                <a:lnTo>
                  <a:pt x="555" y="209"/>
                </a:lnTo>
                <a:lnTo>
                  <a:pt x="552" y="211"/>
                </a:lnTo>
                <a:lnTo>
                  <a:pt x="552" y="211"/>
                </a:lnTo>
                <a:lnTo>
                  <a:pt x="548" y="213"/>
                </a:lnTo>
                <a:lnTo>
                  <a:pt x="548" y="213"/>
                </a:lnTo>
                <a:lnTo>
                  <a:pt x="544" y="213"/>
                </a:lnTo>
                <a:lnTo>
                  <a:pt x="535" y="211"/>
                </a:lnTo>
                <a:lnTo>
                  <a:pt x="535" y="211"/>
                </a:lnTo>
                <a:lnTo>
                  <a:pt x="536" y="211"/>
                </a:lnTo>
                <a:lnTo>
                  <a:pt x="535" y="210"/>
                </a:lnTo>
                <a:lnTo>
                  <a:pt x="535" y="210"/>
                </a:lnTo>
                <a:lnTo>
                  <a:pt x="529" y="210"/>
                </a:lnTo>
                <a:lnTo>
                  <a:pt x="525" y="210"/>
                </a:lnTo>
                <a:lnTo>
                  <a:pt x="521" y="207"/>
                </a:lnTo>
                <a:lnTo>
                  <a:pt x="521" y="207"/>
                </a:lnTo>
                <a:lnTo>
                  <a:pt x="521" y="209"/>
                </a:lnTo>
                <a:lnTo>
                  <a:pt x="519" y="210"/>
                </a:lnTo>
                <a:lnTo>
                  <a:pt x="515" y="210"/>
                </a:lnTo>
                <a:lnTo>
                  <a:pt x="511" y="210"/>
                </a:lnTo>
                <a:lnTo>
                  <a:pt x="507" y="207"/>
                </a:lnTo>
                <a:lnTo>
                  <a:pt x="507" y="207"/>
                </a:lnTo>
                <a:lnTo>
                  <a:pt x="504" y="207"/>
                </a:lnTo>
                <a:lnTo>
                  <a:pt x="501" y="206"/>
                </a:lnTo>
                <a:lnTo>
                  <a:pt x="501" y="206"/>
                </a:lnTo>
                <a:lnTo>
                  <a:pt x="499" y="207"/>
                </a:lnTo>
                <a:lnTo>
                  <a:pt x="501" y="209"/>
                </a:lnTo>
                <a:lnTo>
                  <a:pt x="501" y="209"/>
                </a:lnTo>
                <a:lnTo>
                  <a:pt x="497" y="209"/>
                </a:lnTo>
                <a:lnTo>
                  <a:pt x="497" y="209"/>
                </a:lnTo>
                <a:lnTo>
                  <a:pt x="497" y="207"/>
                </a:lnTo>
                <a:lnTo>
                  <a:pt x="494" y="206"/>
                </a:lnTo>
                <a:lnTo>
                  <a:pt x="494" y="206"/>
                </a:lnTo>
                <a:lnTo>
                  <a:pt x="494" y="207"/>
                </a:lnTo>
                <a:lnTo>
                  <a:pt x="494" y="207"/>
                </a:lnTo>
                <a:lnTo>
                  <a:pt x="491" y="207"/>
                </a:lnTo>
                <a:lnTo>
                  <a:pt x="487" y="206"/>
                </a:lnTo>
                <a:lnTo>
                  <a:pt x="482" y="204"/>
                </a:lnTo>
                <a:lnTo>
                  <a:pt x="482" y="204"/>
                </a:lnTo>
                <a:lnTo>
                  <a:pt x="484" y="207"/>
                </a:lnTo>
                <a:lnTo>
                  <a:pt x="487" y="209"/>
                </a:lnTo>
                <a:lnTo>
                  <a:pt x="489" y="211"/>
                </a:lnTo>
                <a:lnTo>
                  <a:pt x="489" y="211"/>
                </a:lnTo>
                <a:lnTo>
                  <a:pt x="488" y="213"/>
                </a:lnTo>
                <a:lnTo>
                  <a:pt x="488" y="213"/>
                </a:lnTo>
                <a:lnTo>
                  <a:pt x="487" y="211"/>
                </a:lnTo>
                <a:lnTo>
                  <a:pt x="484" y="211"/>
                </a:lnTo>
                <a:lnTo>
                  <a:pt x="478" y="210"/>
                </a:lnTo>
                <a:lnTo>
                  <a:pt x="478" y="210"/>
                </a:lnTo>
                <a:lnTo>
                  <a:pt x="479" y="209"/>
                </a:lnTo>
                <a:lnTo>
                  <a:pt x="481" y="207"/>
                </a:lnTo>
                <a:lnTo>
                  <a:pt x="479" y="207"/>
                </a:lnTo>
                <a:lnTo>
                  <a:pt x="479" y="207"/>
                </a:lnTo>
                <a:lnTo>
                  <a:pt x="478" y="207"/>
                </a:lnTo>
                <a:lnTo>
                  <a:pt x="475" y="207"/>
                </a:lnTo>
                <a:lnTo>
                  <a:pt x="471" y="206"/>
                </a:lnTo>
                <a:lnTo>
                  <a:pt x="471" y="206"/>
                </a:lnTo>
                <a:lnTo>
                  <a:pt x="471" y="209"/>
                </a:lnTo>
                <a:lnTo>
                  <a:pt x="471" y="210"/>
                </a:lnTo>
                <a:lnTo>
                  <a:pt x="471" y="210"/>
                </a:lnTo>
                <a:lnTo>
                  <a:pt x="469" y="209"/>
                </a:lnTo>
                <a:lnTo>
                  <a:pt x="468" y="210"/>
                </a:lnTo>
                <a:lnTo>
                  <a:pt x="467" y="211"/>
                </a:lnTo>
                <a:lnTo>
                  <a:pt x="462" y="210"/>
                </a:lnTo>
                <a:lnTo>
                  <a:pt x="462" y="210"/>
                </a:lnTo>
                <a:lnTo>
                  <a:pt x="467" y="207"/>
                </a:lnTo>
                <a:lnTo>
                  <a:pt x="467" y="203"/>
                </a:lnTo>
                <a:lnTo>
                  <a:pt x="467" y="194"/>
                </a:lnTo>
                <a:lnTo>
                  <a:pt x="467" y="194"/>
                </a:lnTo>
                <a:lnTo>
                  <a:pt x="469" y="194"/>
                </a:lnTo>
                <a:lnTo>
                  <a:pt x="472" y="193"/>
                </a:lnTo>
                <a:lnTo>
                  <a:pt x="477" y="190"/>
                </a:lnTo>
                <a:lnTo>
                  <a:pt x="481" y="187"/>
                </a:lnTo>
                <a:lnTo>
                  <a:pt x="484" y="187"/>
                </a:lnTo>
                <a:lnTo>
                  <a:pt x="488" y="187"/>
                </a:lnTo>
                <a:lnTo>
                  <a:pt x="488" y="187"/>
                </a:lnTo>
                <a:lnTo>
                  <a:pt x="489" y="190"/>
                </a:lnTo>
                <a:lnTo>
                  <a:pt x="489" y="190"/>
                </a:lnTo>
                <a:lnTo>
                  <a:pt x="494" y="190"/>
                </a:lnTo>
                <a:lnTo>
                  <a:pt x="498" y="190"/>
                </a:lnTo>
                <a:lnTo>
                  <a:pt x="498" y="190"/>
                </a:lnTo>
                <a:lnTo>
                  <a:pt x="499" y="189"/>
                </a:lnTo>
                <a:lnTo>
                  <a:pt x="502" y="187"/>
                </a:lnTo>
                <a:lnTo>
                  <a:pt x="512" y="187"/>
                </a:lnTo>
                <a:lnTo>
                  <a:pt x="512" y="187"/>
                </a:lnTo>
                <a:lnTo>
                  <a:pt x="521" y="187"/>
                </a:lnTo>
                <a:lnTo>
                  <a:pt x="521" y="187"/>
                </a:lnTo>
                <a:lnTo>
                  <a:pt x="525" y="186"/>
                </a:lnTo>
                <a:lnTo>
                  <a:pt x="528" y="184"/>
                </a:lnTo>
                <a:lnTo>
                  <a:pt x="528" y="184"/>
                </a:lnTo>
                <a:lnTo>
                  <a:pt x="524" y="181"/>
                </a:lnTo>
                <a:lnTo>
                  <a:pt x="522" y="179"/>
                </a:lnTo>
                <a:lnTo>
                  <a:pt x="524" y="176"/>
                </a:lnTo>
                <a:lnTo>
                  <a:pt x="525" y="174"/>
                </a:lnTo>
                <a:lnTo>
                  <a:pt x="525" y="174"/>
                </a:lnTo>
                <a:lnTo>
                  <a:pt x="522" y="173"/>
                </a:lnTo>
                <a:lnTo>
                  <a:pt x="521" y="170"/>
                </a:lnTo>
                <a:lnTo>
                  <a:pt x="522" y="169"/>
                </a:lnTo>
                <a:lnTo>
                  <a:pt x="524" y="167"/>
                </a:lnTo>
                <a:lnTo>
                  <a:pt x="524" y="167"/>
                </a:lnTo>
                <a:lnTo>
                  <a:pt x="515" y="163"/>
                </a:lnTo>
                <a:lnTo>
                  <a:pt x="511" y="159"/>
                </a:lnTo>
                <a:lnTo>
                  <a:pt x="511" y="159"/>
                </a:lnTo>
                <a:lnTo>
                  <a:pt x="507" y="154"/>
                </a:lnTo>
                <a:lnTo>
                  <a:pt x="504" y="151"/>
                </a:lnTo>
                <a:lnTo>
                  <a:pt x="501" y="150"/>
                </a:lnTo>
                <a:lnTo>
                  <a:pt x="501" y="150"/>
                </a:lnTo>
                <a:lnTo>
                  <a:pt x="502" y="150"/>
                </a:lnTo>
                <a:lnTo>
                  <a:pt x="502" y="149"/>
                </a:lnTo>
                <a:lnTo>
                  <a:pt x="501" y="147"/>
                </a:lnTo>
                <a:lnTo>
                  <a:pt x="501" y="147"/>
                </a:lnTo>
                <a:lnTo>
                  <a:pt x="499" y="147"/>
                </a:lnTo>
                <a:lnTo>
                  <a:pt x="498" y="149"/>
                </a:lnTo>
                <a:lnTo>
                  <a:pt x="497" y="149"/>
                </a:lnTo>
                <a:lnTo>
                  <a:pt x="495" y="147"/>
                </a:lnTo>
                <a:lnTo>
                  <a:pt x="495" y="147"/>
                </a:lnTo>
                <a:lnTo>
                  <a:pt x="494" y="146"/>
                </a:lnTo>
                <a:lnTo>
                  <a:pt x="494" y="146"/>
                </a:lnTo>
                <a:lnTo>
                  <a:pt x="495" y="144"/>
                </a:lnTo>
                <a:lnTo>
                  <a:pt x="495" y="144"/>
                </a:lnTo>
                <a:lnTo>
                  <a:pt x="489" y="142"/>
                </a:lnTo>
                <a:lnTo>
                  <a:pt x="485" y="140"/>
                </a:lnTo>
                <a:lnTo>
                  <a:pt x="478" y="142"/>
                </a:lnTo>
                <a:lnTo>
                  <a:pt x="478" y="142"/>
                </a:lnTo>
                <a:lnTo>
                  <a:pt x="472" y="143"/>
                </a:lnTo>
                <a:lnTo>
                  <a:pt x="468" y="144"/>
                </a:lnTo>
                <a:lnTo>
                  <a:pt x="465" y="143"/>
                </a:lnTo>
                <a:lnTo>
                  <a:pt x="465" y="143"/>
                </a:lnTo>
                <a:lnTo>
                  <a:pt x="465" y="139"/>
                </a:lnTo>
                <a:lnTo>
                  <a:pt x="468" y="134"/>
                </a:lnTo>
                <a:lnTo>
                  <a:pt x="471" y="132"/>
                </a:lnTo>
                <a:lnTo>
                  <a:pt x="475" y="130"/>
                </a:lnTo>
                <a:lnTo>
                  <a:pt x="475" y="130"/>
                </a:lnTo>
                <a:lnTo>
                  <a:pt x="484" y="126"/>
                </a:lnTo>
                <a:lnTo>
                  <a:pt x="484" y="126"/>
                </a:lnTo>
                <a:lnTo>
                  <a:pt x="487" y="123"/>
                </a:lnTo>
                <a:lnTo>
                  <a:pt x="488" y="120"/>
                </a:lnTo>
                <a:lnTo>
                  <a:pt x="488" y="120"/>
                </a:lnTo>
                <a:lnTo>
                  <a:pt x="494" y="123"/>
                </a:lnTo>
                <a:lnTo>
                  <a:pt x="494" y="123"/>
                </a:lnTo>
                <a:lnTo>
                  <a:pt x="497" y="120"/>
                </a:lnTo>
                <a:lnTo>
                  <a:pt x="497" y="117"/>
                </a:lnTo>
                <a:lnTo>
                  <a:pt x="492" y="110"/>
                </a:lnTo>
                <a:lnTo>
                  <a:pt x="492" y="110"/>
                </a:lnTo>
                <a:lnTo>
                  <a:pt x="488" y="103"/>
                </a:lnTo>
                <a:lnTo>
                  <a:pt x="488" y="99"/>
                </a:lnTo>
                <a:lnTo>
                  <a:pt x="489" y="97"/>
                </a:lnTo>
                <a:lnTo>
                  <a:pt x="489" y="97"/>
                </a:lnTo>
                <a:lnTo>
                  <a:pt x="487" y="90"/>
                </a:lnTo>
                <a:lnTo>
                  <a:pt x="485" y="83"/>
                </a:lnTo>
                <a:lnTo>
                  <a:pt x="485" y="83"/>
                </a:lnTo>
                <a:lnTo>
                  <a:pt x="484" y="76"/>
                </a:lnTo>
                <a:lnTo>
                  <a:pt x="485" y="69"/>
                </a:lnTo>
                <a:lnTo>
                  <a:pt x="485" y="69"/>
                </a:lnTo>
                <a:lnTo>
                  <a:pt x="484" y="67"/>
                </a:lnTo>
                <a:lnTo>
                  <a:pt x="484" y="64"/>
                </a:lnTo>
                <a:lnTo>
                  <a:pt x="484" y="60"/>
                </a:lnTo>
                <a:lnTo>
                  <a:pt x="481" y="57"/>
                </a:lnTo>
                <a:lnTo>
                  <a:pt x="481" y="57"/>
                </a:lnTo>
                <a:lnTo>
                  <a:pt x="484" y="53"/>
                </a:lnTo>
                <a:lnTo>
                  <a:pt x="482" y="49"/>
                </a:lnTo>
                <a:lnTo>
                  <a:pt x="478" y="44"/>
                </a:lnTo>
                <a:lnTo>
                  <a:pt x="474" y="42"/>
                </a:lnTo>
                <a:lnTo>
                  <a:pt x="474" y="42"/>
                </a:lnTo>
                <a:lnTo>
                  <a:pt x="461" y="36"/>
                </a:lnTo>
                <a:lnTo>
                  <a:pt x="455" y="33"/>
                </a:lnTo>
                <a:lnTo>
                  <a:pt x="452" y="29"/>
                </a:lnTo>
                <a:lnTo>
                  <a:pt x="452" y="29"/>
                </a:lnTo>
                <a:lnTo>
                  <a:pt x="442" y="29"/>
                </a:lnTo>
                <a:lnTo>
                  <a:pt x="437" y="27"/>
                </a:lnTo>
                <a:lnTo>
                  <a:pt x="431" y="26"/>
                </a:lnTo>
                <a:lnTo>
                  <a:pt x="431" y="26"/>
                </a:lnTo>
                <a:lnTo>
                  <a:pt x="432" y="23"/>
                </a:lnTo>
                <a:lnTo>
                  <a:pt x="432" y="22"/>
                </a:lnTo>
                <a:lnTo>
                  <a:pt x="428" y="22"/>
                </a:lnTo>
                <a:lnTo>
                  <a:pt x="431" y="17"/>
                </a:lnTo>
                <a:lnTo>
                  <a:pt x="431" y="17"/>
                </a:lnTo>
                <a:lnTo>
                  <a:pt x="427" y="14"/>
                </a:lnTo>
                <a:lnTo>
                  <a:pt x="424" y="12"/>
                </a:lnTo>
                <a:lnTo>
                  <a:pt x="422" y="9"/>
                </a:lnTo>
                <a:lnTo>
                  <a:pt x="418" y="9"/>
                </a:lnTo>
                <a:lnTo>
                  <a:pt x="418" y="9"/>
                </a:lnTo>
                <a:lnTo>
                  <a:pt x="417" y="13"/>
                </a:lnTo>
                <a:lnTo>
                  <a:pt x="414" y="16"/>
                </a:lnTo>
                <a:lnTo>
                  <a:pt x="411" y="19"/>
                </a:lnTo>
                <a:lnTo>
                  <a:pt x="408" y="22"/>
                </a:lnTo>
                <a:lnTo>
                  <a:pt x="408" y="22"/>
                </a:lnTo>
                <a:lnTo>
                  <a:pt x="404" y="23"/>
                </a:lnTo>
                <a:lnTo>
                  <a:pt x="404" y="23"/>
                </a:lnTo>
                <a:lnTo>
                  <a:pt x="400" y="23"/>
                </a:lnTo>
                <a:lnTo>
                  <a:pt x="400" y="23"/>
                </a:lnTo>
                <a:lnTo>
                  <a:pt x="390" y="22"/>
                </a:lnTo>
                <a:lnTo>
                  <a:pt x="390" y="22"/>
                </a:lnTo>
                <a:lnTo>
                  <a:pt x="390" y="20"/>
                </a:lnTo>
                <a:lnTo>
                  <a:pt x="388" y="19"/>
                </a:lnTo>
                <a:lnTo>
                  <a:pt x="388" y="19"/>
                </a:lnTo>
                <a:lnTo>
                  <a:pt x="388" y="17"/>
                </a:lnTo>
                <a:lnTo>
                  <a:pt x="388" y="17"/>
                </a:lnTo>
                <a:lnTo>
                  <a:pt x="385" y="14"/>
                </a:lnTo>
                <a:lnTo>
                  <a:pt x="382" y="16"/>
                </a:lnTo>
                <a:lnTo>
                  <a:pt x="380" y="17"/>
                </a:lnTo>
                <a:lnTo>
                  <a:pt x="377" y="16"/>
                </a:lnTo>
                <a:lnTo>
                  <a:pt x="377" y="16"/>
                </a:lnTo>
                <a:lnTo>
                  <a:pt x="380" y="14"/>
                </a:lnTo>
                <a:lnTo>
                  <a:pt x="382" y="14"/>
                </a:lnTo>
                <a:lnTo>
                  <a:pt x="390" y="14"/>
                </a:lnTo>
                <a:lnTo>
                  <a:pt x="395" y="14"/>
                </a:lnTo>
                <a:lnTo>
                  <a:pt x="401" y="13"/>
                </a:lnTo>
                <a:lnTo>
                  <a:pt x="401" y="13"/>
                </a:lnTo>
                <a:lnTo>
                  <a:pt x="400" y="12"/>
                </a:lnTo>
                <a:lnTo>
                  <a:pt x="398" y="10"/>
                </a:lnTo>
                <a:lnTo>
                  <a:pt x="397" y="9"/>
                </a:lnTo>
                <a:lnTo>
                  <a:pt x="395" y="7"/>
                </a:lnTo>
                <a:lnTo>
                  <a:pt x="395" y="7"/>
                </a:lnTo>
                <a:lnTo>
                  <a:pt x="395" y="9"/>
                </a:lnTo>
                <a:lnTo>
                  <a:pt x="394" y="12"/>
                </a:lnTo>
                <a:lnTo>
                  <a:pt x="394" y="12"/>
                </a:lnTo>
                <a:lnTo>
                  <a:pt x="392" y="10"/>
                </a:lnTo>
                <a:lnTo>
                  <a:pt x="391" y="10"/>
                </a:lnTo>
                <a:lnTo>
                  <a:pt x="388" y="9"/>
                </a:lnTo>
                <a:lnTo>
                  <a:pt x="385" y="9"/>
                </a:lnTo>
                <a:lnTo>
                  <a:pt x="385" y="9"/>
                </a:lnTo>
                <a:lnTo>
                  <a:pt x="382" y="10"/>
                </a:lnTo>
                <a:lnTo>
                  <a:pt x="381" y="12"/>
                </a:lnTo>
                <a:lnTo>
                  <a:pt x="378" y="12"/>
                </a:lnTo>
                <a:lnTo>
                  <a:pt x="375" y="13"/>
                </a:lnTo>
                <a:lnTo>
                  <a:pt x="375" y="13"/>
                </a:lnTo>
                <a:lnTo>
                  <a:pt x="377" y="16"/>
                </a:lnTo>
                <a:lnTo>
                  <a:pt x="375" y="19"/>
                </a:lnTo>
                <a:lnTo>
                  <a:pt x="374" y="22"/>
                </a:lnTo>
                <a:lnTo>
                  <a:pt x="371" y="22"/>
                </a:lnTo>
                <a:lnTo>
                  <a:pt x="371" y="22"/>
                </a:lnTo>
                <a:lnTo>
                  <a:pt x="372" y="19"/>
                </a:lnTo>
                <a:lnTo>
                  <a:pt x="371" y="19"/>
                </a:lnTo>
                <a:lnTo>
                  <a:pt x="370" y="17"/>
                </a:lnTo>
                <a:lnTo>
                  <a:pt x="368" y="17"/>
                </a:lnTo>
                <a:lnTo>
                  <a:pt x="368" y="14"/>
                </a:lnTo>
                <a:lnTo>
                  <a:pt x="368" y="14"/>
                </a:lnTo>
                <a:lnTo>
                  <a:pt x="358" y="23"/>
                </a:lnTo>
                <a:lnTo>
                  <a:pt x="355" y="26"/>
                </a:lnTo>
                <a:lnTo>
                  <a:pt x="352" y="29"/>
                </a:lnTo>
                <a:lnTo>
                  <a:pt x="352" y="29"/>
                </a:lnTo>
                <a:lnTo>
                  <a:pt x="352" y="26"/>
                </a:lnTo>
                <a:lnTo>
                  <a:pt x="351" y="22"/>
                </a:lnTo>
                <a:lnTo>
                  <a:pt x="350" y="19"/>
                </a:lnTo>
                <a:lnTo>
                  <a:pt x="345" y="16"/>
                </a:lnTo>
                <a:lnTo>
                  <a:pt x="345" y="16"/>
                </a:lnTo>
                <a:lnTo>
                  <a:pt x="344" y="17"/>
                </a:lnTo>
                <a:lnTo>
                  <a:pt x="342" y="17"/>
                </a:lnTo>
                <a:lnTo>
                  <a:pt x="340" y="16"/>
                </a:lnTo>
                <a:lnTo>
                  <a:pt x="340" y="16"/>
                </a:lnTo>
                <a:lnTo>
                  <a:pt x="335" y="20"/>
                </a:lnTo>
                <a:lnTo>
                  <a:pt x="330" y="23"/>
                </a:lnTo>
                <a:lnTo>
                  <a:pt x="318" y="29"/>
                </a:lnTo>
                <a:lnTo>
                  <a:pt x="318" y="29"/>
                </a:lnTo>
                <a:lnTo>
                  <a:pt x="308" y="34"/>
                </a:lnTo>
                <a:lnTo>
                  <a:pt x="303" y="39"/>
                </a:lnTo>
                <a:lnTo>
                  <a:pt x="298" y="44"/>
                </a:lnTo>
                <a:lnTo>
                  <a:pt x="298" y="44"/>
                </a:lnTo>
                <a:lnTo>
                  <a:pt x="297" y="40"/>
                </a:lnTo>
                <a:lnTo>
                  <a:pt x="297" y="37"/>
                </a:lnTo>
                <a:lnTo>
                  <a:pt x="300" y="30"/>
                </a:lnTo>
                <a:lnTo>
                  <a:pt x="300" y="30"/>
                </a:lnTo>
                <a:lnTo>
                  <a:pt x="304" y="22"/>
                </a:lnTo>
                <a:lnTo>
                  <a:pt x="304" y="22"/>
                </a:lnTo>
                <a:lnTo>
                  <a:pt x="305" y="17"/>
                </a:lnTo>
                <a:lnTo>
                  <a:pt x="305" y="17"/>
                </a:lnTo>
                <a:lnTo>
                  <a:pt x="308" y="13"/>
                </a:lnTo>
                <a:lnTo>
                  <a:pt x="308" y="13"/>
                </a:lnTo>
                <a:lnTo>
                  <a:pt x="304" y="6"/>
                </a:lnTo>
                <a:lnTo>
                  <a:pt x="301" y="3"/>
                </a:lnTo>
                <a:lnTo>
                  <a:pt x="297" y="0"/>
                </a:lnTo>
                <a:lnTo>
                  <a:pt x="297" y="0"/>
                </a:lnTo>
                <a:lnTo>
                  <a:pt x="294" y="4"/>
                </a:lnTo>
                <a:lnTo>
                  <a:pt x="290" y="10"/>
                </a:lnTo>
                <a:lnTo>
                  <a:pt x="290" y="10"/>
                </a:lnTo>
                <a:lnTo>
                  <a:pt x="281" y="20"/>
                </a:lnTo>
                <a:lnTo>
                  <a:pt x="281" y="20"/>
                </a:lnTo>
                <a:lnTo>
                  <a:pt x="277" y="24"/>
                </a:lnTo>
                <a:lnTo>
                  <a:pt x="274" y="32"/>
                </a:lnTo>
                <a:lnTo>
                  <a:pt x="274" y="32"/>
                </a:lnTo>
                <a:lnTo>
                  <a:pt x="271" y="37"/>
                </a:lnTo>
                <a:lnTo>
                  <a:pt x="271" y="44"/>
                </a:lnTo>
                <a:lnTo>
                  <a:pt x="271" y="44"/>
                </a:lnTo>
                <a:lnTo>
                  <a:pt x="267" y="47"/>
                </a:lnTo>
                <a:lnTo>
                  <a:pt x="264" y="52"/>
                </a:lnTo>
                <a:lnTo>
                  <a:pt x="264" y="52"/>
                </a:lnTo>
                <a:lnTo>
                  <a:pt x="261" y="57"/>
                </a:lnTo>
                <a:lnTo>
                  <a:pt x="261" y="57"/>
                </a:lnTo>
                <a:lnTo>
                  <a:pt x="260" y="63"/>
                </a:lnTo>
                <a:lnTo>
                  <a:pt x="260" y="63"/>
                </a:lnTo>
                <a:lnTo>
                  <a:pt x="257" y="77"/>
                </a:lnTo>
                <a:lnTo>
                  <a:pt x="257" y="77"/>
                </a:lnTo>
                <a:lnTo>
                  <a:pt x="255" y="84"/>
                </a:lnTo>
                <a:lnTo>
                  <a:pt x="255" y="84"/>
                </a:lnTo>
                <a:lnTo>
                  <a:pt x="253" y="90"/>
                </a:lnTo>
                <a:lnTo>
                  <a:pt x="253" y="90"/>
                </a:lnTo>
                <a:lnTo>
                  <a:pt x="250" y="96"/>
                </a:lnTo>
                <a:lnTo>
                  <a:pt x="248" y="103"/>
                </a:lnTo>
                <a:lnTo>
                  <a:pt x="248" y="110"/>
                </a:lnTo>
                <a:lnTo>
                  <a:pt x="250" y="114"/>
                </a:lnTo>
                <a:lnTo>
                  <a:pt x="253" y="117"/>
                </a:lnTo>
                <a:lnTo>
                  <a:pt x="253" y="117"/>
                </a:lnTo>
                <a:lnTo>
                  <a:pt x="248" y="132"/>
                </a:lnTo>
                <a:lnTo>
                  <a:pt x="244" y="147"/>
                </a:lnTo>
                <a:lnTo>
                  <a:pt x="238" y="181"/>
                </a:lnTo>
                <a:lnTo>
                  <a:pt x="238" y="181"/>
                </a:lnTo>
                <a:lnTo>
                  <a:pt x="237" y="181"/>
                </a:lnTo>
                <a:lnTo>
                  <a:pt x="234" y="180"/>
                </a:lnTo>
                <a:lnTo>
                  <a:pt x="233" y="180"/>
                </a:lnTo>
                <a:lnTo>
                  <a:pt x="233" y="181"/>
                </a:lnTo>
                <a:lnTo>
                  <a:pt x="233" y="181"/>
                </a:lnTo>
                <a:lnTo>
                  <a:pt x="234" y="186"/>
                </a:lnTo>
                <a:lnTo>
                  <a:pt x="236" y="190"/>
                </a:lnTo>
                <a:lnTo>
                  <a:pt x="234" y="199"/>
                </a:lnTo>
                <a:lnTo>
                  <a:pt x="234" y="199"/>
                </a:lnTo>
                <a:lnTo>
                  <a:pt x="234" y="207"/>
                </a:lnTo>
                <a:lnTo>
                  <a:pt x="234" y="210"/>
                </a:lnTo>
                <a:lnTo>
                  <a:pt x="234" y="214"/>
                </a:lnTo>
                <a:lnTo>
                  <a:pt x="234" y="214"/>
                </a:lnTo>
                <a:lnTo>
                  <a:pt x="238" y="197"/>
                </a:lnTo>
                <a:lnTo>
                  <a:pt x="238" y="197"/>
                </a:lnTo>
                <a:lnTo>
                  <a:pt x="244" y="181"/>
                </a:lnTo>
                <a:lnTo>
                  <a:pt x="244" y="181"/>
                </a:lnTo>
                <a:lnTo>
                  <a:pt x="254" y="149"/>
                </a:lnTo>
                <a:lnTo>
                  <a:pt x="254" y="149"/>
                </a:lnTo>
                <a:lnTo>
                  <a:pt x="257" y="149"/>
                </a:lnTo>
                <a:lnTo>
                  <a:pt x="260" y="147"/>
                </a:lnTo>
                <a:lnTo>
                  <a:pt x="260" y="147"/>
                </a:lnTo>
                <a:lnTo>
                  <a:pt x="258" y="153"/>
                </a:lnTo>
                <a:lnTo>
                  <a:pt x="258" y="159"/>
                </a:lnTo>
                <a:lnTo>
                  <a:pt x="261" y="170"/>
                </a:lnTo>
                <a:lnTo>
                  <a:pt x="261" y="170"/>
                </a:lnTo>
                <a:lnTo>
                  <a:pt x="263" y="179"/>
                </a:lnTo>
                <a:lnTo>
                  <a:pt x="263" y="180"/>
                </a:lnTo>
                <a:lnTo>
                  <a:pt x="260" y="180"/>
                </a:lnTo>
                <a:lnTo>
                  <a:pt x="260" y="180"/>
                </a:lnTo>
                <a:lnTo>
                  <a:pt x="258" y="181"/>
                </a:lnTo>
                <a:lnTo>
                  <a:pt x="257" y="184"/>
                </a:lnTo>
                <a:lnTo>
                  <a:pt x="254" y="187"/>
                </a:lnTo>
                <a:lnTo>
                  <a:pt x="253" y="191"/>
                </a:lnTo>
                <a:lnTo>
                  <a:pt x="253" y="191"/>
                </a:lnTo>
                <a:lnTo>
                  <a:pt x="257" y="193"/>
                </a:lnTo>
                <a:lnTo>
                  <a:pt x="258" y="196"/>
                </a:lnTo>
                <a:lnTo>
                  <a:pt x="258" y="199"/>
                </a:lnTo>
                <a:lnTo>
                  <a:pt x="257" y="201"/>
                </a:lnTo>
                <a:lnTo>
                  <a:pt x="257" y="201"/>
                </a:lnTo>
                <a:lnTo>
                  <a:pt x="253" y="207"/>
                </a:lnTo>
                <a:lnTo>
                  <a:pt x="251" y="210"/>
                </a:lnTo>
                <a:lnTo>
                  <a:pt x="251" y="214"/>
                </a:lnTo>
                <a:lnTo>
                  <a:pt x="251" y="214"/>
                </a:lnTo>
                <a:lnTo>
                  <a:pt x="253" y="214"/>
                </a:lnTo>
                <a:lnTo>
                  <a:pt x="253" y="217"/>
                </a:lnTo>
                <a:lnTo>
                  <a:pt x="254" y="219"/>
                </a:lnTo>
                <a:lnTo>
                  <a:pt x="257" y="219"/>
                </a:lnTo>
                <a:lnTo>
                  <a:pt x="257" y="219"/>
                </a:lnTo>
                <a:lnTo>
                  <a:pt x="260" y="219"/>
                </a:lnTo>
                <a:lnTo>
                  <a:pt x="261" y="217"/>
                </a:lnTo>
                <a:lnTo>
                  <a:pt x="264" y="216"/>
                </a:lnTo>
                <a:lnTo>
                  <a:pt x="267" y="216"/>
                </a:lnTo>
                <a:lnTo>
                  <a:pt x="267" y="216"/>
                </a:lnTo>
                <a:lnTo>
                  <a:pt x="270" y="219"/>
                </a:lnTo>
                <a:lnTo>
                  <a:pt x="271" y="223"/>
                </a:lnTo>
                <a:lnTo>
                  <a:pt x="271" y="226"/>
                </a:lnTo>
                <a:lnTo>
                  <a:pt x="270" y="229"/>
                </a:lnTo>
                <a:lnTo>
                  <a:pt x="270" y="229"/>
                </a:lnTo>
                <a:lnTo>
                  <a:pt x="268" y="236"/>
                </a:lnTo>
                <a:lnTo>
                  <a:pt x="267" y="244"/>
                </a:lnTo>
                <a:lnTo>
                  <a:pt x="267" y="244"/>
                </a:lnTo>
                <a:lnTo>
                  <a:pt x="264" y="246"/>
                </a:lnTo>
                <a:lnTo>
                  <a:pt x="263" y="244"/>
                </a:lnTo>
                <a:lnTo>
                  <a:pt x="263" y="244"/>
                </a:lnTo>
                <a:lnTo>
                  <a:pt x="264" y="251"/>
                </a:lnTo>
                <a:lnTo>
                  <a:pt x="263" y="254"/>
                </a:lnTo>
                <a:lnTo>
                  <a:pt x="260" y="256"/>
                </a:lnTo>
                <a:lnTo>
                  <a:pt x="258" y="256"/>
                </a:lnTo>
                <a:lnTo>
                  <a:pt x="258" y="256"/>
                </a:lnTo>
                <a:lnTo>
                  <a:pt x="257" y="251"/>
                </a:lnTo>
                <a:lnTo>
                  <a:pt x="258" y="251"/>
                </a:lnTo>
                <a:lnTo>
                  <a:pt x="258" y="251"/>
                </a:lnTo>
                <a:lnTo>
                  <a:pt x="260" y="249"/>
                </a:lnTo>
                <a:lnTo>
                  <a:pt x="260" y="249"/>
                </a:lnTo>
                <a:lnTo>
                  <a:pt x="257" y="247"/>
                </a:lnTo>
                <a:lnTo>
                  <a:pt x="254" y="247"/>
                </a:lnTo>
                <a:lnTo>
                  <a:pt x="251" y="250"/>
                </a:lnTo>
                <a:lnTo>
                  <a:pt x="248" y="251"/>
                </a:lnTo>
                <a:lnTo>
                  <a:pt x="248" y="251"/>
                </a:lnTo>
                <a:lnTo>
                  <a:pt x="245" y="249"/>
                </a:lnTo>
                <a:lnTo>
                  <a:pt x="243" y="247"/>
                </a:lnTo>
                <a:lnTo>
                  <a:pt x="238" y="244"/>
                </a:lnTo>
                <a:lnTo>
                  <a:pt x="237" y="241"/>
                </a:lnTo>
                <a:lnTo>
                  <a:pt x="237" y="241"/>
                </a:lnTo>
                <a:lnTo>
                  <a:pt x="236" y="244"/>
                </a:lnTo>
                <a:lnTo>
                  <a:pt x="233" y="246"/>
                </a:lnTo>
                <a:lnTo>
                  <a:pt x="233" y="246"/>
                </a:lnTo>
                <a:lnTo>
                  <a:pt x="231" y="244"/>
                </a:lnTo>
                <a:lnTo>
                  <a:pt x="230" y="243"/>
                </a:lnTo>
                <a:lnTo>
                  <a:pt x="228" y="241"/>
                </a:lnTo>
                <a:lnTo>
                  <a:pt x="226" y="240"/>
                </a:lnTo>
                <a:lnTo>
                  <a:pt x="226" y="240"/>
                </a:lnTo>
                <a:lnTo>
                  <a:pt x="227" y="244"/>
                </a:lnTo>
                <a:lnTo>
                  <a:pt x="226" y="249"/>
                </a:lnTo>
                <a:lnTo>
                  <a:pt x="226" y="249"/>
                </a:lnTo>
                <a:lnTo>
                  <a:pt x="224" y="253"/>
                </a:lnTo>
                <a:lnTo>
                  <a:pt x="221" y="257"/>
                </a:lnTo>
                <a:lnTo>
                  <a:pt x="221" y="257"/>
                </a:lnTo>
                <a:lnTo>
                  <a:pt x="224" y="259"/>
                </a:lnTo>
                <a:lnTo>
                  <a:pt x="226" y="260"/>
                </a:lnTo>
                <a:lnTo>
                  <a:pt x="227" y="263"/>
                </a:lnTo>
                <a:lnTo>
                  <a:pt x="226" y="266"/>
                </a:lnTo>
                <a:lnTo>
                  <a:pt x="226" y="269"/>
                </a:lnTo>
                <a:lnTo>
                  <a:pt x="226" y="269"/>
                </a:lnTo>
                <a:lnTo>
                  <a:pt x="223" y="267"/>
                </a:lnTo>
                <a:lnTo>
                  <a:pt x="221" y="264"/>
                </a:lnTo>
                <a:lnTo>
                  <a:pt x="221" y="261"/>
                </a:lnTo>
                <a:lnTo>
                  <a:pt x="223" y="259"/>
                </a:lnTo>
                <a:lnTo>
                  <a:pt x="223" y="259"/>
                </a:lnTo>
                <a:lnTo>
                  <a:pt x="220" y="259"/>
                </a:lnTo>
                <a:lnTo>
                  <a:pt x="218" y="257"/>
                </a:lnTo>
                <a:lnTo>
                  <a:pt x="217" y="254"/>
                </a:lnTo>
                <a:lnTo>
                  <a:pt x="217" y="254"/>
                </a:lnTo>
                <a:lnTo>
                  <a:pt x="216" y="254"/>
                </a:lnTo>
                <a:lnTo>
                  <a:pt x="216" y="254"/>
                </a:lnTo>
                <a:lnTo>
                  <a:pt x="216" y="257"/>
                </a:lnTo>
                <a:lnTo>
                  <a:pt x="216" y="260"/>
                </a:lnTo>
                <a:lnTo>
                  <a:pt x="220" y="269"/>
                </a:lnTo>
                <a:lnTo>
                  <a:pt x="220" y="269"/>
                </a:lnTo>
                <a:lnTo>
                  <a:pt x="221" y="273"/>
                </a:lnTo>
                <a:lnTo>
                  <a:pt x="221" y="277"/>
                </a:lnTo>
                <a:lnTo>
                  <a:pt x="221" y="277"/>
                </a:lnTo>
                <a:lnTo>
                  <a:pt x="220" y="280"/>
                </a:lnTo>
                <a:lnTo>
                  <a:pt x="217" y="283"/>
                </a:lnTo>
                <a:lnTo>
                  <a:pt x="217" y="283"/>
                </a:lnTo>
                <a:lnTo>
                  <a:pt x="217" y="274"/>
                </a:lnTo>
                <a:lnTo>
                  <a:pt x="214" y="270"/>
                </a:lnTo>
                <a:lnTo>
                  <a:pt x="214" y="270"/>
                </a:lnTo>
                <a:lnTo>
                  <a:pt x="211" y="264"/>
                </a:lnTo>
                <a:lnTo>
                  <a:pt x="208" y="260"/>
                </a:lnTo>
                <a:lnTo>
                  <a:pt x="208" y="260"/>
                </a:lnTo>
                <a:lnTo>
                  <a:pt x="201" y="259"/>
                </a:lnTo>
                <a:lnTo>
                  <a:pt x="197" y="259"/>
                </a:lnTo>
                <a:lnTo>
                  <a:pt x="194" y="261"/>
                </a:lnTo>
                <a:lnTo>
                  <a:pt x="191" y="264"/>
                </a:lnTo>
                <a:lnTo>
                  <a:pt x="191" y="264"/>
                </a:lnTo>
                <a:lnTo>
                  <a:pt x="188" y="273"/>
                </a:lnTo>
                <a:lnTo>
                  <a:pt x="187" y="276"/>
                </a:lnTo>
                <a:lnTo>
                  <a:pt x="184" y="280"/>
                </a:lnTo>
                <a:lnTo>
                  <a:pt x="184" y="280"/>
                </a:lnTo>
                <a:lnTo>
                  <a:pt x="184" y="290"/>
                </a:lnTo>
                <a:lnTo>
                  <a:pt x="183" y="303"/>
                </a:lnTo>
                <a:lnTo>
                  <a:pt x="183" y="303"/>
                </a:lnTo>
                <a:lnTo>
                  <a:pt x="181" y="313"/>
                </a:lnTo>
                <a:lnTo>
                  <a:pt x="181" y="318"/>
                </a:lnTo>
                <a:lnTo>
                  <a:pt x="183" y="323"/>
                </a:lnTo>
                <a:lnTo>
                  <a:pt x="183" y="323"/>
                </a:lnTo>
                <a:lnTo>
                  <a:pt x="184" y="317"/>
                </a:lnTo>
                <a:lnTo>
                  <a:pt x="184" y="313"/>
                </a:lnTo>
                <a:lnTo>
                  <a:pt x="186" y="308"/>
                </a:lnTo>
                <a:lnTo>
                  <a:pt x="188" y="307"/>
                </a:lnTo>
                <a:lnTo>
                  <a:pt x="190" y="306"/>
                </a:lnTo>
                <a:lnTo>
                  <a:pt x="190" y="306"/>
                </a:lnTo>
                <a:lnTo>
                  <a:pt x="193" y="307"/>
                </a:lnTo>
                <a:lnTo>
                  <a:pt x="193" y="308"/>
                </a:lnTo>
                <a:lnTo>
                  <a:pt x="193" y="311"/>
                </a:lnTo>
                <a:lnTo>
                  <a:pt x="191" y="314"/>
                </a:lnTo>
                <a:lnTo>
                  <a:pt x="193" y="316"/>
                </a:lnTo>
                <a:lnTo>
                  <a:pt x="194" y="316"/>
                </a:lnTo>
                <a:lnTo>
                  <a:pt x="194" y="316"/>
                </a:lnTo>
                <a:lnTo>
                  <a:pt x="194" y="311"/>
                </a:lnTo>
                <a:lnTo>
                  <a:pt x="194" y="308"/>
                </a:lnTo>
                <a:lnTo>
                  <a:pt x="196" y="306"/>
                </a:lnTo>
                <a:lnTo>
                  <a:pt x="198" y="304"/>
                </a:lnTo>
                <a:lnTo>
                  <a:pt x="198" y="304"/>
                </a:lnTo>
                <a:lnTo>
                  <a:pt x="198" y="306"/>
                </a:lnTo>
                <a:lnTo>
                  <a:pt x="200" y="306"/>
                </a:lnTo>
                <a:lnTo>
                  <a:pt x="201" y="307"/>
                </a:lnTo>
                <a:lnTo>
                  <a:pt x="201" y="307"/>
                </a:lnTo>
                <a:lnTo>
                  <a:pt x="200" y="311"/>
                </a:lnTo>
                <a:lnTo>
                  <a:pt x="197" y="316"/>
                </a:lnTo>
                <a:lnTo>
                  <a:pt x="194" y="318"/>
                </a:lnTo>
                <a:lnTo>
                  <a:pt x="191" y="318"/>
                </a:lnTo>
                <a:lnTo>
                  <a:pt x="191" y="318"/>
                </a:lnTo>
                <a:lnTo>
                  <a:pt x="193" y="320"/>
                </a:lnTo>
                <a:lnTo>
                  <a:pt x="191" y="321"/>
                </a:lnTo>
                <a:lnTo>
                  <a:pt x="190" y="323"/>
                </a:lnTo>
                <a:lnTo>
                  <a:pt x="193" y="323"/>
                </a:lnTo>
                <a:lnTo>
                  <a:pt x="193" y="323"/>
                </a:lnTo>
                <a:lnTo>
                  <a:pt x="194" y="321"/>
                </a:lnTo>
                <a:lnTo>
                  <a:pt x="196" y="321"/>
                </a:lnTo>
                <a:lnTo>
                  <a:pt x="200" y="320"/>
                </a:lnTo>
                <a:lnTo>
                  <a:pt x="200" y="320"/>
                </a:lnTo>
                <a:lnTo>
                  <a:pt x="200" y="316"/>
                </a:lnTo>
                <a:lnTo>
                  <a:pt x="201" y="311"/>
                </a:lnTo>
                <a:lnTo>
                  <a:pt x="204" y="308"/>
                </a:lnTo>
                <a:lnTo>
                  <a:pt x="208" y="307"/>
                </a:lnTo>
                <a:lnTo>
                  <a:pt x="208" y="307"/>
                </a:lnTo>
                <a:lnTo>
                  <a:pt x="210" y="311"/>
                </a:lnTo>
                <a:lnTo>
                  <a:pt x="211" y="314"/>
                </a:lnTo>
                <a:lnTo>
                  <a:pt x="213" y="321"/>
                </a:lnTo>
                <a:lnTo>
                  <a:pt x="213" y="321"/>
                </a:lnTo>
                <a:lnTo>
                  <a:pt x="214" y="328"/>
                </a:lnTo>
                <a:lnTo>
                  <a:pt x="216" y="331"/>
                </a:lnTo>
                <a:lnTo>
                  <a:pt x="218" y="334"/>
                </a:lnTo>
                <a:lnTo>
                  <a:pt x="218" y="334"/>
                </a:lnTo>
                <a:lnTo>
                  <a:pt x="216" y="336"/>
                </a:lnTo>
                <a:lnTo>
                  <a:pt x="214" y="340"/>
                </a:lnTo>
                <a:lnTo>
                  <a:pt x="214" y="344"/>
                </a:lnTo>
                <a:lnTo>
                  <a:pt x="216" y="347"/>
                </a:lnTo>
                <a:lnTo>
                  <a:pt x="216" y="347"/>
                </a:lnTo>
                <a:lnTo>
                  <a:pt x="216" y="346"/>
                </a:lnTo>
                <a:lnTo>
                  <a:pt x="217" y="344"/>
                </a:lnTo>
                <a:lnTo>
                  <a:pt x="221" y="344"/>
                </a:lnTo>
                <a:lnTo>
                  <a:pt x="221" y="344"/>
                </a:lnTo>
                <a:lnTo>
                  <a:pt x="218" y="358"/>
                </a:lnTo>
                <a:lnTo>
                  <a:pt x="217" y="370"/>
                </a:lnTo>
                <a:lnTo>
                  <a:pt x="217" y="370"/>
                </a:lnTo>
                <a:lnTo>
                  <a:pt x="217" y="383"/>
                </a:lnTo>
                <a:lnTo>
                  <a:pt x="217" y="383"/>
                </a:lnTo>
                <a:lnTo>
                  <a:pt x="218" y="396"/>
                </a:lnTo>
                <a:lnTo>
                  <a:pt x="218" y="396"/>
                </a:lnTo>
                <a:lnTo>
                  <a:pt x="216" y="393"/>
                </a:lnTo>
                <a:lnTo>
                  <a:pt x="214" y="390"/>
                </a:lnTo>
                <a:lnTo>
                  <a:pt x="213" y="386"/>
                </a:lnTo>
                <a:lnTo>
                  <a:pt x="211" y="381"/>
                </a:lnTo>
                <a:lnTo>
                  <a:pt x="211" y="381"/>
                </a:lnTo>
                <a:lnTo>
                  <a:pt x="208" y="387"/>
                </a:lnTo>
                <a:lnTo>
                  <a:pt x="207" y="390"/>
                </a:lnTo>
                <a:lnTo>
                  <a:pt x="206" y="391"/>
                </a:lnTo>
                <a:lnTo>
                  <a:pt x="206" y="391"/>
                </a:lnTo>
                <a:lnTo>
                  <a:pt x="200" y="386"/>
                </a:lnTo>
                <a:lnTo>
                  <a:pt x="196" y="384"/>
                </a:lnTo>
                <a:lnTo>
                  <a:pt x="193" y="384"/>
                </a:lnTo>
                <a:lnTo>
                  <a:pt x="193" y="384"/>
                </a:lnTo>
                <a:lnTo>
                  <a:pt x="190" y="378"/>
                </a:lnTo>
                <a:lnTo>
                  <a:pt x="188" y="374"/>
                </a:lnTo>
                <a:lnTo>
                  <a:pt x="187" y="368"/>
                </a:lnTo>
                <a:lnTo>
                  <a:pt x="187" y="363"/>
                </a:lnTo>
                <a:lnTo>
                  <a:pt x="187" y="363"/>
                </a:lnTo>
                <a:lnTo>
                  <a:pt x="184" y="366"/>
                </a:lnTo>
                <a:lnTo>
                  <a:pt x="184" y="370"/>
                </a:lnTo>
                <a:lnTo>
                  <a:pt x="187" y="377"/>
                </a:lnTo>
                <a:lnTo>
                  <a:pt x="187" y="377"/>
                </a:lnTo>
                <a:lnTo>
                  <a:pt x="186" y="378"/>
                </a:lnTo>
                <a:lnTo>
                  <a:pt x="184" y="380"/>
                </a:lnTo>
                <a:lnTo>
                  <a:pt x="184" y="380"/>
                </a:lnTo>
                <a:lnTo>
                  <a:pt x="177" y="377"/>
                </a:lnTo>
                <a:lnTo>
                  <a:pt x="171" y="377"/>
                </a:lnTo>
                <a:lnTo>
                  <a:pt x="164" y="378"/>
                </a:lnTo>
                <a:lnTo>
                  <a:pt x="156" y="381"/>
                </a:lnTo>
                <a:lnTo>
                  <a:pt x="156" y="381"/>
                </a:lnTo>
                <a:lnTo>
                  <a:pt x="153" y="370"/>
                </a:lnTo>
                <a:lnTo>
                  <a:pt x="153" y="370"/>
                </a:lnTo>
                <a:lnTo>
                  <a:pt x="151" y="358"/>
                </a:lnTo>
                <a:lnTo>
                  <a:pt x="151" y="358"/>
                </a:lnTo>
                <a:lnTo>
                  <a:pt x="151" y="347"/>
                </a:lnTo>
                <a:lnTo>
                  <a:pt x="153" y="336"/>
                </a:lnTo>
                <a:lnTo>
                  <a:pt x="153" y="336"/>
                </a:lnTo>
                <a:lnTo>
                  <a:pt x="156" y="313"/>
                </a:lnTo>
                <a:lnTo>
                  <a:pt x="156" y="313"/>
                </a:lnTo>
                <a:lnTo>
                  <a:pt x="154" y="301"/>
                </a:lnTo>
                <a:lnTo>
                  <a:pt x="154" y="301"/>
                </a:lnTo>
                <a:lnTo>
                  <a:pt x="153" y="290"/>
                </a:lnTo>
                <a:lnTo>
                  <a:pt x="153" y="290"/>
                </a:lnTo>
                <a:lnTo>
                  <a:pt x="156" y="281"/>
                </a:lnTo>
                <a:lnTo>
                  <a:pt x="158" y="271"/>
                </a:lnTo>
                <a:lnTo>
                  <a:pt x="158" y="271"/>
                </a:lnTo>
                <a:lnTo>
                  <a:pt x="161" y="261"/>
                </a:lnTo>
                <a:lnTo>
                  <a:pt x="163" y="256"/>
                </a:lnTo>
                <a:lnTo>
                  <a:pt x="163" y="250"/>
                </a:lnTo>
                <a:lnTo>
                  <a:pt x="163" y="250"/>
                </a:lnTo>
                <a:lnTo>
                  <a:pt x="166" y="250"/>
                </a:lnTo>
                <a:lnTo>
                  <a:pt x="167" y="249"/>
                </a:lnTo>
                <a:lnTo>
                  <a:pt x="168" y="249"/>
                </a:lnTo>
                <a:lnTo>
                  <a:pt x="171" y="249"/>
                </a:lnTo>
                <a:lnTo>
                  <a:pt x="171" y="249"/>
                </a:lnTo>
                <a:lnTo>
                  <a:pt x="170" y="243"/>
                </a:lnTo>
                <a:lnTo>
                  <a:pt x="170" y="243"/>
                </a:lnTo>
                <a:lnTo>
                  <a:pt x="170" y="239"/>
                </a:lnTo>
                <a:lnTo>
                  <a:pt x="170" y="239"/>
                </a:lnTo>
                <a:lnTo>
                  <a:pt x="173" y="230"/>
                </a:lnTo>
                <a:lnTo>
                  <a:pt x="173" y="230"/>
                </a:lnTo>
                <a:lnTo>
                  <a:pt x="177" y="221"/>
                </a:lnTo>
                <a:lnTo>
                  <a:pt x="181" y="214"/>
                </a:lnTo>
                <a:lnTo>
                  <a:pt x="181" y="214"/>
                </a:lnTo>
                <a:lnTo>
                  <a:pt x="178" y="213"/>
                </a:lnTo>
                <a:lnTo>
                  <a:pt x="177" y="211"/>
                </a:lnTo>
                <a:lnTo>
                  <a:pt x="180" y="206"/>
                </a:lnTo>
                <a:lnTo>
                  <a:pt x="180" y="206"/>
                </a:lnTo>
                <a:lnTo>
                  <a:pt x="183" y="201"/>
                </a:lnTo>
                <a:lnTo>
                  <a:pt x="183" y="199"/>
                </a:lnTo>
                <a:lnTo>
                  <a:pt x="183" y="196"/>
                </a:lnTo>
                <a:lnTo>
                  <a:pt x="183" y="196"/>
                </a:lnTo>
                <a:lnTo>
                  <a:pt x="186" y="196"/>
                </a:lnTo>
                <a:lnTo>
                  <a:pt x="187" y="197"/>
                </a:lnTo>
                <a:lnTo>
                  <a:pt x="187" y="197"/>
                </a:lnTo>
                <a:lnTo>
                  <a:pt x="186" y="193"/>
                </a:lnTo>
                <a:lnTo>
                  <a:pt x="186" y="189"/>
                </a:lnTo>
                <a:lnTo>
                  <a:pt x="188" y="184"/>
                </a:lnTo>
                <a:lnTo>
                  <a:pt x="191" y="181"/>
                </a:lnTo>
                <a:lnTo>
                  <a:pt x="191" y="181"/>
                </a:lnTo>
                <a:lnTo>
                  <a:pt x="197" y="174"/>
                </a:lnTo>
                <a:lnTo>
                  <a:pt x="198" y="170"/>
                </a:lnTo>
                <a:lnTo>
                  <a:pt x="198" y="166"/>
                </a:lnTo>
                <a:lnTo>
                  <a:pt x="198" y="166"/>
                </a:lnTo>
                <a:lnTo>
                  <a:pt x="198" y="167"/>
                </a:lnTo>
                <a:lnTo>
                  <a:pt x="197" y="167"/>
                </a:lnTo>
                <a:lnTo>
                  <a:pt x="194" y="166"/>
                </a:lnTo>
                <a:lnTo>
                  <a:pt x="193" y="164"/>
                </a:lnTo>
                <a:lnTo>
                  <a:pt x="191" y="164"/>
                </a:lnTo>
                <a:lnTo>
                  <a:pt x="190" y="166"/>
                </a:lnTo>
                <a:lnTo>
                  <a:pt x="190" y="170"/>
                </a:lnTo>
                <a:lnTo>
                  <a:pt x="190" y="170"/>
                </a:lnTo>
                <a:lnTo>
                  <a:pt x="193" y="170"/>
                </a:lnTo>
                <a:lnTo>
                  <a:pt x="194" y="170"/>
                </a:lnTo>
                <a:lnTo>
                  <a:pt x="196" y="169"/>
                </a:lnTo>
                <a:lnTo>
                  <a:pt x="196" y="171"/>
                </a:lnTo>
                <a:lnTo>
                  <a:pt x="196" y="171"/>
                </a:lnTo>
                <a:lnTo>
                  <a:pt x="193" y="170"/>
                </a:lnTo>
                <a:lnTo>
                  <a:pt x="190" y="171"/>
                </a:lnTo>
                <a:lnTo>
                  <a:pt x="186" y="176"/>
                </a:lnTo>
                <a:lnTo>
                  <a:pt x="183" y="180"/>
                </a:lnTo>
                <a:lnTo>
                  <a:pt x="180" y="183"/>
                </a:lnTo>
                <a:lnTo>
                  <a:pt x="177" y="184"/>
                </a:lnTo>
                <a:lnTo>
                  <a:pt x="177" y="184"/>
                </a:lnTo>
                <a:lnTo>
                  <a:pt x="178" y="187"/>
                </a:lnTo>
                <a:lnTo>
                  <a:pt x="180" y="191"/>
                </a:lnTo>
                <a:lnTo>
                  <a:pt x="178" y="197"/>
                </a:lnTo>
                <a:lnTo>
                  <a:pt x="174" y="204"/>
                </a:lnTo>
                <a:lnTo>
                  <a:pt x="171" y="213"/>
                </a:lnTo>
                <a:lnTo>
                  <a:pt x="171" y="213"/>
                </a:lnTo>
                <a:lnTo>
                  <a:pt x="164" y="214"/>
                </a:lnTo>
                <a:lnTo>
                  <a:pt x="163" y="217"/>
                </a:lnTo>
                <a:lnTo>
                  <a:pt x="161" y="219"/>
                </a:lnTo>
                <a:lnTo>
                  <a:pt x="163" y="220"/>
                </a:lnTo>
                <a:lnTo>
                  <a:pt x="163" y="220"/>
                </a:lnTo>
                <a:lnTo>
                  <a:pt x="164" y="217"/>
                </a:lnTo>
                <a:lnTo>
                  <a:pt x="166" y="219"/>
                </a:lnTo>
                <a:lnTo>
                  <a:pt x="171" y="223"/>
                </a:lnTo>
                <a:lnTo>
                  <a:pt x="171" y="223"/>
                </a:lnTo>
                <a:lnTo>
                  <a:pt x="168" y="229"/>
                </a:lnTo>
                <a:lnTo>
                  <a:pt x="167" y="234"/>
                </a:lnTo>
                <a:lnTo>
                  <a:pt x="167" y="234"/>
                </a:lnTo>
                <a:lnTo>
                  <a:pt x="164" y="240"/>
                </a:lnTo>
                <a:lnTo>
                  <a:pt x="161" y="246"/>
                </a:lnTo>
                <a:lnTo>
                  <a:pt x="161" y="246"/>
                </a:lnTo>
                <a:lnTo>
                  <a:pt x="158" y="244"/>
                </a:lnTo>
                <a:lnTo>
                  <a:pt x="157" y="243"/>
                </a:lnTo>
                <a:lnTo>
                  <a:pt x="160" y="237"/>
                </a:lnTo>
                <a:lnTo>
                  <a:pt x="160" y="237"/>
                </a:lnTo>
                <a:lnTo>
                  <a:pt x="154" y="237"/>
                </a:lnTo>
                <a:lnTo>
                  <a:pt x="150" y="236"/>
                </a:lnTo>
                <a:lnTo>
                  <a:pt x="150" y="236"/>
                </a:lnTo>
                <a:lnTo>
                  <a:pt x="148" y="240"/>
                </a:lnTo>
                <a:lnTo>
                  <a:pt x="150" y="243"/>
                </a:lnTo>
                <a:lnTo>
                  <a:pt x="153" y="247"/>
                </a:lnTo>
                <a:lnTo>
                  <a:pt x="153" y="247"/>
                </a:lnTo>
                <a:lnTo>
                  <a:pt x="150" y="247"/>
                </a:lnTo>
                <a:lnTo>
                  <a:pt x="148" y="249"/>
                </a:lnTo>
                <a:lnTo>
                  <a:pt x="147" y="251"/>
                </a:lnTo>
                <a:lnTo>
                  <a:pt x="146" y="256"/>
                </a:lnTo>
                <a:lnTo>
                  <a:pt x="144" y="264"/>
                </a:lnTo>
                <a:lnTo>
                  <a:pt x="144" y="267"/>
                </a:lnTo>
                <a:lnTo>
                  <a:pt x="143" y="270"/>
                </a:lnTo>
                <a:lnTo>
                  <a:pt x="143" y="270"/>
                </a:lnTo>
                <a:lnTo>
                  <a:pt x="144" y="270"/>
                </a:lnTo>
                <a:lnTo>
                  <a:pt x="146" y="271"/>
                </a:lnTo>
                <a:lnTo>
                  <a:pt x="147" y="276"/>
                </a:lnTo>
                <a:lnTo>
                  <a:pt x="147" y="276"/>
                </a:lnTo>
                <a:lnTo>
                  <a:pt x="144" y="274"/>
                </a:lnTo>
                <a:lnTo>
                  <a:pt x="141" y="276"/>
                </a:lnTo>
                <a:lnTo>
                  <a:pt x="141" y="276"/>
                </a:lnTo>
                <a:lnTo>
                  <a:pt x="143" y="297"/>
                </a:lnTo>
                <a:lnTo>
                  <a:pt x="144" y="320"/>
                </a:lnTo>
                <a:lnTo>
                  <a:pt x="144" y="320"/>
                </a:lnTo>
                <a:lnTo>
                  <a:pt x="144" y="330"/>
                </a:lnTo>
                <a:lnTo>
                  <a:pt x="144" y="330"/>
                </a:lnTo>
                <a:lnTo>
                  <a:pt x="146" y="336"/>
                </a:lnTo>
                <a:lnTo>
                  <a:pt x="146" y="340"/>
                </a:lnTo>
                <a:lnTo>
                  <a:pt x="146" y="340"/>
                </a:lnTo>
                <a:lnTo>
                  <a:pt x="146" y="361"/>
                </a:lnTo>
                <a:lnTo>
                  <a:pt x="146" y="361"/>
                </a:lnTo>
                <a:lnTo>
                  <a:pt x="150" y="371"/>
                </a:lnTo>
                <a:lnTo>
                  <a:pt x="153" y="383"/>
                </a:lnTo>
                <a:lnTo>
                  <a:pt x="153" y="388"/>
                </a:lnTo>
                <a:lnTo>
                  <a:pt x="151" y="393"/>
                </a:lnTo>
                <a:lnTo>
                  <a:pt x="148" y="396"/>
                </a:lnTo>
                <a:lnTo>
                  <a:pt x="143" y="397"/>
                </a:lnTo>
                <a:lnTo>
                  <a:pt x="143" y="397"/>
                </a:lnTo>
                <a:lnTo>
                  <a:pt x="143" y="410"/>
                </a:lnTo>
                <a:lnTo>
                  <a:pt x="143" y="423"/>
                </a:lnTo>
                <a:lnTo>
                  <a:pt x="143" y="423"/>
                </a:lnTo>
                <a:lnTo>
                  <a:pt x="146" y="436"/>
                </a:lnTo>
                <a:lnTo>
                  <a:pt x="146" y="436"/>
                </a:lnTo>
                <a:lnTo>
                  <a:pt x="148" y="448"/>
                </a:lnTo>
                <a:lnTo>
                  <a:pt x="148" y="448"/>
                </a:lnTo>
                <a:lnTo>
                  <a:pt x="151" y="461"/>
                </a:lnTo>
                <a:lnTo>
                  <a:pt x="151" y="465"/>
                </a:lnTo>
                <a:lnTo>
                  <a:pt x="153" y="467"/>
                </a:lnTo>
                <a:lnTo>
                  <a:pt x="153" y="468"/>
                </a:lnTo>
                <a:lnTo>
                  <a:pt x="153" y="468"/>
                </a:lnTo>
                <a:lnTo>
                  <a:pt x="154" y="475"/>
                </a:lnTo>
                <a:lnTo>
                  <a:pt x="154" y="475"/>
                </a:lnTo>
                <a:lnTo>
                  <a:pt x="158" y="491"/>
                </a:lnTo>
                <a:lnTo>
                  <a:pt x="158" y="491"/>
                </a:lnTo>
                <a:lnTo>
                  <a:pt x="160" y="500"/>
                </a:lnTo>
                <a:lnTo>
                  <a:pt x="161" y="504"/>
                </a:lnTo>
                <a:lnTo>
                  <a:pt x="161" y="505"/>
                </a:lnTo>
                <a:lnTo>
                  <a:pt x="161" y="505"/>
                </a:lnTo>
                <a:lnTo>
                  <a:pt x="161" y="505"/>
                </a:lnTo>
                <a:lnTo>
                  <a:pt x="161" y="507"/>
                </a:lnTo>
                <a:lnTo>
                  <a:pt x="161" y="507"/>
                </a:lnTo>
                <a:lnTo>
                  <a:pt x="167" y="511"/>
                </a:lnTo>
                <a:lnTo>
                  <a:pt x="171" y="517"/>
                </a:lnTo>
                <a:lnTo>
                  <a:pt x="171" y="517"/>
                </a:lnTo>
                <a:lnTo>
                  <a:pt x="173" y="523"/>
                </a:lnTo>
                <a:lnTo>
                  <a:pt x="173" y="523"/>
                </a:lnTo>
                <a:lnTo>
                  <a:pt x="173" y="524"/>
                </a:lnTo>
                <a:lnTo>
                  <a:pt x="173" y="524"/>
                </a:lnTo>
                <a:lnTo>
                  <a:pt x="173" y="524"/>
                </a:lnTo>
                <a:lnTo>
                  <a:pt x="173" y="524"/>
                </a:lnTo>
                <a:lnTo>
                  <a:pt x="174" y="530"/>
                </a:lnTo>
                <a:lnTo>
                  <a:pt x="174" y="530"/>
                </a:lnTo>
                <a:lnTo>
                  <a:pt x="174" y="530"/>
                </a:lnTo>
                <a:lnTo>
                  <a:pt x="174" y="530"/>
                </a:lnTo>
                <a:lnTo>
                  <a:pt x="174" y="530"/>
                </a:lnTo>
                <a:lnTo>
                  <a:pt x="176" y="533"/>
                </a:lnTo>
                <a:lnTo>
                  <a:pt x="176" y="533"/>
                </a:lnTo>
                <a:lnTo>
                  <a:pt x="176" y="537"/>
                </a:lnTo>
                <a:lnTo>
                  <a:pt x="176" y="537"/>
                </a:lnTo>
                <a:lnTo>
                  <a:pt x="176" y="537"/>
                </a:lnTo>
                <a:lnTo>
                  <a:pt x="178" y="537"/>
                </a:lnTo>
                <a:lnTo>
                  <a:pt x="180" y="540"/>
                </a:lnTo>
                <a:lnTo>
                  <a:pt x="180" y="543"/>
                </a:lnTo>
                <a:lnTo>
                  <a:pt x="180" y="543"/>
                </a:lnTo>
                <a:lnTo>
                  <a:pt x="178" y="545"/>
                </a:lnTo>
                <a:lnTo>
                  <a:pt x="176" y="547"/>
                </a:lnTo>
                <a:lnTo>
                  <a:pt x="174" y="547"/>
                </a:lnTo>
                <a:lnTo>
                  <a:pt x="171" y="544"/>
                </a:lnTo>
                <a:lnTo>
                  <a:pt x="171" y="544"/>
                </a:lnTo>
                <a:lnTo>
                  <a:pt x="166" y="537"/>
                </a:lnTo>
                <a:lnTo>
                  <a:pt x="166" y="537"/>
                </a:lnTo>
                <a:lnTo>
                  <a:pt x="166" y="535"/>
                </a:lnTo>
                <a:lnTo>
                  <a:pt x="164" y="534"/>
                </a:lnTo>
                <a:lnTo>
                  <a:pt x="164" y="534"/>
                </a:lnTo>
                <a:lnTo>
                  <a:pt x="164" y="533"/>
                </a:lnTo>
                <a:lnTo>
                  <a:pt x="163" y="527"/>
                </a:lnTo>
                <a:lnTo>
                  <a:pt x="163" y="527"/>
                </a:lnTo>
                <a:lnTo>
                  <a:pt x="163" y="527"/>
                </a:lnTo>
                <a:lnTo>
                  <a:pt x="163" y="527"/>
                </a:lnTo>
                <a:lnTo>
                  <a:pt x="163" y="527"/>
                </a:lnTo>
                <a:lnTo>
                  <a:pt x="161" y="524"/>
                </a:lnTo>
                <a:lnTo>
                  <a:pt x="161" y="524"/>
                </a:lnTo>
                <a:lnTo>
                  <a:pt x="161" y="525"/>
                </a:lnTo>
                <a:lnTo>
                  <a:pt x="160" y="527"/>
                </a:lnTo>
                <a:lnTo>
                  <a:pt x="157" y="528"/>
                </a:lnTo>
                <a:lnTo>
                  <a:pt x="147" y="528"/>
                </a:lnTo>
                <a:lnTo>
                  <a:pt x="147" y="528"/>
                </a:lnTo>
                <a:lnTo>
                  <a:pt x="143" y="521"/>
                </a:lnTo>
                <a:lnTo>
                  <a:pt x="139" y="514"/>
                </a:lnTo>
                <a:lnTo>
                  <a:pt x="137" y="513"/>
                </a:lnTo>
                <a:lnTo>
                  <a:pt x="137" y="513"/>
                </a:lnTo>
                <a:lnTo>
                  <a:pt x="137" y="513"/>
                </a:lnTo>
                <a:lnTo>
                  <a:pt x="137" y="511"/>
                </a:lnTo>
                <a:lnTo>
                  <a:pt x="136" y="510"/>
                </a:lnTo>
                <a:lnTo>
                  <a:pt x="136" y="510"/>
                </a:lnTo>
                <a:lnTo>
                  <a:pt x="133" y="503"/>
                </a:lnTo>
                <a:lnTo>
                  <a:pt x="133" y="503"/>
                </a:lnTo>
                <a:lnTo>
                  <a:pt x="127" y="490"/>
                </a:lnTo>
                <a:lnTo>
                  <a:pt x="127" y="490"/>
                </a:lnTo>
                <a:lnTo>
                  <a:pt x="127" y="487"/>
                </a:lnTo>
                <a:lnTo>
                  <a:pt x="129" y="484"/>
                </a:lnTo>
                <a:lnTo>
                  <a:pt x="129" y="481"/>
                </a:lnTo>
                <a:lnTo>
                  <a:pt x="129" y="477"/>
                </a:lnTo>
                <a:lnTo>
                  <a:pt x="129" y="477"/>
                </a:lnTo>
                <a:lnTo>
                  <a:pt x="126" y="474"/>
                </a:lnTo>
                <a:lnTo>
                  <a:pt x="126" y="474"/>
                </a:lnTo>
                <a:lnTo>
                  <a:pt x="126" y="473"/>
                </a:lnTo>
                <a:lnTo>
                  <a:pt x="126" y="473"/>
                </a:lnTo>
                <a:lnTo>
                  <a:pt x="124" y="471"/>
                </a:lnTo>
                <a:lnTo>
                  <a:pt x="124" y="471"/>
                </a:lnTo>
                <a:lnTo>
                  <a:pt x="124" y="465"/>
                </a:lnTo>
                <a:lnTo>
                  <a:pt x="124" y="465"/>
                </a:lnTo>
                <a:lnTo>
                  <a:pt x="126" y="458"/>
                </a:lnTo>
                <a:lnTo>
                  <a:pt x="124" y="453"/>
                </a:lnTo>
                <a:lnTo>
                  <a:pt x="124" y="453"/>
                </a:lnTo>
                <a:lnTo>
                  <a:pt x="121" y="450"/>
                </a:lnTo>
                <a:lnTo>
                  <a:pt x="119" y="447"/>
                </a:lnTo>
                <a:lnTo>
                  <a:pt x="116" y="444"/>
                </a:lnTo>
                <a:lnTo>
                  <a:pt x="114" y="441"/>
                </a:lnTo>
                <a:lnTo>
                  <a:pt x="114" y="441"/>
                </a:lnTo>
                <a:lnTo>
                  <a:pt x="114" y="437"/>
                </a:lnTo>
                <a:lnTo>
                  <a:pt x="116" y="433"/>
                </a:lnTo>
                <a:lnTo>
                  <a:pt x="117" y="428"/>
                </a:lnTo>
                <a:lnTo>
                  <a:pt x="117" y="426"/>
                </a:lnTo>
                <a:lnTo>
                  <a:pt x="117" y="426"/>
                </a:lnTo>
                <a:lnTo>
                  <a:pt x="114" y="420"/>
                </a:lnTo>
                <a:lnTo>
                  <a:pt x="113" y="416"/>
                </a:lnTo>
                <a:lnTo>
                  <a:pt x="113" y="416"/>
                </a:lnTo>
                <a:lnTo>
                  <a:pt x="116" y="417"/>
                </a:lnTo>
                <a:lnTo>
                  <a:pt x="116" y="417"/>
                </a:lnTo>
                <a:lnTo>
                  <a:pt x="114" y="414"/>
                </a:lnTo>
                <a:lnTo>
                  <a:pt x="113" y="411"/>
                </a:lnTo>
                <a:lnTo>
                  <a:pt x="110" y="408"/>
                </a:lnTo>
                <a:lnTo>
                  <a:pt x="109" y="406"/>
                </a:lnTo>
                <a:lnTo>
                  <a:pt x="109" y="406"/>
                </a:lnTo>
                <a:lnTo>
                  <a:pt x="111" y="404"/>
                </a:lnTo>
                <a:lnTo>
                  <a:pt x="113" y="403"/>
                </a:lnTo>
                <a:lnTo>
                  <a:pt x="113" y="403"/>
                </a:lnTo>
                <a:lnTo>
                  <a:pt x="114" y="401"/>
                </a:lnTo>
                <a:lnTo>
                  <a:pt x="113" y="398"/>
                </a:lnTo>
                <a:lnTo>
                  <a:pt x="110" y="394"/>
                </a:lnTo>
                <a:lnTo>
                  <a:pt x="107" y="388"/>
                </a:lnTo>
                <a:lnTo>
                  <a:pt x="104" y="384"/>
                </a:lnTo>
                <a:lnTo>
                  <a:pt x="104" y="384"/>
                </a:lnTo>
                <a:lnTo>
                  <a:pt x="106" y="383"/>
                </a:lnTo>
                <a:lnTo>
                  <a:pt x="107" y="383"/>
                </a:lnTo>
                <a:lnTo>
                  <a:pt x="110" y="384"/>
                </a:lnTo>
                <a:lnTo>
                  <a:pt x="111" y="384"/>
                </a:lnTo>
                <a:lnTo>
                  <a:pt x="113" y="381"/>
                </a:lnTo>
                <a:lnTo>
                  <a:pt x="113" y="381"/>
                </a:lnTo>
                <a:lnTo>
                  <a:pt x="109" y="380"/>
                </a:lnTo>
                <a:lnTo>
                  <a:pt x="107" y="377"/>
                </a:lnTo>
                <a:lnTo>
                  <a:pt x="106" y="374"/>
                </a:lnTo>
                <a:lnTo>
                  <a:pt x="103" y="373"/>
                </a:lnTo>
                <a:lnTo>
                  <a:pt x="103" y="373"/>
                </a:lnTo>
                <a:lnTo>
                  <a:pt x="106" y="370"/>
                </a:lnTo>
                <a:lnTo>
                  <a:pt x="107" y="367"/>
                </a:lnTo>
                <a:lnTo>
                  <a:pt x="106" y="361"/>
                </a:lnTo>
                <a:lnTo>
                  <a:pt x="106" y="356"/>
                </a:lnTo>
                <a:lnTo>
                  <a:pt x="107" y="354"/>
                </a:lnTo>
                <a:lnTo>
                  <a:pt x="110" y="354"/>
                </a:lnTo>
                <a:lnTo>
                  <a:pt x="110" y="354"/>
                </a:lnTo>
                <a:lnTo>
                  <a:pt x="104" y="333"/>
                </a:lnTo>
                <a:lnTo>
                  <a:pt x="104" y="333"/>
                </a:lnTo>
                <a:lnTo>
                  <a:pt x="103" y="321"/>
                </a:lnTo>
                <a:lnTo>
                  <a:pt x="101" y="313"/>
                </a:lnTo>
                <a:lnTo>
                  <a:pt x="101" y="313"/>
                </a:lnTo>
                <a:lnTo>
                  <a:pt x="101" y="314"/>
                </a:lnTo>
                <a:lnTo>
                  <a:pt x="100" y="314"/>
                </a:lnTo>
                <a:lnTo>
                  <a:pt x="97" y="314"/>
                </a:lnTo>
                <a:lnTo>
                  <a:pt x="97" y="314"/>
                </a:lnTo>
                <a:lnTo>
                  <a:pt x="97" y="300"/>
                </a:lnTo>
                <a:lnTo>
                  <a:pt x="96" y="296"/>
                </a:lnTo>
                <a:lnTo>
                  <a:pt x="94" y="290"/>
                </a:lnTo>
                <a:lnTo>
                  <a:pt x="94" y="290"/>
                </a:lnTo>
                <a:lnTo>
                  <a:pt x="96" y="291"/>
                </a:lnTo>
                <a:lnTo>
                  <a:pt x="97" y="291"/>
                </a:lnTo>
                <a:lnTo>
                  <a:pt x="97" y="291"/>
                </a:lnTo>
                <a:lnTo>
                  <a:pt x="97" y="266"/>
                </a:lnTo>
                <a:lnTo>
                  <a:pt x="97" y="266"/>
                </a:lnTo>
                <a:lnTo>
                  <a:pt x="97" y="254"/>
                </a:lnTo>
                <a:lnTo>
                  <a:pt x="100" y="244"/>
                </a:lnTo>
                <a:lnTo>
                  <a:pt x="100" y="244"/>
                </a:lnTo>
                <a:lnTo>
                  <a:pt x="96" y="241"/>
                </a:lnTo>
                <a:lnTo>
                  <a:pt x="94" y="239"/>
                </a:lnTo>
                <a:lnTo>
                  <a:pt x="94" y="239"/>
                </a:lnTo>
                <a:lnTo>
                  <a:pt x="96" y="236"/>
                </a:lnTo>
                <a:lnTo>
                  <a:pt x="96" y="234"/>
                </a:lnTo>
                <a:lnTo>
                  <a:pt x="93" y="230"/>
                </a:lnTo>
                <a:lnTo>
                  <a:pt x="93" y="230"/>
                </a:lnTo>
                <a:lnTo>
                  <a:pt x="96" y="229"/>
                </a:lnTo>
                <a:lnTo>
                  <a:pt x="99" y="227"/>
                </a:lnTo>
                <a:lnTo>
                  <a:pt x="100" y="226"/>
                </a:lnTo>
                <a:lnTo>
                  <a:pt x="100" y="223"/>
                </a:lnTo>
                <a:lnTo>
                  <a:pt x="100" y="223"/>
                </a:lnTo>
                <a:lnTo>
                  <a:pt x="99" y="224"/>
                </a:lnTo>
                <a:lnTo>
                  <a:pt x="97" y="224"/>
                </a:lnTo>
                <a:lnTo>
                  <a:pt x="96" y="221"/>
                </a:lnTo>
                <a:lnTo>
                  <a:pt x="96" y="213"/>
                </a:lnTo>
                <a:lnTo>
                  <a:pt x="96" y="213"/>
                </a:lnTo>
                <a:lnTo>
                  <a:pt x="97" y="211"/>
                </a:lnTo>
                <a:lnTo>
                  <a:pt x="99" y="210"/>
                </a:lnTo>
                <a:lnTo>
                  <a:pt x="100" y="209"/>
                </a:lnTo>
                <a:lnTo>
                  <a:pt x="101" y="210"/>
                </a:lnTo>
                <a:lnTo>
                  <a:pt x="101" y="210"/>
                </a:lnTo>
                <a:lnTo>
                  <a:pt x="103" y="210"/>
                </a:lnTo>
                <a:lnTo>
                  <a:pt x="104" y="213"/>
                </a:lnTo>
                <a:lnTo>
                  <a:pt x="104" y="214"/>
                </a:lnTo>
                <a:lnTo>
                  <a:pt x="106" y="216"/>
                </a:lnTo>
                <a:lnTo>
                  <a:pt x="106" y="216"/>
                </a:lnTo>
                <a:lnTo>
                  <a:pt x="106" y="209"/>
                </a:lnTo>
                <a:lnTo>
                  <a:pt x="103" y="204"/>
                </a:lnTo>
                <a:lnTo>
                  <a:pt x="100" y="203"/>
                </a:lnTo>
                <a:lnTo>
                  <a:pt x="94" y="201"/>
                </a:lnTo>
                <a:lnTo>
                  <a:pt x="94" y="201"/>
                </a:lnTo>
                <a:lnTo>
                  <a:pt x="93" y="204"/>
                </a:lnTo>
                <a:lnTo>
                  <a:pt x="91" y="209"/>
                </a:lnTo>
                <a:lnTo>
                  <a:pt x="89" y="217"/>
                </a:lnTo>
                <a:lnTo>
                  <a:pt x="89" y="217"/>
                </a:lnTo>
                <a:lnTo>
                  <a:pt x="90" y="219"/>
                </a:lnTo>
                <a:lnTo>
                  <a:pt x="91" y="221"/>
                </a:lnTo>
                <a:lnTo>
                  <a:pt x="91" y="226"/>
                </a:lnTo>
                <a:lnTo>
                  <a:pt x="91" y="230"/>
                </a:lnTo>
                <a:lnTo>
                  <a:pt x="91" y="230"/>
                </a:lnTo>
                <a:lnTo>
                  <a:pt x="89" y="237"/>
                </a:lnTo>
                <a:lnTo>
                  <a:pt x="86" y="243"/>
                </a:lnTo>
                <a:lnTo>
                  <a:pt x="86" y="243"/>
                </a:lnTo>
                <a:lnTo>
                  <a:pt x="84" y="241"/>
                </a:lnTo>
                <a:lnTo>
                  <a:pt x="84" y="241"/>
                </a:lnTo>
                <a:lnTo>
                  <a:pt x="83" y="240"/>
                </a:lnTo>
                <a:lnTo>
                  <a:pt x="83" y="239"/>
                </a:lnTo>
                <a:lnTo>
                  <a:pt x="83" y="239"/>
                </a:lnTo>
                <a:lnTo>
                  <a:pt x="86" y="239"/>
                </a:lnTo>
                <a:lnTo>
                  <a:pt x="87" y="239"/>
                </a:lnTo>
                <a:lnTo>
                  <a:pt x="87" y="237"/>
                </a:lnTo>
                <a:lnTo>
                  <a:pt x="87" y="237"/>
                </a:lnTo>
                <a:lnTo>
                  <a:pt x="84" y="233"/>
                </a:lnTo>
                <a:lnTo>
                  <a:pt x="83" y="230"/>
                </a:lnTo>
                <a:lnTo>
                  <a:pt x="83" y="221"/>
                </a:lnTo>
                <a:lnTo>
                  <a:pt x="83" y="221"/>
                </a:lnTo>
                <a:lnTo>
                  <a:pt x="89" y="203"/>
                </a:lnTo>
                <a:lnTo>
                  <a:pt x="89" y="203"/>
                </a:lnTo>
                <a:lnTo>
                  <a:pt x="84" y="203"/>
                </a:lnTo>
                <a:lnTo>
                  <a:pt x="83" y="201"/>
                </a:lnTo>
                <a:lnTo>
                  <a:pt x="81" y="199"/>
                </a:lnTo>
                <a:lnTo>
                  <a:pt x="77" y="197"/>
                </a:lnTo>
                <a:lnTo>
                  <a:pt x="77" y="197"/>
                </a:lnTo>
                <a:lnTo>
                  <a:pt x="76" y="219"/>
                </a:lnTo>
                <a:lnTo>
                  <a:pt x="76" y="219"/>
                </a:lnTo>
                <a:lnTo>
                  <a:pt x="73" y="239"/>
                </a:lnTo>
                <a:lnTo>
                  <a:pt x="73" y="239"/>
                </a:lnTo>
                <a:lnTo>
                  <a:pt x="74" y="237"/>
                </a:lnTo>
                <a:lnTo>
                  <a:pt x="76" y="237"/>
                </a:lnTo>
                <a:lnTo>
                  <a:pt x="77" y="239"/>
                </a:lnTo>
                <a:lnTo>
                  <a:pt x="79" y="246"/>
                </a:lnTo>
                <a:lnTo>
                  <a:pt x="79" y="246"/>
                </a:lnTo>
                <a:lnTo>
                  <a:pt x="74" y="254"/>
                </a:lnTo>
                <a:lnTo>
                  <a:pt x="73" y="259"/>
                </a:lnTo>
                <a:lnTo>
                  <a:pt x="73" y="261"/>
                </a:lnTo>
                <a:lnTo>
                  <a:pt x="73" y="261"/>
                </a:lnTo>
                <a:lnTo>
                  <a:pt x="73" y="260"/>
                </a:lnTo>
                <a:lnTo>
                  <a:pt x="74" y="260"/>
                </a:lnTo>
                <a:lnTo>
                  <a:pt x="77" y="260"/>
                </a:lnTo>
                <a:lnTo>
                  <a:pt x="77" y="260"/>
                </a:lnTo>
                <a:lnTo>
                  <a:pt x="76" y="263"/>
                </a:lnTo>
                <a:lnTo>
                  <a:pt x="73" y="266"/>
                </a:lnTo>
                <a:lnTo>
                  <a:pt x="71" y="273"/>
                </a:lnTo>
                <a:lnTo>
                  <a:pt x="71" y="280"/>
                </a:lnTo>
                <a:lnTo>
                  <a:pt x="70" y="289"/>
                </a:lnTo>
                <a:lnTo>
                  <a:pt x="70" y="289"/>
                </a:lnTo>
                <a:lnTo>
                  <a:pt x="70" y="283"/>
                </a:lnTo>
                <a:lnTo>
                  <a:pt x="69" y="280"/>
                </a:lnTo>
                <a:lnTo>
                  <a:pt x="67" y="277"/>
                </a:lnTo>
                <a:lnTo>
                  <a:pt x="66" y="273"/>
                </a:lnTo>
                <a:lnTo>
                  <a:pt x="66" y="273"/>
                </a:lnTo>
                <a:lnTo>
                  <a:pt x="63" y="283"/>
                </a:lnTo>
                <a:lnTo>
                  <a:pt x="64" y="287"/>
                </a:lnTo>
                <a:lnTo>
                  <a:pt x="67" y="291"/>
                </a:lnTo>
                <a:lnTo>
                  <a:pt x="67" y="291"/>
                </a:lnTo>
                <a:lnTo>
                  <a:pt x="61" y="291"/>
                </a:lnTo>
                <a:lnTo>
                  <a:pt x="61" y="291"/>
                </a:lnTo>
                <a:lnTo>
                  <a:pt x="63" y="299"/>
                </a:lnTo>
                <a:lnTo>
                  <a:pt x="63" y="306"/>
                </a:lnTo>
                <a:lnTo>
                  <a:pt x="63" y="306"/>
                </a:lnTo>
                <a:lnTo>
                  <a:pt x="61" y="323"/>
                </a:lnTo>
                <a:lnTo>
                  <a:pt x="61" y="323"/>
                </a:lnTo>
                <a:lnTo>
                  <a:pt x="61" y="340"/>
                </a:lnTo>
                <a:lnTo>
                  <a:pt x="61" y="340"/>
                </a:lnTo>
                <a:lnTo>
                  <a:pt x="61" y="348"/>
                </a:lnTo>
                <a:lnTo>
                  <a:pt x="64" y="356"/>
                </a:lnTo>
                <a:lnTo>
                  <a:pt x="64" y="356"/>
                </a:lnTo>
                <a:lnTo>
                  <a:pt x="60" y="357"/>
                </a:lnTo>
                <a:lnTo>
                  <a:pt x="60" y="357"/>
                </a:lnTo>
                <a:lnTo>
                  <a:pt x="59" y="358"/>
                </a:lnTo>
                <a:lnTo>
                  <a:pt x="59" y="358"/>
                </a:lnTo>
                <a:lnTo>
                  <a:pt x="61" y="366"/>
                </a:lnTo>
                <a:lnTo>
                  <a:pt x="61" y="374"/>
                </a:lnTo>
                <a:lnTo>
                  <a:pt x="61" y="374"/>
                </a:lnTo>
                <a:lnTo>
                  <a:pt x="63" y="390"/>
                </a:lnTo>
                <a:lnTo>
                  <a:pt x="63" y="390"/>
                </a:lnTo>
                <a:lnTo>
                  <a:pt x="63" y="404"/>
                </a:lnTo>
                <a:lnTo>
                  <a:pt x="64" y="410"/>
                </a:lnTo>
                <a:lnTo>
                  <a:pt x="67" y="414"/>
                </a:lnTo>
                <a:lnTo>
                  <a:pt x="67" y="414"/>
                </a:lnTo>
                <a:lnTo>
                  <a:pt x="64" y="414"/>
                </a:lnTo>
                <a:lnTo>
                  <a:pt x="63" y="414"/>
                </a:lnTo>
                <a:lnTo>
                  <a:pt x="60" y="410"/>
                </a:lnTo>
                <a:lnTo>
                  <a:pt x="60" y="410"/>
                </a:lnTo>
                <a:lnTo>
                  <a:pt x="60" y="407"/>
                </a:lnTo>
                <a:lnTo>
                  <a:pt x="60" y="403"/>
                </a:lnTo>
                <a:lnTo>
                  <a:pt x="60" y="403"/>
                </a:lnTo>
                <a:lnTo>
                  <a:pt x="57" y="404"/>
                </a:lnTo>
                <a:lnTo>
                  <a:pt x="56" y="406"/>
                </a:lnTo>
                <a:lnTo>
                  <a:pt x="56" y="407"/>
                </a:lnTo>
                <a:lnTo>
                  <a:pt x="56" y="410"/>
                </a:lnTo>
                <a:lnTo>
                  <a:pt x="61" y="418"/>
                </a:lnTo>
                <a:lnTo>
                  <a:pt x="61" y="418"/>
                </a:lnTo>
                <a:lnTo>
                  <a:pt x="59" y="418"/>
                </a:lnTo>
                <a:lnTo>
                  <a:pt x="59" y="418"/>
                </a:lnTo>
                <a:lnTo>
                  <a:pt x="61" y="424"/>
                </a:lnTo>
                <a:lnTo>
                  <a:pt x="64" y="427"/>
                </a:lnTo>
                <a:lnTo>
                  <a:pt x="69" y="431"/>
                </a:lnTo>
                <a:lnTo>
                  <a:pt x="70" y="436"/>
                </a:lnTo>
                <a:lnTo>
                  <a:pt x="70" y="436"/>
                </a:lnTo>
                <a:lnTo>
                  <a:pt x="71" y="441"/>
                </a:lnTo>
                <a:lnTo>
                  <a:pt x="70" y="447"/>
                </a:lnTo>
                <a:lnTo>
                  <a:pt x="70" y="447"/>
                </a:lnTo>
                <a:lnTo>
                  <a:pt x="69" y="454"/>
                </a:lnTo>
                <a:lnTo>
                  <a:pt x="70" y="461"/>
                </a:lnTo>
                <a:lnTo>
                  <a:pt x="70" y="461"/>
                </a:lnTo>
                <a:lnTo>
                  <a:pt x="73" y="460"/>
                </a:lnTo>
                <a:lnTo>
                  <a:pt x="74" y="461"/>
                </a:lnTo>
                <a:lnTo>
                  <a:pt x="76" y="465"/>
                </a:lnTo>
                <a:lnTo>
                  <a:pt x="77" y="473"/>
                </a:lnTo>
                <a:lnTo>
                  <a:pt x="77" y="475"/>
                </a:lnTo>
                <a:lnTo>
                  <a:pt x="80" y="478"/>
                </a:lnTo>
                <a:lnTo>
                  <a:pt x="80" y="478"/>
                </a:lnTo>
                <a:lnTo>
                  <a:pt x="79" y="473"/>
                </a:lnTo>
                <a:lnTo>
                  <a:pt x="79" y="473"/>
                </a:lnTo>
                <a:lnTo>
                  <a:pt x="80" y="473"/>
                </a:lnTo>
                <a:lnTo>
                  <a:pt x="83" y="480"/>
                </a:lnTo>
                <a:lnTo>
                  <a:pt x="83" y="480"/>
                </a:lnTo>
                <a:lnTo>
                  <a:pt x="83" y="481"/>
                </a:lnTo>
                <a:lnTo>
                  <a:pt x="83" y="481"/>
                </a:lnTo>
                <a:lnTo>
                  <a:pt x="84" y="484"/>
                </a:lnTo>
                <a:lnTo>
                  <a:pt x="84" y="484"/>
                </a:lnTo>
                <a:lnTo>
                  <a:pt x="84" y="487"/>
                </a:lnTo>
                <a:lnTo>
                  <a:pt x="84" y="487"/>
                </a:lnTo>
                <a:lnTo>
                  <a:pt x="86" y="494"/>
                </a:lnTo>
                <a:lnTo>
                  <a:pt x="86" y="494"/>
                </a:lnTo>
                <a:lnTo>
                  <a:pt x="86" y="500"/>
                </a:lnTo>
                <a:lnTo>
                  <a:pt x="84" y="501"/>
                </a:lnTo>
                <a:lnTo>
                  <a:pt x="83" y="503"/>
                </a:lnTo>
                <a:lnTo>
                  <a:pt x="83" y="503"/>
                </a:lnTo>
                <a:lnTo>
                  <a:pt x="81" y="498"/>
                </a:lnTo>
                <a:lnTo>
                  <a:pt x="79" y="495"/>
                </a:lnTo>
                <a:lnTo>
                  <a:pt x="77" y="494"/>
                </a:lnTo>
                <a:lnTo>
                  <a:pt x="74" y="491"/>
                </a:lnTo>
                <a:lnTo>
                  <a:pt x="74" y="491"/>
                </a:lnTo>
                <a:lnTo>
                  <a:pt x="76" y="497"/>
                </a:lnTo>
                <a:lnTo>
                  <a:pt x="76" y="500"/>
                </a:lnTo>
                <a:lnTo>
                  <a:pt x="73" y="500"/>
                </a:lnTo>
                <a:lnTo>
                  <a:pt x="69" y="503"/>
                </a:lnTo>
                <a:lnTo>
                  <a:pt x="69" y="503"/>
                </a:lnTo>
                <a:lnTo>
                  <a:pt x="71" y="508"/>
                </a:lnTo>
                <a:lnTo>
                  <a:pt x="71" y="513"/>
                </a:lnTo>
                <a:lnTo>
                  <a:pt x="71" y="515"/>
                </a:lnTo>
                <a:lnTo>
                  <a:pt x="71" y="520"/>
                </a:lnTo>
                <a:lnTo>
                  <a:pt x="71" y="520"/>
                </a:lnTo>
                <a:lnTo>
                  <a:pt x="73" y="517"/>
                </a:lnTo>
                <a:lnTo>
                  <a:pt x="74" y="514"/>
                </a:lnTo>
                <a:lnTo>
                  <a:pt x="74" y="508"/>
                </a:lnTo>
                <a:lnTo>
                  <a:pt x="76" y="505"/>
                </a:lnTo>
                <a:lnTo>
                  <a:pt x="76" y="505"/>
                </a:lnTo>
                <a:lnTo>
                  <a:pt x="77" y="508"/>
                </a:lnTo>
                <a:lnTo>
                  <a:pt x="79" y="511"/>
                </a:lnTo>
                <a:lnTo>
                  <a:pt x="79" y="511"/>
                </a:lnTo>
                <a:lnTo>
                  <a:pt x="77" y="515"/>
                </a:lnTo>
                <a:lnTo>
                  <a:pt x="76" y="520"/>
                </a:lnTo>
                <a:lnTo>
                  <a:pt x="76" y="523"/>
                </a:lnTo>
                <a:lnTo>
                  <a:pt x="77" y="524"/>
                </a:lnTo>
                <a:lnTo>
                  <a:pt x="79" y="525"/>
                </a:lnTo>
                <a:lnTo>
                  <a:pt x="79" y="525"/>
                </a:lnTo>
                <a:lnTo>
                  <a:pt x="76" y="527"/>
                </a:lnTo>
                <a:lnTo>
                  <a:pt x="74" y="530"/>
                </a:lnTo>
                <a:lnTo>
                  <a:pt x="74" y="530"/>
                </a:lnTo>
                <a:lnTo>
                  <a:pt x="64" y="507"/>
                </a:lnTo>
                <a:lnTo>
                  <a:pt x="59" y="488"/>
                </a:lnTo>
                <a:lnTo>
                  <a:pt x="59" y="488"/>
                </a:lnTo>
                <a:lnTo>
                  <a:pt x="56" y="474"/>
                </a:lnTo>
                <a:lnTo>
                  <a:pt x="54" y="456"/>
                </a:lnTo>
                <a:lnTo>
                  <a:pt x="54" y="456"/>
                </a:lnTo>
                <a:lnTo>
                  <a:pt x="53" y="450"/>
                </a:lnTo>
                <a:lnTo>
                  <a:pt x="52" y="443"/>
                </a:lnTo>
                <a:lnTo>
                  <a:pt x="52" y="443"/>
                </a:lnTo>
                <a:lnTo>
                  <a:pt x="50" y="430"/>
                </a:lnTo>
                <a:lnTo>
                  <a:pt x="50" y="430"/>
                </a:lnTo>
                <a:lnTo>
                  <a:pt x="49" y="417"/>
                </a:lnTo>
                <a:lnTo>
                  <a:pt x="46" y="411"/>
                </a:lnTo>
                <a:lnTo>
                  <a:pt x="43" y="404"/>
                </a:lnTo>
                <a:lnTo>
                  <a:pt x="43" y="404"/>
                </a:lnTo>
                <a:lnTo>
                  <a:pt x="44" y="403"/>
                </a:lnTo>
                <a:lnTo>
                  <a:pt x="44" y="401"/>
                </a:lnTo>
                <a:lnTo>
                  <a:pt x="46" y="400"/>
                </a:lnTo>
                <a:lnTo>
                  <a:pt x="47" y="398"/>
                </a:lnTo>
                <a:lnTo>
                  <a:pt x="47" y="398"/>
                </a:lnTo>
                <a:lnTo>
                  <a:pt x="46" y="390"/>
                </a:lnTo>
                <a:lnTo>
                  <a:pt x="44" y="381"/>
                </a:lnTo>
                <a:lnTo>
                  <a:pt x="46" y="364"/>
                </a:lnTo>
                <a:lnTo>
                  <a:pt x="46" y="364"/>
                </a:lnTo>
                <a:lnTo>
                  <a:pt x="47" y="356"/>
                </a:lnTo>
                <a:lnTo>
                  <a:pt x="47" y="347"/>
                </a:lnTo>
                <a:lnTo>
                  <a:pt x="47" y="347"/>
                </a:lnTo>
                <a:lnTo>
                  <a:pt x="46" y="338"/>
                </a:lnTo>
                <a:lnTo>
                  <a:pt x="46" y="338"/>
                </a:lnTo>
                <a:lnTo>
                  <a:pt x="42" y="331"/>
                </a:lnTo>
                <a:lnTo>
                  <a:pt x="42" y="331"/>
                </a:lnTo>
                <a:lnTo>
                  <a:pt x="42" y="340"/>
                </a:lnTo>
                <a:lnTo>
                  <a:pt x="42" y="340"/>
                </a:lnTo>
                <a:lnTo>
                  <a:pt x="42" y="344"/>
                </a:lnTo>
                <a:lnTo>
                  <a:pt x="39" y="346"/>
                </a:lnTo>
                <a:lnTo>
                  <a:pt x="39" y="346"/>
                </a:lnTo>
                <a:lnTo>
                  <a:pt x="37" y="327"/>
                </a:lnTo>
                <a:lnTo>
                  <a:pt x="37" y="323"/>
                </a:lnTo>
                <a:lnTo>
                  <a:pt x="39" y="320"/>
                </a:lnTo>
                <a:lnTo>
                  <a:pt x="42" y="318"/>
                </a:lnTo>
                <a:lnTo>
                  <a:pt x="44" y="318"/>
                </a:lnTo>
                <a:lnTo>
                  <a:pt x="44" y="318"/>
                </a:lnTo>
                <a:lnTo>
                  <a:pt x="43" y="313"/>
                </a:lnTo>
                <a:lnTo>
                  <a:pt x="43" y="304"/>
                </a:lnTo>
                <a:lnTo>
                  <a:pt x="43" y="304"/>
                </a:lnTo>
                <a:lnTo>
                  <a:pt x="40" y="304"/>
                </a:lnTo>
                <a:lnTo>
                  <a:pt x="40" y="304"/>
                </a:lnTo>
                <a:lnTo>
                  <a:pt x="40" y="308"/>
                </a:lnTo>
                <a:lnTo>
                  <a:pt x="40" y="311"/>
                </a:lnTo>
                <a:lnTo>
                  <a:pt x="39" y="313"/>
                </a:lnTo>
                <a:lnTo>
                  <a:pt x="39" y="313"/>
                </a:lnTo>
                <a:lnTo>
                  <a:pt x="39" y="313"/>
                </a:lnTo>
                <a:lnTo>
                  <a:pt x="37" y="306"/>
                </a:lnTo>
                <a:lnTo>
                  <a:pt x="37" y="296"/>
                </a:lnTo>
                <a:lnTo>
                  <a:pt x="37" y="296"/>
                </a:lnTo>
                <a:lnTo>
                  <a:pt x="39" y="287"/>
                </a:lnTo>
                <a:lnTo>
                  <a:pt x="40" y="283"/>
                </a:lnTo>
                <a:lnTo>
                  <a:pt x="43" y="280"/>
                </a:lnTo>
                <a:lnTo>
                  <a:pt x="43" y="280"/>
                </a:lnTo>
                <a:lnTo>
                  <a:pt x="43" y="267"/>
                </a:lnTo>
                <a:lnTo>
                  <a:pt x="43" y="267"/>
                </a:lnTo>
                <a:lnTo>
                  <a:pt x="44" y="256"/>
                </a:lnTo>
                <a:lnTo>
                  <a:pt x="44" y="256"/>
                </a:lnTo>
                <a:lnTo>
                  <a:pt x="46" y="236"/>
                </a:lnTo>
                <a:lnTo>
                  <a:pt x="46" y="236"/>
                </a:lnTo>
                <a:lnTo>
                  <a:pt x="47" y="226"/>
                </a:lnTo>
                <a:lnTo>
                  <a:pt x="50" y="216"/>
                </a:lnTo>
                <a:lnTo>
                  <a:pt x="50" y="216"/>
                </a:lnTo>
                <a:lnTo>
                  <a:pt x="53" y="207"/>
                </a:lnTo>
                <a:lnTo>
                  <a:pt x="57" y="200"/>
                </a:lnTo>
                <a:lnTo>
                  <a:pt x="57" y="200"/>
                </a:lnTo>
                <a:lnTo>
                  <a:pt x="54" y="199"/>
                </a:lnTo>
                <a:lnTo>
                  <a:pt x="56" y="197"/>
                </a:lnTo>
                <a:lnTo>
                  <a:pt x="59" y="196"/>
                </a:lnTo>
                <a:lnTo>
                  <a:pt x="60" y="193"/>
                </a:lnTo>
                <a:lnTo>
                  <a:pt x="60" y="193"/>
                </a:lnTo>
                <a:lnTo>
                  <a:pt x="59" y="191"/>
                </a:lnTo>
                <a:lnTo>
                  <a:pt x="56" y="191"/>
                </a:lnTo>
                <a:lnTo>
                  <a:pt x="54" y="191"/>
                </a:lnTo>
                <a:lnTo>
                  <a:pt x="53" y="190"/>
                </a:lnTo>
                <a:lnTo>
                  <a:pt x="53" y="190"/>
                </a:lnTo>
                <a:lnTo>
                  <a:pt x="53" y="189"/>
                </a:lnTo>
                <a:lnTo>
                  <a:pt x="52" y="186"/>
                </a:lnTo>
                <a:lnTo>
                  <a:pt x="52" y="186"/>
                </a:lnTo>
                <a:lnTo>
                  <a:pt x="53" y="181"/>
                </a:lnTo>
                <a:lnTo>
                  <a:pt x="54" y="180"/>
                </a:lnTo>
                <a:lnTo>
                  <a:pt x="57" y="179"/>
                </a:lnTo>
                <a:lnTo>
                  <a:pt x="59" y="176"/>
                </a:lnTo>
                <a:lnTo>
                  <a:pt x="59" y="176"/>
                </a:lnTo>
                <a:lnTo>
                  <a:pt x="57" y="173"/>
                </a:lnTo>
                <a:lnTo>
                  <a:pt x="57" y="169"/>
                </a:lnTo>
                <a:lnTo>
                  <a:pt x="59" y="157"/>
                </a:lnTo>
                <a:lnTo>
                  <a:pt x="59" y="157"/>
                </a:lnTo>
                <a:lnTo>
                  <a:pt x="63" y="157"/>
                </a:lnTo>
                <a:lnTo>
                  <a:pt x="66" y="156"/>
                </a:lnTo>
                <a:lnTo>
                  <a:pt x="67" y="153"/>
                </a:lnTo>
                <a:lnTo>
                  <a:pt x="67" y="150"/>
                </a:lnTo>
                <a:lnTo>
                  <a:pt x="67" y="143"/>
                </a:lnTo>
                <a:lnTo>
                  <a:pt x="69" y="137"/>
                </a:lnTo>
                <a:lnTo>
                  <a:pt x="69" y="137"/>
                </a:lnTo>
                <a:lnTo>
                  <a:pt x="76" y="114"/>
                </a:lnTo>
                <a:lnTo>
                  <a:pt x="84" y="90"/>
                </a:lnTo>
                <a:lnTo>
                  <a:pt x="84" y="90"/>
                </a:lnTo>
                <a:lnTo>
                  <a:pt x="94" y="69"/>
                </a:lnTo>
                <a:lnTo>
                  <a:pt x="94" y="69"/>
                </a:lnTo>
                <a:lnTo>
                  <a:pt x="97" y="59"/>
                </a:lnTo>
                <a:lnTo>
                  <a:pt x="97" y="59"/>
                </a:lnTo>
                <a:lnTo>
                  <a:pt x="101" y="49"/>
                </a:lnTo>
                <a:lnTo>
                  <a:pt x="101" y="49"/>
                </a:lnTo>
                <a:lnTo>
                  <a:pt x="94" y="60"/>
                </a:lnTo>
                <a:lnTo>
                  <a:pt x="91" y="69"/>
                </a:lnTo>
                <a:lnTo>
                  <a:pt x="91" y="69"/>
                </a:lnTo>
                <a:lnTo>
                  <a:pt x="87" y="76"/>
                </a:lnTo>
                <a:lnTo>
                  <a:pt x="80" y="84"/>
                </a:lnTo>
                <a:lnTo>
                  <a:pt x="80" y="84"/>
                </a:lnTo>
                <a:lnTo>
                  <a:pt x="80" y="93"/>
                </a:lnTo>
                <a:lnTo>
                  <a:pt x="79" y="102"/>
                </a:lnTo>
                <a:lnTo>
                  <a:pt x="71" y="120"/>
                </a:lnTo>
                <a:lnTo>
                  <a:pt x="71" y="120"/>
                </a:lnTo>
                <a:lnTo>
                  <a:pt x="66" y="137"/>
                </a:lnTo>
                <a:lnTo>
                  <a:pt x="61" y="156"/>
                </a:lnTo>
                <a:lnTo>
                  <a:pt x="61" y="156"/>
                </a:lnTo>
                <a:lnTo>
                  <a:pt x="59" y="156"/>
                </a:lnTo>
                <a:lnTo>
                  <a:pt x="56" y="156"/>
                </a:lnTo>
                <a:lnTo>
                  <a:pt x="53" y="159"/>
                </a:lnTo>
                <a:lnTo>
                  <a:pt x="53" y="159"/>
                </a:lnTo>
                <a:lnTo>
                  <a:pt x="52" y="156"/>
                </a:lnTo>
                <a:lnTo>
                  <a:pt x="52" y="153"/>
                </a:lnTo>
                <a:lnTo>
                  <a:pt x="50" y="147"/>
                </a:lnTo>
                <a:lnTo>
                  <a:pt x="50" y="147"/>
                </a:lnTo>
                <a:lnTo>
                  <a:pt x="49" y="151"/>
                </a:lnTo>
                <a:lnTo>
                  <a:pt x="47" y="156"/>
                </a:lnTo>
                <a:lnTo>
                  <a:pt x="47" y="156"/>
                </a:lnTo>
                <a:lnTo>
                  <a:pt x="47" y="166"/>
                </a:lnTo>
                <a:lnTo>
                  <a:pt x="47" y="166"/>
                </a:lnTo>
                <a:lnTo>
                  <a:pt x="44" y="177"/>
                </a:lnTo>
                <a:lnTo>
                  <a:pt x="43" y="181"/>
                </a:lnTo>
                <a:lnTo>
                  <a:pt x="39" y="186"/>
                </a:lnTo>
                <a:lnTo>
                  <a:pt x="39" y="186"/>
                </a:lnTo>
                <a:lnTo>
                  <a:pt x="42" y="189"/>
                </a:lnTo>
                <a:lnTo>
                  <a:pt x="42" y="191"/>
                </a:lnTo>
                <a:lnTo>
                  <a:pt x="42" y="191"/>
                </a:lnTo>
                <a:lnTo>
                  <a:pt x="39" y="197"/>
                </a:lnTo>
                <a:lnTo>
                  <a:pt x="39" y="197"/>
                </a:lnTo>
                <a:lnTo>
                  <a:pt x="43" y="201"/>
                </a:lnTo>
                <a:lnTo>
                  <a:pt x="44" y="206"/>
                </a:lnTo>
                <a:lnTo>
                  <a:pt x="46" y="213"/>
                </a:lnTo>
                <a:lnTo>
                  <a:pt x="46" y="219"/>
                </a:lnTo>
                <a:lnTo>
                  <a:pt x="46" y="219"/>
                </a:lnTo>
                <a:lnTo>
                  <a:pt x="44" y="233"/>
                </a:lnTo>
                <a:lnTo>
                  <a:pt x="42" y="243"/>
                </a:lnTo>
                <a:lnTo>
                  <a:pt x="42" y="243"/>
                </a:lnTo>
                <a:lnTo>
                  <a:pt x="42" y="241"/>
                </a:lnTo>
                <a:lnTo>
                  <a:pt x="42" y="240"/>
                </a:lnTo>
                <a:lnTo>
                  <a:pt x="42" y="234"/>
                </a:lnTo>
                <a:lnTo>
                  <a:pt x="42" y="231"/>
                </a:lnTo>
                <a:lnTo>
                  <a:pt x="42" y="230"/>
                </a:lnTo>
                <a:lnTo>
                  <a:pt x="40" y="231"/>
                </a:lnTo>
                <a:lnTo>
                  <a:pt x="40" y="231"/>
                </a:lnTo>
                <a:lnTo>
                  <a:pt x="39" y="239"/>
                </a:lnTo>
                <a:lnTo>
                  <a:pt x="37" y="241"/>
                </a:lnTo>
                <a:lnTo>
                  <a:pt x="34" y="243"/>
                </a:lnTo>
                <a:lnTo>
                  <a:pt x="34" y="243"/>
                </a:lnTo>
                <a:lnTo>
                  <a:pt x="34" y="236"/>
                </a:lnTo>
                <a:lnTo>
                  <a:pt x="34" y="233"/>
                </a:lnTo>
                <a:lnTo>
                  <a:pt x="33" y="231"/>
                </a:lnTo>
                <a:lnTo>
                  <a:pt x="33" y="231"/>
                </a:lnTo>
                <a:lnTo>
                  <a:pt x="32" y="236"/>
                </a:lnTo>
                <a:lnTo>
                  <a:pt x="32" y="241"/>
                </a:lnTo>
                <a:lnTo>
                  <a:pt x="30" y="244"/>
                </a:lnTo>
                <a:lnTo>
                  <a:pt x="29" y="246"/>
                </a:lnTo>
                <a:lnTo>
                  <a:pt x="26" y="246"/>
                </a:lnTo>
                <a:lnTo>
                  <a:pt x="23" y="246"/>
                </a:lnTo>
                <a:lnTo>
                  <a:pt x="23" y="246"/>
                </a:lnTo>
                <a:lnTo>
                  <a:pt x="23" y="247"/>
                </a:lnTo>
                <a:lnTo>
                  <a:pt x="23" y="249"/>
                </a:lnTo>
                <a:lnTo>
                  <a:pt x="26" y="249"/>
                </a:lnTo>
                <a:lnTo>
                  <a:pt x="27" y="249"/>
                </a:lnTo>
                <a:lnTo>
                  <a:pt x="29" y="249"/>
                </a:lnTo>
                <a:lnTo>
                  <a:pt x="29" y="251"/>
                </a:lnTo>
                <a:lnTo>
                  <a:pt x="29" y="251"/>
                </a:lnTo>
                <a:lnTo>
                  <a:pt x="27" y="253"/>
                </a:lnTo>
                <a:lnTo>
                  <a:pt x="27" y="256"/>
                </a:lnTo>
                <a:lnTo>
                  <a:pt x="27" y="256"/>
                </a:lnTo>
                <a:lnTo>
                  <a:pt x="23" y="256"/>
                </a:lnTo>
                <a:lnTo>
                  <a:pt x="20" y="253"/>
                </a:lnTo>
                <a:lnTo>
                  <a:pt x="16" y="249"/>
                </a:lnTo>
                <a:lnTo>
                  <a:pt x="16" y="249"/>
                </a:lnTo>
                <a:lnTo>
                  <a:pt x="14" y="253"/>
                </a:lnTo>
                <a:lnTo>
                  <a:pt x="16" y="256"/>
                </a:lnTo>
                <a:lnTo>
                  <a:pt x="17" y="257"/>
                </a:lnTo>
                <a:lnTo>
                  <a:pt x="20" y="259"/>
                </a:lnTo>
                <a:lnTo>
                  <a:pt x="20" y="259"/>
                </a:lnTo>
                <a:lnTo>
                  <a:pt x="19" y="260"/>
                </a:lnTo>
                <a:lnTo>
                  <a:pt x="17" y="260"/>
                </a:lnTo>
                <a:lnTo>
                  <a:pt x="16" y="259"/>
                </a:lnTo>
                <a:lnTo>
                  <a:pt x="13" y="257"/>
                </a:lnTo>
                <a:lnTo>
                  <a:pt x="12" y="257"/>
                </a:lnTo>
                <a:lnTo>
                  <a:pt x="10" y="259"/>
                </a:lnTo>
                <a:lnTo>
                  <a:pt x="10" y="259"/>
                </a:lnTo>
                <a:lnTo>
                  <a:pt x="7" y="270"/>
                </a:lnTo>
                <a:lnTo>
                  <a:pt x="7" y="270"/>
                </a:lnTo>
                <a:lnTo>
                  <a:pt x="7" y="279"/>
                </a:lnTo>
                <a:lnTo>
                  <a:pt x="7" y="279"/>
                </a:lnTo>
                <a:lnTo>
                  <a:pt x="7" y="277"/>
                </a:lnTo>
                <a:lnTo>
                  <a:pt x="10" y="276"/>
                </a:lnTo>
                <a:lnTo>
                  <a:pt x="10" y="276"/>
                </a:lnTo>
                <a:lnTo>
                  <a:pt x="10" y="279"/>
                </a:lnTo>
                <a:lnTo>
                  <a:pt x="12" y="281"/>
                </a:lnTo>
                <a:lnTo>
                  <a:pt x="12" y="283"/>
                </a:lnTo>
                <a:lnTo>
                  <a:pt x="10" y="286"/>
                </a:lnTo>
                <a:lnTo>
                  <a:pt x="10" y="286"/>
                </a:lnTo>
                <a:lnTo>
                  <a:pt x="10" y="281"/>
                </a:lnTo>
                <a:lnTo>
                  <a:pt x="9" y="280"/>
                </a:lnTo>
                <a:lnTo>
                  <a:pt x="9" y="279"/>
                </a:lnTo>
                <a:lnTo>
                  <a:pt x="9" y="279"/>
                </a:lnTo>
                <a:lnTo>
                  <a:pt x="6" y="289"/>
                </a:lnTo>
                <a:lnTo>
                  <a:pt x="4" y="299"/>
                </a:lnTo>
                <a:lnTo>
                  <a:pt x="4" y="299"/>
                </a:lnTo>
                <a:lnTo>
                  <a:pt x="3" y="307"/>
                </a:lnTo>
                <a:lnTo>
                  <a:pt x="2" y="311"/>
                </a:lnTo>
                <a:lnTo>
                  <a:pt x="0" y="314"/>
                </a:lnTo>
                <a:lnTo>
                  <a:pt x="0" y="314"/>
                </a:lnTo>
                <a:lnTo>
                  <a:pt x="2" y="316"/>
                </a:lnTo>
                <a:lnTo>
                  <a:pt x="3" y="314"/>
                </a:lnTo>
                <a:lnTo>
                  <a:pt x="4" y="314"/>
                </a:lnTo>
                <a:lnTo>
                  <a:pt x="6" y="316"/>
                </a:lnTo>
                <a:lnTo>
                  <a:pt x="6" y="316"/>
                </a:lnTo>
                <a:lnTo>
                  <a:pt x="6" y="323"/>
                </a:lnTo>
                <a:lnTo>
                  <a:pt x="4" y="326"/>
                </a:lnTo>
                <a:lnTo>
                  <a:pt x="2" y="330"/>
                </a:lnTo>
                <a:lnTo>
                  <a:pt x="0" y="334"/>
                </a:lnTo>
                <a:lnTo>
                  <a:pt x="0" y="334"/>
                </a:lnTo>
                <a:lnTo>
                  <a:pt x="3" y="334"/>
                </a:lnTo>
                <a:lnTo>
                  <a:pt x="6" y="333"/>
                </a:lnTo>
                <a:lnTo>
                  <a:pt x="7" y="333"/>
                </a:lnTo>
                <a:lnTo>
                  <a:pt x="9" y="336"/>
                </a:lnTo>
                <a:lnTo>
                  <a:pt x="9" y="336"/>
                </a:lnTo>
                <a:lnTo>
                  <a:pt x="9" y="347"/>
                </a:lnTo>
                <a:lnTo>
                  <a:pt x="9" y="351"/>
                </a:lnTo>
                <a:lnTo>
                  <a:pt x="7" y="353"/>
                </a:lnTo>
                <a:lnTo>
                  <a:pt x="4" y="353"/>
                </a:lnTo>
                <a:lnTo>
                  <a:pt x="4" y="353"/>
                </a:lnTo>
                <a:lnTo>
                  <a:pt x="3" y="346"/>
                </a:lnTo>
                <a:lnTo>
                  <a:pt x="2" y="343"/>
                </a:lnTo>
                <a:lnTo>
                  <a:pt x="2" y="343"/>
                </a:lnTo>
                <a:lnTo>
                  <a:pt x="0" y="343"/>
                </a:lnTo>
                <a:lnTo>
                  <a:pt x="0" y="343"/>
                </a:lnTo>
                <a:lnTo>
                  <a:pt x="3" y="351"/>
                </a:lnTo>
                <a:lnTo>
                  <a:pt x="3" y="357"/>
                </a:lnTo>
                <a:lnTo>
                  <a:pt x="4" y="363"/>
                </a:lnTo>
                <a:lnTo>
                  <a:pt x="9" y="367"/>
                </a:lnTo>
                <a:lnTo>
                  <a:pt x="9" y="367"/>
                </a:lnTo>
                <a:lnTo>
                  <a:pt x="7" y="368"/>
                </a:lnTo>
                <a:lnTo>
                  <a:pt x="7" y="370"/>
                </a:lnTo>
                <a:lnTo>
                  <a:pt x="4" y="370"/>
                </a:lnTo>
                <a:lnTo>
                  <a:pt x="2" y="370"/>
                </a:lnTo>
                <a:lnTo>
                  <a:pt x="0" y="371"/>
                </a:lnTo>
                <a:lnTo>
                  <a:pt x="0" y="373"/>
                </a:lnTo>
                <a:lnTo>
                  <a:pt x="0" y="373"/>
                </a:lnTo>
                <a:lnTo>
                  <a:pt x="2" y="374"/>
                </a:lnTo>
                <a:lnTo>
                  <a:pt x="3" y="374"/>
                </a:lnTo>
                <a:lnTo>
                  <a:pt x="6" y="374"/>
                </a:lnTo>
                <a:lnTo>
                  <a:pt x="6" y="377"/>
                </a:lnTo>
                <a:lnTo>
                  <a:pt x="6" y="377"/>
                </a:lnTo>
                <a:lnTo>
                  <a:pt x="4" y="381"/>
                </a:lnTo>
                <a:lnTo>
                  <a:pt x="3" y="388"/>
                </a:lnTo>
                <a:lnTo>
                  <a:pt x="2" y="393"/>
                </a:lnTo>
                <a:lnTo>
                  <a:pt x="3" y="393"/>
                </a:lnTo>
                <a:lnTo>
                  <a:pt x="4" y="390"/>
                </a:lnTo>
                <a:lnTo>
                  <a:pt x="4" y="390"/>
                </a:lnTo>
                <a:lnTo>
                  <a:pt x="4" y="400"/>
                </a:lnTo>
                <a:lnTo>
                  <a:pt x="6" y="411"/>
                </a:lnTo>
                <a:lnTo>
                  <a:pt x="6" y="411"/>
                </a:lnTo>
                <a:lnTo>
                  <a:pt x="9" y="411"/>
                </a:lnTo>
                <a:lnTo>
                  <a:pt x="12" y="411"/>
                </a:lnTo>
                <a:lnTo>
                  <a:pt x="12" y="413"/>
                </a:lnTo>
                <a:lnTo>
                  <a:pt x="12" y="413"/>
                </a:lnTo>
                <a:lnTo>
                  <a:pt x="12" y="426"/>
                </a:lnTo>
                <a:lnTo>
                  <a:pt x="12" y="426"/>
                </a:lnTo>
                <a:lnTo>
                  <a:pt x="13" y="437"/>
                </a:lnTo>
                <a:lnTo>
                  <a:pt x="13" y="437"/>
                </a:lnTo>
                <a:lnTo>
                  <a:pt x="17" y="458"/>
                </a:lnTo>
                <a:lnTo>
                  <a:pt x="17" y="458"/>
                </a:lnTo>
                <a:lnTo>
                  <a:pt x="23" y="480"/>
                </a:lnTo>
                <a:lnTo>
                  <a:pt x="23" y="480"/>
                </a:lnTo>
                <a:lnTo>
                  <a:pt x="24" y="490"/>
                </a:lnTo>
                <a:lnTo>
                  <a:pt x="24" y="490"/>
                </a:lnTo>
                <a:lnTo>
                  <a:pt x="26" y="495"/>
                </a:lnTo>
                <a:lnTo>
                  <a:pt x="26" y="495"/>
                </a:lnTo>
                <a:lnTo>
                  <a:pt x="26" y="498"/>
                </a:lnTo>
                <a:lnTo>
                  <a:pt x="26" y="503"/>
                </a:lnTo>
                <a:lnTo>
                  <a:pt x="26" y="503"/>
                </a:lnTo>
                <a:lnTo>
                  <a:pt x="29" y="501"/>
                </a:lnTo>
                <a:lnTo>
                  <a:pt x="29" y="500"/>
                </a:lnTo>
                <a:lnTo>
                  <a:pt x="30" y="500"/>
                </a:lnTo>
                <a:lnTo>
                  <a:pt x="32" y="501"/>
                </a:lnTo>
                <a:lnTo>
                  <a:pt x="32" y="501"/>
                </a:lnTo>
                <a:lnTo>
                  <a:pt x="32" y="510"/>
                </a:lnTo>
                <a:lnTo>
                  <a:pt x="33" y="520"/>
                </a:lnTo>
                <a:lnTo>
                  <a:pt x="36" y="527"/>
                </a:lnTo>
                <a:lnTo>
                  <a:pt x="42" y="533"/>
                </a:lnTo>
                <a:lnTo>
                  <a:pt x="42" y="533"/>
                </a:lnTo>
                <a:lnTo>
                  <a:pt x="39" y="533"/>
                </a:lnTo>
                <a:lnTo>
                  <a:pt x="36" y="531"/>
                </a:lnTo>
                <a:lnTo>
                  <a:pt x="36" y="531"/>
                </a:lnTo>
                <a:lnTo>
                  <a:pt x="40" y="538"/>
                </a:lnTo>
                <a:lnTo>
                  <a:pt x="40" y="538"/>
                </a:lnTo>
                <a:lnTo>
                  <a:pt x="40" y="543"/>
                </a:lnTo>
                <a:lnTo>
                  <a:pt x="42" y="544"/>
                </a:lnTo>
                <a:lnTo>
                  <a:pt x="42" y="544"/>
                </a:lnTo>
                <a:lnTo>
                  <a:pt x="42" y="544"/>
                </a:lnTo>
                <a:lnTo>
                  <a:pt x="42" y="544"/>
                </a:lnTo>
                <a:lnTo>
                  <a:pt x="42" y="544"/>
                </a:lnTo>
                <a:lnTo>
                  <a:pt x="42" y="545"/>
                </a:lnTo>
                <a:lnTo>
                  <a:pt x="42" y="545"/>
                </a:lnTo>
                <a:lnTo>
                  <a:pt x="40" y="553"/>
                </a:lnTo>
                <a:lnTo>
                  <a:pt x="40" y="553"/>
                </a:lnTo>
                <a:lnTo>
                  <a:pt x="36" y="551"/>
                </a:lnTo>
                <a:lnTo>
                  <a:pt x="34" y="548"/>
                </a:lnTo>
                <a:lnTo>
                  <a:pt x="34" y="548"/>
                </a:lnTo>
                <a:lnTo>
                  <a:pt x="32" y="547"/>
                </a:lnTo>
                <a:lnTo>
                  <a:pt x="32" y="547"/>
                </a:lnTo>
                <a:lnTo>
                  <a:pt x="32" y="547"/>
                </a:lnTo>
                <a:lnTo>
                  <a:pt x="32" y="547"/>
                </a:lnTo>
                <a:lnTo>
                  <a:pt x="30" y="547"/>
                </a:lnTo>
                <a:lnTo>
                  <a:pt x="30" y="547"/>
                </a:lnTo>
                <a:lnTo>
                  <a:pt x="29" y="545"/>
                </a:lnTo>
                <a:lnTo>
                  <a:pt x="29" y="545"/>
                </a:lnTo>
                <a:lnTo>
                  <a:pt x="26" y="545"/>
                </a:lnTo>
                <a:lnTo>
                  <a:pt x="26" y="545"/>
                </a:lnTo>
                <a:lnTo>
                  <a:pt x="27" y="548"/>
                </a:lnTo>
                <a:lnTo>
                  <a:pt x="27" y="548"/>
                </a:lnTo>
                <a:lnTo>
                  <a:pt x="27" y="548"/>
                </a:lnTo>
                <a:lnTo>
                  <a:pt x="27" y="548"/>
                </a:lnTo>
                <a:lnTo>
                  <a:pt x="27" y="548"/>
                </a:lnTo>
                <a:lnTo>
                  <a:pt x="27" y="550"/>
                </a:lnTo>
                <a:lnTo>
                  <a:pt x="27" y="550"/>
                </a:lnTo>
                <a:lnTo>
                  <a:pt x="30" y="551"/>
                </a:lnTo>
                <a:lnTo>
                  <a:pt x="30" y="551"/>
                </a:lnTo>
                <a:lnTo>
                  <a:pt x="36" y="553"/>
                </a:lnTo>
                <a:lnTo>
                  <a:pt x="36" y="553"/>
                </a:lnTo>
                <a:lnTo>
                  <a:pt x="40" y="555"/>
                </a:lnTo>
                <a:lnTo>
                  <a:pt x="42" y="558"/>
                </a:lnTo>
                <a:lnTo>
                  <a:pt x="43" y="561"/>
                </a:lnTo>
                <a:lnTo>
                  <a:pt x="43" y="561"/>
                </a:lnTo>
                <a:lnTo>
                  <a:pt x="44" y="560"/>
                </a:lnTo>
                <a:lnTo>
                  <a:pt x="47" y="558"/>
                </a:lnTo>
                <a:lnTo>
                  <a:pt x="47" y="558"/>
                </a:lnTo>
                <a:lnTo>
                  <a:pt x="49" y="558"/>
                </a:lnTo>
                <a:lnTo>
                  <a:pt x="49" y="558"/>
                </a:lnTo>
                <a:lnTo>
                  <a:pt x="49" y="563"/>
                </a:lnTo>
                <a:lnTo>
                  <a:pt x="49" y="563"/>
                </a:lnTo>
                <a:lnTo>
                  <a:pt x="49" y="563"/>
                </a:lnTo>
                <a:lnTo>
                  <a:pt x="49" y="563"/>
                </a:lnTo>
                <a:lnTo>
                  <a:pt x="50" y="563"/>
                </a:lnTo>
                <a:lnTo>
                  <a:pt x="50" y="563"/>
                </a:lnTo>
                <a:lnTo>
                  <a:pt x="50" y="563"/>
                </a:lnTo>
                <a:lnTo>
                  <a:pt x="50" y="563"/>
                </a:lnTo>
                <a:lnTo>
                  <a:pt x="50" y="563"/>
                </a:lnTo>
                <a:lnTo>
                  <a:pt x="53" y="573"/>
                </a:lnTo>
                <a:lnTo>
                  <a:pt x="53" y="573"/>
                </a:lnTo>
                <a:lnTo>
                  <a:pt x="53" y="573"/>
                </a:lnTo>
                <a:lnTo>
                  <a:pt x="53" y="573"/>
                </a:lnTo>
                <a:lnTo>
                  <a:pt x="53" y="573"/>
                </a:lnTo>
                <a:lnTo>
                  <a:pt x="56" y="574"/>
                </a:lnTo>
                <a:lnTo>
                  <a:pt x="56" y="574"/>
                </a:lnTo>
                <a:lnTo>
                  <a:pt x="53" y="575"/>
                </a:lnTo>
                <a:lnTo>
                  <a:pt x="52" y="578"/>
                </a:lnTo>
                <a:lnTo>
                  <a:pt x="52" y="585"/>
                </a:lnTo>
                <a:lnTo>
                  <a:pt x="52" y="585"/>
                </a:lnTo>
                <a:lnTo>
                  <a:pt x="54" y="591"/>
                </a:lnTo>
                <a:lnTo>
                  <a:pt x="57" y="595"/>
                </a:lnTo>
                <a:lnTo>
                  <a:pt x="60" y="607"/>
                </a:lnTo>
                <a:lnTo>
                  <a:pt x="60" y="607"/>
                </a:lnTo>
                <a:lnTo>
                  <a:pt x="63" y="611"/>
                </a:lnTo>
                <a:lnTo>
                  <a:pt x="64" y="617"/>
                </a:lnTo>
                <a:lnTo>
                  <a:pt x="64" y="617"/>
                </a:lnTo>
                <a:lnTo>
                  <a:pt x="69" y="621"/>
                </a:lnTo>
                <a:lnTo>
                  <a:pt x="73" y="625"/>
                </a:lnTo>
                <a:lnTo>
                  <a:pt x="73" y="625"/>
                </a:lnTo>
                <a:lnTo>
                  <a:pt x="81" y="648"/>
                </a:lnTo>
                <a:lnTo>
                  <a:pt x="81" y="648"/>
                </a:lnTo>
                <a:lnTo>
                  <a:pt x="93" y="672"/>
                </a:lnTo>
                <a:lnTo>
                  <a:pt x="93" y="672"/>
                </a:lnTo>
                <a:lnTo>
                  <a:pt x="100" y="684"/>
                </a:lnTo>
                <a:lnTo>
                  <a:pt x="100" y="684"/>
                </a:lnTo>
                <a:lnTo>
                  <a:pt x="107" y="695"/>
                </a:lnTo>
                <a:lnTo>
                  <a:pt x="107" y="695"/>
                </a:lnTo>
                <a:lnTo>
                  <a:pt x="121" y="712"/>
                </a:lnTo>
                <a:lnTo>
                  <a:pt x="121" y="712"/>
                </a:lnTo>
                <a:lnTo>
                  <a:pt x="121" y="715"/>
                </a:lnTo>
                <a:lnTo>
                  <a:pt x="123" y="718"/>
                </a:lnTo>
                <a:lnTo>
                  <a:pt x="123" y="722"/>
                </a:lnTo>
                <a:lnTo>
                  <a:pt x="121" y="724"/>
                </a:lnTo>
                <a:lnTo>
                  <a:pt x="120" y="724"/>
                </a:lnTo>
                <a:lnTo>
                  <a:pt x="120" y="724"/>
                </a:lnTo>
                <a:lnTo>
                  <a:pt x="124" y="727"/>
                </a:lnTo>
                <a:lnTo>
                  <a:pt x="126" y="730"/>
                </a:lnTo>
                <a:lnTo>
                  <a:pt x="129" y="735"/>
                </a:lnTo>
                <a:lnTo>
                  <a:pt x="131" y="741"/>
                </a:lnTo>
                <a:lnTo>
                  <a:pt x="133" y="742"/>
                </a:lnTo>
                <a:lnTo>
                  <a:pt x="137" y="744"/>
                </a:lnTo>
                <a:lnTo>
                  <a:pt x="137" y="744"/>
                </a:lnTo>
                <a:lnTo>
                  <a:pt x="136" y="741"/>
                </a:lnTo>
                <a:lnTo>
                  <a:pt x="136" y="740"/>
                </a:lnTo>
                <a:lnTo>
                  <a:pt x="137" y="738"/>
                </a:lnTo>
                <a:lnTo>
                  <a:pt x="137" y="738"/>
                </a:lnTo>
                <a:lnTo>
                  <a:pt x="141" y="742"/>
                </a:lnTo>
                <a:lnTo>
                  <a:pt x="146" y="750"/>
                </a:lnTo>
                <a:lnTo>
                  <a:pt x="146" y="750"/>
                </a:lnTo>
                <a:lnTo>
                  <a:pt x="143" y="751"/>
                </a:lnTo>
                <a:lnTo>
                  <a:pt x="143" y="752"/>
                </a:lnTo>
                <a:lnTo>
                  <a:pt x="144" y="755"/>
                </a:lnTo>
                <a:lnTo>
                  <a:pt x="144" y="755"/>
                </a:lnTo>
                <a:lnTo>
                  <a:pt x="148" y="755"/>
                </a:lnTo>
                <a:lnTo>
                  <a:pt x="151" y="758"/>
                </a:lnTo>
                <a:lnTo>
                  <a:pt x="154" y="761"/>
                </a:lnTo>
                <a:lnTo>
                  <a:pt x="156" y="764"/>
                </a:lnTo>
                <a:lnTo>
                  <a:pt x="158" y="774"/>
                </a:lnTo>
                <a:lnTo>
                  <a:pt x="161" y="781"/>
                </a:lnTo>
                <a:lnTo>
                  <a:pt x="161" y="781"/>
                </a:lnTo>
                <a:lnTo>
                  <a:pt x="163" y="779"/>
                </a:lnTo>
                <a:lnTo>
                  <a:pt x="163" y="778"/>
                </a:lnTo>
                <a:lnTo>
                  <a:pt x="163" y="775"/>
                </a:lnTo>
                <a:lnTo>
                  <a:pt x="163" y="775"/>
                </a:lnTo>
                <a:lnTo>
                  <a:pt x="167" y="779"/>
                </a:lnTo>
                <a:lnTo>
                  <a:pt x="171" y="785"/>
                </a:lnTo>
                <a:lnTo>
                  <a:pt x="173" y="792"/>
                </a:lnTo>
                <a:lnTo>
                  <a:pt x="173" y="795"/>
                </a:lnTo>
                <a:lnTo>
                  <a:pt x="171" y="797"/>
                </a:lnTo>
                <a:lnTo>
                  <a:pt x="171" y="797"/>
                </a:lnTo>
                <a:lnTo>
                  <a:pt x="170" y="794"/>
                </a:lnTo>
                <a:lnTo>
                  <a:pt x="170" y="791"/>
                </a:lnTo>
                <a:lnTo>
                  <a:pt x="170" y="789"/>
                </a:lnTo>
                <a:lnTo>
                  <a:pt x="167" y="788"/>
                </a:lnTo>
                <a:lnTo>
                  <a:pt x="167" y="788"/>
                </a:lnTo>
                <a:lnTo>
                  <a:pt x="167" y="791"/>
                </a:lnTo>
                <a:lnTo>
                  <a:pt x="167" y="792"/>
                </a:lnTo>
                <a:lnTo>
                  <a:pt x="166" y="795"/>
                </a:lnTo>
                <a:lnTo>
                  <a:pt x="166" y="795"/>
                </a:lnTo>
                <a:lnTo>
                  <a:pt x="173" y="799"/>
                </a:lnTo>
                <a:lnTo>
                  <a:pt x="180" y="805"/>
                </a:lnTo>
                <a:lnTo>
                  <a:pt x="180" y="805"/>
                </a:lnTo>
                <a:lnTo>
                  <a:pt x="187" y="811"/>
                </a:lnTo>
                <a:lnTo>
                  <a:pt x="187" y="811"/>
                </a:lnTo>
                <a:lnTo>
                  <a:pt x="193" y="818"/>
                </a:lnTo>
                <a:lnTo>
                  <a:pt x="193" y="818"/>
                </a:lnTo>
                <a:lnTo>
                  <a:pt x="203" y="829"/>
                </a:lnTo>
                <a:lnTo>
                  <a:pt x="211" y="841"/>
                </a:lnTo>
                <a:lnTo>
                  <a:pt x="211" y="841"/>
                </a:lnTo>
                <a:lnTo>
                  <a:pt x="213" y="842"/>
                </a:lnTo>
                <a:lnTo>
                  <a:pt x="217" y="842"/>
                </a:lnTo>
                <a:lnTo>
                  <a:pt x="218" y="844"/>
                </a:lnTo>
                <a:lnTo>
                  <a:pt x="221" y="844"/>
                </a:lnTo>
                <a:lnTo>
                  <a:pt x="221" y="844"/>
                </a:lnTo>
                <a:lnTo>
                  <a:pt x="223" y="848"/>
                </a:lnTo>
                <a:lnTo>
                  <a:pt x="224" y="852"/>
                </a:lnTo>
                <a:lnTo>
                  <a:pt x="227" y="858"/>
                </a:lnTo>
                <a:lnTo>
                  <a:pt x="233" y="862"/>
                </a:lnTo>
                <a:lnTo>
                  <a:pt x="233" y="862"/>
                </a:lnTo>
                <a:lnTo>
                  <a:pt x="237" y="868"/>
                </a:lnTo>
                <a:lnTo>
                  <a:pt x="237" y="868"/>
                </a:lnTo>
                <a:lnTo>
                  <a:pt x="247" y="875"/>
                </a:lnTo>
                <a:lnTo>
                  <a:pt x="253" y="882"/>
                </a:lnTo>
                <a:lnTo>
                  <a:pt x="254" y="885"/>
                </a:lnTo>
                <a:lnTo>
                  <a:pt x="255" y="889"/>
                </a:lnTo>
                <a:lnTo>
                  <a:pt x="255" y="889"/>
                </a:lnTo>
                <a:lnTo>
                  <a:pt x="254" y="889"/>
                </a:lnTo>
                <a:lnTo>
                  <a:pt x="253" y="889"/>
                </a:lnTo>
                <a:lnTo>
                  <a:pt x="248" y="887"/>
                </a:lnTo>
                <a:lnTo>
                  <a:pt x="245" y="884"/>
                </a:lnTo>
                <a:lnTo>
                  <a:pt x="244" y="884"/>
                </a:lnTo>
                <a:lnTo>
                  <a:pt x="245" y="885"/>
                </a:lnTo>
                <a:lnTo>
                  <a:pt x="245" y="885"/>
                </a:lnTo>
                <a:lnTo>
                  <a:pt x="251" y="891"/>
                </a:lnTo>
                <a:lnTo>
                  <a:pt x="254" y="892"/>
                </a:lnTo>
                <a:lnTo>
                  <a:pt x="257" y="897"/>
                </a:lnTo>
                <a:lnTo>
                  <a:pt x="257" y="897"/>
                </a:lnTo>
                <a:lnTo>
                  <a:pt x="258" y="894"/>
                </a:lnTo>
                <a:lnTo>
                  <a:pt x="260" y="894"/>
                </a:lnTo>
                <a:lnTo>
                  <a:pt x="264" y="895"/>
                </a:lnTo>
                <a:lnTo>
                  <a:pt x="264" y="895"/>
                </a:lnTo>
                <a:lnTo>
                  <a:pt x="267" y="899"/>
                </a:lnTo>
                <a:lnTo>
                  <a:pt x="268" y="902"/>
                </a:lnTo>
                <a:lnTo>
                  <a:pt x="268" y="902"/>
                </a:lnTo>
                <a:lnTo>
                  <a:pt x="260" y="898"/>
                </a:lnTo>
                <a:lnTo>
                  <a:pt x="260" y="898"/>
                </a:lnTo>
                <a:lnTo>
                  <a:pt x="254" y="897"/>
                </a:lnTo>
                <a:lnTo>
                  <a:pt x="250" y="897"/>
                </a:lnTo>
                <a:lnTo>
                  <a:pt x="250" y="897"/>
                </a:lnTo>
                <a:lnTo>
                  <a:pt x="260" y="902"/>
                </a:lnTo>
                <a:lnTo>
                  <a:pt x="260" y="902"/>
                </a:lnTo>
                <a:lnTo>
                  <a:pt x="270" y="908"/>
                </a:lnTo>
                <a:lnTo>
                  <a:pt x="270" y="908"/>
                </a:lnTo>
                <a:lnTo>
                  <a:pt x="273" y="912"/>
                </a:lnTo>
                <a:lnTo>
                  <a:pt x="274" y="915"/>
                </a:lnTo>
                <a:lnTo>
                  <a:pt x="275" y="919"/>
                </a:lnTo>
                <a:lnTo>
                  <a:pt x="273" y="922"/>
                </a:lnTo>
                <a:lnTo>
                  <a:pt x="273" y="922"/>
                </a:lnTo>
                <a:lnTo>
                  <a:pt x="274" y="922"/>
                </a:lnTo>
                <a:lnTo>
                  <a:pt x="274" y="922"/>
                </a:lnTo>
                <a:lnTo>
                  <a:pt x="275" y="924"/>
                </a:lnTo>
                <a:lnTo>
                  <a:pt x="275" y="925"/>
                </a:lnTo>
                <a:lnTo>
                  <a:pt x="275" y="925"/>
                </a:lnTo>
                <a:lnTo>
                  <a:pt x="270" y="925"/>
                </a:lnTo>
                <a:lnTo>
                  <a:pt x="267" y="925"/>
                </a:lnTo>
                <a:lnTo>
                  <a:pt x="264" y="927"/>
                </a:lnTo>
                <a:lnTo>
                  <a:pt x="260" y="927"/>
                </a:lnTo>
                <a:lnTo>
                  <a:pt x="260" y="927"/>
                </a:lnTo>
                <a:lnTo>
                  <a:pt x="268" y="929"/>
                </a:lnTo>
                <a:lnTo>
                  <a:pt x="277" y="935"/>
                </a:lnTo>
                <a:lnTo>
                  <a:pt x="277" y="935"/>
                </a:lnTo>
                <a:lnTo>
                  <a:pt x="288" y="946"/>
                </a:lnTo>
                <a:lnTo>
                  <a:pt x="288" y="946"/>
                </a:lnTo>
                <a:lnTo>
                  <a:pt x="295" y="952"/>
                </a:lnTo>
                <a:lnTo>
                  <a:pt x="303" y="956"/>
                </a:lnTo>
                <a:lnTo>
                  <a:pt x="303" y="956"/>
                </a:lnTo>
                <a:lnTo>
                  <a:pt x="310" y="959"/>
                </a:lnTo>
                <a:lnTo>
                  <a:pt x="310" y="959"/>
                </a:lnTo>
                <a:lnTo>
                  <a:pt x="321" y="959"/>
                </a:lnTo>
                <a:lnTo>
                  <a:pt x="321" y="959"/>
                </a:lnTo>
                <a:lnTo>
                  <a:pt x="320" y="961"/>
                </a:lnTo>
                <a:lnTo>
                  <a:pt x="318" y="962"/>
                </a:lnTo>
                <a:lnTo>
                  <a:pt x="317" y="962"/>
                </a:lnTo>
                <a:lnTo>
                  <a:pt x="315" y="964"/>
                </a:lnTo>
                <a:lnTo>
                  <a:pt x="315" y="964"/>
                </a:lnTo>
                <a:lnTo>
                  <a:pt x="318" y="965"/>
                </a:lnTo>
                <a:lnTo>
                  <a:pt x="321" y="966"/>
                </a:lnTo>
                <a:lnTo>
                  <a:pt x="324" y="966"/>
                </a:lnTo>
                <a:lnTo>
                  <a:pt x="328" y="969"/>
                </a:lnTo>
                <a:lnTo>
                  <a:pt x="328" y="969"/>
                </a:lnTo>
                <a:lnTo>
                  <a:pt x="327" y="971"/>
                </a:lnTo>
                <a:lnTo>
                  <a:pt x="327" y="972"/>
                </a:lnTo>
                <a:lnTo>
                  <a:pt x="327" y="974"/>
                </a:lnTo>
                <a:lnTo>
                  <a:pt x="327" y="976"/>
                </a:lnTo>
                <a:lnTo>
                  <a:pt x="327" y="976"/>
                </a:lnTo>
                <a:lnTo>
                  <a:pt x="334" y="979"/>
                </a:lnTo>
                <a:lnTo>
                  <a:pt x="337" y="981"/>
                </a:lnTo>
                <a:lnTo>
                  <a:pt x="340" y="981"/>
                </a:lnTo>
                <a:lnTo>
                  <a:pt x="340" y="981"/>
                </a:lnTo>
                <a:lnTo>
                  <a:pt x="335" y="978"/>
                </a:lnTo>
                <a:lnTo>
                  <a:pt x="332" y="974"/>
                </a:lnTo>
                <a:lnTo>
                  <a:pt x="332" y="971"/>
                </a:lnTo>
                <a:lnTo>
                  <a:pt x="332" y="966"/>
                </a:lnTo>
                <a:lnTo>
                  <a:pt x="332" y="966"/>
                </a:lnTo>
                <a:lnTo>
                  <a:pt x="340" y="972"/>
                </a:lnTo>
                <a:lnTo>
                  <a:pt x="347" y="975"/>
                </a:lnTo>
                <a:lnTo>
                  <a:pt x="347" y="975"/>
                </a:lnTo>
                <a:lnTo>
                  <a:pt x="352" y="979"/>
                </a:lnTo>
                <a:lnTo>
                  <a:pt x="355" y="982"/>
                </a:lnTo>
                <a:lnTo>
                  <a:pt x="357" y="986"/>
                </a:lnTo>
                <a:lnTo>
                  <a:pt x="357" y="986"/>
                </a:lnTo>
                <a:lnTo>
                  <a:pt x="354" y="984"/>
                </a:lnTo>
                <a:lnTo>
                  <a:pt x="351" y="984"/>
                </a:lnTo>
                <a:lnTo>
                  <a:pt x="347" y="984"/>
                </a:lnTo>
                <a:lnTo>
                  <a:pt x="344" y="982"/>
                </a:lnTo>
                <a:lnTo>
                  <a:pt x="344" y="982"/>
                </a:lnTo>
                <a:lnTo>
                  <a:pt x="342" y="988"/>
                </a:lnTo>
                <a:lnTo>
                  <a:pt x="342" y="991"/>
                </a:lnTo>
                <a:lnTo>
                  <a:pt x="345" y="994"/>
                </a:lnTo>
                <a:lnTo>
                  <a:pt x="345" y="994"/>
                </a:lnTo>
                <a:lnTo>
                  <a:pt x="347" y="991"/>
                </a:lnTo>
                <a:lnTo>
                  <a:pt x="348" y="989"/>
                </a:lnTo>
                <a:lnTo>
                  <a:pt x="351" y="989"/>
                </a:lnTo>
                <a:lnTo>
                  <a:pt x="351" y="989"/>
                </a:lnTo>
                <a:lnTo>
                  <a:pt x="350" y="992"/>
                </a:lnTo>
                <a:lnTo>
                  <a:pt x="351" y="995"/>
                </a:lnTo>
                <a:lnTo>
                  <a:pt x="358" y="1004"/>
                </a:lnTo>
                <a:lnTo>
                  <a:pt x="358" y="1004"/>
                </a:lnTo>
                <a:lnTo>
                  <a:pt x="367" y="1011"/>
                </a:lnTo>
                <a:lnTo>
                  <a:pt x="367" y="1011"/>
                </a:lnTo>
                <a:lnTo>
                  <a:pt x="377" y="1016"/>
                </a:lnTo>
                <a:lnTo>
                  <a:pt x="377" y="1016"/>
                </a:lnTo>
                <a:lnTo>
                  <a:pt x="378" y="1014"/>
                </a:lnTo>
                <a:lnTo>
                  <a:pt x="377" y="1011"/>
                </a:lnTo>
                <a:lnTo>
                  <a:pt x="377" y="1009"/>
                </a:lnTo>
                <a:lnTo>
                  <a:pt x="377" y="1006"/>
                </a:lnTo>
                <a:lnTo>
                  <a:pt x="377" y="1006"/>
                </a:lnTo>
                <a:lnTo>
                  <a:pt x="381" y="1011"/>
                </a:lnTo>
                <a:lnTo>
                  <a:pt x="387" y="1014"/>
                </a:lnTo>
                <a:lnTo>
                  <a:pt x="387" y="1014"/>
                </a:lnTo>
                <a:lnTo>
                  <a:pt x="384" y="1015"/>
                </a:lnTo>
                <a:lnTo>
                  <a:pt x="382" y="1015"/>
                </a:lnTo>
                <a:lnTo>
                  <a:pt x="381" y="1021"/>
                </a:lnTo>
                <a:lnTo>
                  <a:pt x="381" y="1021"/>
                </a:lnTo>
                <a:lnTo>
                  <a:pt x="384" y="1022"/>
                </a:lnTo>
                <a:lnTo>
                  <a:pt x="385" y="1021"/>
                </a:lnTo>
                <a:lnTo>
                  <a:pt x="387" y="1021"/>
                </a:lnTo>
                <a:lnTo>
                  <a:pt x="390" y="1021"/>
                </a:lnTo>
                <a:lnTo>
                  <a:pt x="390" y="1021"/>
                </a:lnTo>
                <a:lnTo>
                  <a:pt x="390" y="1022"/>
                </a:lnTo>
                <a:lnTo>
                  <a:pt x="390" y="1024"/>
                </a:lnTo>
                <a:lnTo>
                  <a:pt x="392" y="1028"/>
                </a:lnTo>
                <a:lnTo>
                  <a:pt x="395" y="1031"/>
                </a:lnTo>
                <a:lnTo>
                  <a:pt x="397" y="1032"/>
                </a:lnTo>
                <a:lnTo>
                  <a:pt x="397" y="1034"/>
                </a:lnTo>
                <a:lnTo>
                  <a:pt x="397" y="1034"/>
                </a:lnTo>
                <a:lnTo>
                  <a:pt x="402" y="1034"/>
                </a:lnTo>
                <a:lnTo>
                  <a:pt x="405" y="1036"/>
                </a:lnTo>
                <a:lnTo>
                  <a:pt x="405" y="1036"/>
                </a:lnTo>
                <a:lnTo>
                  <a:pt x="405" y="1038"/>
                </a:lnTo>
                <a:lnTo>
                  <a:pt x="404" y="1041"/>
                </a:lnTo>
                <a:lnTo>
                  <a:pt x="404" y="1041"/>
                </a:lnTo>
                <a:lnTo>
                  <a:pt x="414" y="1042"/>
                </a:lnTo>
                <a:lnTo>
                  <a:pt x="417" y="1042"/>
                </a:lnTo>
                <a:lnTo>
                  <a:pt x="422" y="1041"/>
                </a:lnTo>
                <a:lnTo>
                  <a:pt x="422" y="1041"/>
                </a:lnTo>
                <a:lnTo>
                  <a:pt x="422" y="1044"/>
                </a:lnTo>
                <a:lnTo>
                  <a:pt x="422" y="1044"/>
                </a:lnTo>
                <a:lnTo>
                  <a:pt x="421" y="1045"/>
                </a:lnTo>
                <a:lnTo>
                  <a:pt x="420" y="1046"/>
                </a:lnTo>
                <a:lnTo>
                  <a:pt x="420" y="1046"/>
                </a:lnTo>
                <a:lnTo>
                  <a:pt x="427" y="1049"/>
                </a:lnTo>
                <a:lnTo>
                  <a:pt x="431" y="1055"/>
                </a:lnTo>
                <a:lnTo>
                  <a:pt x="431" y="1055"/>
                </a:lnTo>
                <a:lnTo>
                  <a:pt x="437" y="1054"/>
                </a:lnTo>
                <a:lnTo>
                  <a:pt x="441" y="1052"/>
                </a:lnTo>
                <a:lnTo>
                  <a:pt x="441" y="1052"/>
                </a:lnTo>
                <a:lnTo>
                  <a:pt x="442" y="1055"/>
                </a:lnTo>
                <a:lnTo>
                  <a:pt x="444" y="1056"/>
                </a:lnTo>
                <a:lnTo>
                  <a:pt x="444" y="1056"/>
                </a:lnTo>
                <a:lnTo>
                  <a:pt x="441" y="1058"/>
                </a:lnTo>
                <a:lnTo>
                  <a:pt x="441" y="1058"/>
                </a:lnTo>
                <a:lnTo>
                  <a:pt x="448" y="1061"/>
                </a:lnTo>
                <a:lnTo>
                  <a:pt x="454" y="1062"/>
                </a:lnTo>
                <a:lnTo>
                  <a:pt x="459" y="1062"/>
                </a:lnTo>
                <a:lnTo>
                  <a:pt x="465" y="1062"/>
                </a:lnTo>
                <a:lnTo>
                  <a:pt x="465" y="1062"/>
                </a:lnTo>
                <a:lnTo>
                  <a:pt x="475" y="1061"/>
                </a:lnTo>
                <a:lnTo>
                  <a:pt x="475" y="1061"/>
                </a:lnTo>
                <a:lnTo>
                  <a:pt x="478" y="1061"/>
                </a:lnTo>
                <a:lnTo>
                  <a:pt x="482" y="1064"/>
                </a:lnTo>
                <a:lnTo>
                  <a:pt x="482" y="1064"/>
                </a:lnTo>
                <a:lnTo>
                  <a:pt x="484" y="1059"/>
                </a:lnTo>
                <a:lnTo>
                  <a:pt x="487" y="1058"/>
                </a:lnTo>
                <a:lnTo>
                  <a:pt x="488" y="1058"/>
                </a:lnTo>
                <a:lnTo>
                  <a:pt x="491" y="1058"/>
                </a:lnTo>
                <a:lnTo>
                  <a:pt x="495" y="1062"/>
                </a:lnTo>
                <a:lnTo>
                  <a:pt x="499" y="1066"/>
                </a:lnTo>
                <a:lnTo>
                  <a:pt x="499" y="1066"/>
                </a:lnTo>
                <a:lnTo>
                  <a:pt x="501" y="1064"/>
                </a:lnTo>
                <a:lnTo>
                  <a:pt x="501" y="1062"/>
                </a:lnTo>
                <a:lnTo>
                  <a:pt x="499" y="1061"/>
                </a:lnTo>
                <a:lnTo>
                  <a:pt x="502" y="1061"/>
                </a:lnTo>
                <a:lnTo>
                  <a:pt x="502" y="1061"/>
                </a:lnTo>
                <a:lnTo>
                  <a:pt x="505" y="1064"/>
                </a:lnTo>
                <a:lnTo>
                  <a:pt x="508" y="1065"/>
                </a:lnTo>
                <a:lnTo>
                  <a:pt x="518" y="1068"/>
                </a:lnTo>
                <a:lnTo>
                  <a:pt x="518" y="1068"/>
                </a:lnTo>
                <a:lnTo>
                  <a:pt x="516" y="1071"/>
                </a:lnTo>
                <a:lnTo>
                  <a:pt x="515" y="1072"/>
                </a:lnTo>
                <a:lnTo>
                  <a:pt x="514" y="1074"/>
                </a:lnTo>
                <a:lnTo>
                  <a:pt x="512" y="1074"/>
                </a:lnTo>
                <a:lnTo>
                  <a:pt x="512" y="1074"/>
                </a:lnTo>
                <a:lnTo>
                  <a:pt x="515" y="1075"/>
                </a:lnTo>
                <a:lnTo>
                  <a:pt x="518" y="1075"/>
                </a:lnTo>
                <a:lnTo>
                  <a:pt x="521" y="1076"/>
                </a:lnTo>
                <a:lnTo>
                  <a:pt x="524" y="1076"/>
                </a:lnTo>
                <a:lnTo>
                  <a:pt x="524" y="1076"/>
                </a:lnTo>
                <a:lnTo>
                  <a:pt x="521" y="1074"/>
                </a:lnTo>
                <a:lnTo>
                  <a:pt x="519" y="1071"/>
                </a:lnTo>
                <a:lnTo>
                  <a:pt x="519" y="1071"/>
                </a:lnTo>
                <a:lnTo>
                  <a:pt x="525" y="1071"/>
                </a:lnTo>
                <a:lnTo>
                  <a:pt x="528" y="1071"/>
                </a:lnTo>
                <a:lnTo>
                  <a:pt x="531" y="1072"/>
                </a:lnTo>
                <a:lnTo>
                  <a:pt x="531" y="1072"/>
                </a:lnTo>
                <a:lnTo>
                  <a:pt x="529" y="1076"/>
                </a:lnTo>
                <a:lnTo>
                  <a:pt x="529" y="1076"/>
                </a:lnTo>
                <a:lnTo>
                  <a:pt x="536" y="1076"/>
                </a:lnTo>
                <a:lnTo>
                  <a:pt x="544" y="1078"/>
                </a:lnTo>
                <a:lnTo>
                  <a:pt x="544" y="1078"/>
                </a:lnTo>
                <a:lnTo>
                  <a:pt x="551" y="1079"/>
                </a:lnTo>
                <a:lnTo>
                  <a:pt x="551" y="1079"/>
                </a:lnTo>
                <a:lnTo>
                  <a:pt x="556" y="1081"/>
                </a:lnTo>
                <a:lnTo>
                  <a:pt x="556" y="1081"/>
                </a:lnTo>
                <a:lnTo>
                  <a:pt x="568" y="1084"/>
                </a:lnTo>
                <a:lnTo>
                  <a:pt x="574" y="1084"/>
                </a:lnTo>
                <a:lnTo>
                  <a:pt x="576" y="1084"/>
                </a:lnTo>
                <a:lnTo>
                  <a:pt x="576" y="1084"/>
                </a:lnTo>
                <a:lnTo>
                  <a:pt x="581" y="1084"/>
                </a:lnTo>
                <a:lnTo>
                  <a:pt x="581" y="1086"/>
                </a:lnTo>
                <a:lnTo>
                  <a:pt x="582" y="1088"/>
                </a:lnTo>
                <a:lnTo>
                  <a:pt x="584" y="1089"/>
                </a:lnTo>
                <a:lnTo>
                  <a:pt x="584" y="1089"/>
                </a:lnTo>
                <a:lnTo>
                  <a:pt x="584" y="1086"/>
                </a:lnTo>
                <a:lnTo>
                  <a:pt x="582" y="1085"/>
                </a:lnTo>
                <a:lnTo>
                  <a:pt x="582" y="1085"/>
                </a:lnTo>
                <a:lnTo>
                  <a:pt x="585" y="1085"/>
                </a:lnTo>
                <a:lnTo>
                  <a:pt x="589" y="1085"/>
                </a:lnTo>
                <a:lnTo>
                  <a:pt x="589" y="1085"/>
                </a:lnTo>
                <a:lnTo>
                  <a:pt x="596" y="1089"/>
                </a:lnTo>
                <a:lnTo>
                  <a:pt x="596" y="1089"/>
                </a:lnTo>
                <a:lnTo>
                  <a:pt x="601" y="1092"/>
                </a:lnTo>
                <a:lnTo>
                  <a:pt x="598" y="1088"/>
                </a:lnTo>
                <a:lnTo>
                  <a:pt x="598" y="1088"/>
                </a:lnTo>
                <a:lnTo>
                  <a:pt x="604" y="1091"/>
                </a:lnTo>
                <a:lnTo>
                  <a:pt x="606" y="1093"/>
                </a:lnTo>
                <a:lnTo>
                  <a:pt x="611" y="1095"/>
                </a:lnTo>
                <a:lnTo>
                  <a:pt x="613" y="1095"/>
                </a:lnTo>
                <a:lnTo>
                  <a:pt x="613" y="1095"/>
                </a:lnTo>
                <a:lnTo>
                  <a:pt x="612" y="1093"/>
                </a:lnTo>
                <a:lnTo>
                  <a:pt x="611" y="1092"/>
                </a:lnTo>
                <a:lnTo>
                  <a:pt x="612" y="1091"/>
                </a:lnTo>
                <a:lnTo>
                  <a:pt x="615" y="1091"/>
                </a:lnTo>
                <a:lnTo>
                  <a:pt x="615" y="1091"/>
                </a:lnTo>
                <a:lnTo>
                  <a:pt x="613" y="1092"/>
                </a:lnTo>
                <a:lnTo>
                  <a:pt x="613" y="1093"/>
                </a:lnTo>
                <a:lnTo>
                  <a:pt x="615" y="1095"/>
                </a:lnTo>
                <a:lnTo>
                  <a:pt x="618" y="1096"/>
                </a:lnTo>
                <a:lnTo>
                  <a:pt x="618" y="1096"/>
                </a:lnTo>
                <a:lnTo>
                  <a:pt x="621" y="1095"/>
                </a:lnTo>
                <a:lnTo>
                  <a:pt x="622" y="1093"/>
                </a:lnTo>
                <a:lnTo>
                  <a:pt x="629" y="1093"/>
                </a:lnTo>
                <a:lnTo>
                  <a:pt x="629" y="1093"/>
                </a:lnTo>
                <a:lnTo>
                  <a:pt x="628" y="1095"/>
                </a:lnTo>
                <a:lnTo>
                  <a:pt x="628" y="1095"/>
                </a:lnTo>
                <a:lnTo>
                  <a:pt x="631" y="1096"/>
                </a:lnTo>
                <a:lnTo>
                  <a:pt x="639" y="1096"/>
                </a:lnTo>
                <a:lnTo>
                  <a:pt x="639" y="1096"/>
                </a:lnTo>
                <a:lnTo>
                  <a:pt x="638" y="1096"/>
                </a:lnTo>
                <a:lnTo>
                  <a:pt x="636" y="1095"/>
                </a:lnTo>
                <a:lnTo>
                  <a:pt x="636" y="1095"/>
                </a:lnTo>
                <a:lnTo>
                  <a:pt x="645" y="1095"/>
                </a:lnTo>
                <a:lnTo>
                  <a:pt x="651" y="1095"/>
                </a:lnTo>
                <a:lnTo>
                  <a:pt x="653" y="1098"/>
                </a:lnTo>
                <a:lnTo>
                  <a:pt x="653" y="1098"/>
                </a:lnTo>
                <a:lnTo>
                  <a:pt x="652" y="1099"/>
                </a:lnTo>
                <a:lnTo>
                  <a:pt x="649" y="1098"/>
                </a:lnTo>
                <a:lnTo>
                  <a:pt x="646" y="1098"/>
                </a:lnTo>
                <a:lnTo>
                  <a:pt x="645" y="1099"/>
                </a:lnTo>
                <a:lnTo>
                  <a:pt x="645" y="1099"/>
                </a:lnTo>
                <a:lnTo>
                  <a:pt x="649" y="1101"/>
                </a:lnTo>
                <a:lnTo>
                  <a:pt x="653" y="1101"/>
                </a:lnTo>
                <a:lnTo>
                  <a:pt x="656" y="1099"/>
                </a:lnTo>
                <a:lnTo>
                  <a:pt x="661" y="1099"/>
                </a:lnTo>
                <a:lnTo>
                  <a:pt x="661" y="1099"/>
                </a:lnTo>
                <a:lnTo>
                  <a:pt x="662" y="1102"/>
                </a:lnTo>
                <a:lnTo>
                  <a:pt x="665" y="1103"/>
                </a:lnTo>
                <a:lnTo>
                  <a:pt x="672" y="1102"/>
                </a:lnTo>
                <a:lnTo>
                  <a:pt x="672" y="1102"/>
                </a:lnTo>
                <a:lnTo>
                  <a:pt x="676" y="1102"/>
                </a:lnTo>
                <a:lnTo>
                  <a:pt x="679" y="1102"/>
                </a:lnTo>
                <a:lnTo>
                  <a:pt x="681" y="1103"/>
                </a:lnTo>
                <a:lnTo>
                  <a:pt x="682" y="1106"/>
                </a:lnTo>
                <a:lnTo>
                  <a:pt x="682" y="1106"/>
                </a:lnTo>
                <a:lnTo>
                  <a:pt x="676" y="1105"/>
                </a:lnTo>
                <a:lnTo>
                  <a:pt x="672" y="1105"/>
                </a:lnTo>
                <a:lnTo>
                  <a:pt x="662" y="1108"/>
                </a:lnTo>
                <a:lnTo>
                  <a:pt x="662" y="1108"/>
                </a:lnTo>
                <a:lnTo>
                  <a:pt x="658" y="1108"/>
                </a:lnTo>
                <a:lnTo>
                  <a:pt x="653" y="1109"/>
                </a:lnTo>
                <a:lnTo>
                  <a:pt x="649" y="1106"/>
                </a:lnTo>
                <a:lnTo>
                  <a:pt x="646" y="1103"/>
                </a:lnTo>
                <a:lnTo>
                  <a:pt x="646" y="1103"/>
                </a:lnTo>
                <a:lnTo>
                  <a:pt x="646" y="1106"/>
                </a:lnTo>
                <a:lnTo>
                  <a:pt x="645" y="1108"/>
                </a:lnTo>
                <a:lnTo>
                  <a:pt x="641" y="1108"/>
                </a:lnTo>
                <a:lnTo>
                  <a:pt x="636" y="1106"/>
                </a:lnTo>
                <a:lnTo>
                  <a:pt x="631" y="1106"/>
                </a:lnTo>
                <a:lnTo>
                  <a:pt x="631" y="1106"/>
                </a:lnTo>
                <a:lnTo>
                  <a:pt x="631" y="1109"/>
                </a:lnTo>
                <a:lnTo>
                  <a:pt x="629" y="1111"/>
                </a:lnTo>
                <a:lnTo>
                  <a:pt x="626" y="1111"/>
                </a:lnTo>
                <a:lnTo>
                  <a:pt x="625" y="1112"/>
                </a:lnTo>
                <a:lnTo>
                  <a:pt x="625" y="1112"/>
                </a:lnTo>
                <a:lnTo>
                  <a:pt x="629" y="1113"/>
                </a:lnTo>
                <a:lnTo>
                  <a:pt x="632" y="1112"/>
                </a:lnTo>
                <a:lnTo>
                  <a:pt x="632" y="1112"/>
                </a:lnTo>
                <a:lnTo>
                  <a:pt x="633" y="1111"/>
                </a:lnTo>
                <a:lnTo>
                  <a:pt x="633" y="1111"/>
                </a:lnTo>
                <a:lnTo>
                  <a:pt x="638" y="1112"/>
                </a:lnTo>
                <a:lnTo>
                  <a:pt x="639" y="1113"/>
                </a:lnTo>
                <a:lnTo>
                  <a:pt x="639" y="1116"/>
                </a:lnTo>
                <a:lnTo>
                  <a:pt x="639" y="1116"/>
                </a:lnTo>
                <a:lnTo>
                  <a:pt x="635" y="1116"/>
                </a:lnTo>
                <a:lnTo>
                  <a:pt x="633" y="1116"/>
                </a:lnTo>
                <a:lnTo>
                  <a:pt x="632" y="1116"/>
                </a:lnTo>
                <a:lnTo>
                  <a:pt x="632" y="1116"/>
                </a:lnTo>
                <a:lnTo>
                  <a:pt x="638" y="1118"/>
                </a:lnTo>
                <a:lnTo>
                  <a:pt x="642" y="1119"/>
                </a:lnTo>
                <a:lnTo>
                  <a:pt x="643" y="1121"/>
                </a:lnTo>
                <a:lnTo>
                  <a:pt x="645" y="1123"/>
                </a:lnTo>
                <a:lnTo>
                  <a:pt x="645" y="1123"/>
                </a:lnTo>
                <a:lnTo>
                  <a:pt x="653" y="1123"/>
                </a:lnTo>
                <a:lnTo>
                  <a:pt x="661" y="1125"/>
                </a:lnTo>
                <a:lnTo>
                  <a:pt x="661" y="1125"/>
                </a:lnTo>
                <a:lnTo>
                  <a:pt x="672" y="1126"/>
                </a:lnTo>
                <a:lnTo>
                  <a:pt x="685" y="1128"/>
                </a:lnTo>
                <a:lnTo>
                  <a:pt x="685" y="1128"/>
                </a:lnTo>
                <a:lnTo>
                  <a:pt x="688" y="1126"/>
                </a:lnTo>
                <a:lnTo>
                  <a:pt x="686" y="1125"/>
                </a:lnTo>
                <a:lnTo>
                  <a:pt x="688" y="1123"/>
                </a:lnTo>
                <a:lnTo>
                  <a:pt x="691" y="1122"/>
                </a:lnTo>
                <a:lnTo>
                  <a:pt x="691" y="1122"/>
                </a:lnTo>
                <a:lnTo>
                  <a:pt x="699" y="1125"/>
                </a:lnTo>
                <a:lnTo>
                  <a:pt x="699" y="1125"/>
                </a:lnTo>
                <a:lnTo>
                  <a:pt x="709" y="1126"/>
                </a:lnTo>
                <a:lnTo>
                  <a:pt x="709" y="1126"/>
                </a:lnTo>
                <a:lnTo>
                  <a:pt x="718" y="1126"/>
                </a:lnTo>
                <a:lnTo>
                  <a:pt x="728" y="1125"/>
                </a:lnTo>
                <a:lnTo>
                  <a:pt x="728" y="1125"/>
                </a:lnTo>
                <a:lnTo>
                  <a:pt x="745" y="1123"/>
                </a:lnTo>
                <a:lnTo>
                  <a:pt x="752" y="1123"/>
                </a:lnTo>
                <a:lnTo>
                  <a:pt x="760" y="1123"/>
                </a:lnTo>
                <a:lnTo>
                  <a:pt x="760" y="1123"/>
                </a:lnTo>
                <a:lnTo>
                  <a:pt x="762" y="1121"/>
                </a:lnTo>
                <a:lnTo>
                  <a:pt x="762" y="1118"/>
                </a:lnTo>
                <a:lnTo>
                  <a:pt x="762" y="1115"/>
                </a:lnTo>
                <a:lnTo>
                  <a:pt x="766" y="1115"/>
                </a:lnTo>
                <a:lnTo>
                  <a:pt x="766" y="1115"/>
                </a:lnTo>
                <a:lnTo>
                  <a:pt x="769" y="1116"/>
                </a:lnTo>
                <a:lnTo>
                  <a:pt x="769" y="1119"/>
                </a:lnTo>
                <a:lnTo>
                  <a:pt x="768" y="1125"/>
                </a:lnTo>
                <a:lnTo>
                  <a:pt x="768" y="1125"/>
                </a:lnTo>
                <a:lnTo>
                  <a:pt x="775" y="1123"/>
                </a:lnTo>
                <a:lnTo>
                  <a:pt x="780" y="1122"/>
                </a:lnTo>
                <a:lnTo>
                  <a:pt x="780" y="1122"/>
                </a:lnTo>
                <a:lnTo>
                  <a:pt x="793" y="1123"/>
                </a:lnTo>
                <a:lnTo>
                  <a:pt x="793" y="1123"/>
                </a:lnTo>
                <a:lnTo>
                  <a:pt x="805" y="1125"/>
                </a:lnTo>
                <a:lnTo>
                  <a:pt x="810" y="1126"/>
                </a:lnTo>
                <a:lnTo>
                  <a:pt x="817" y="1125"/>
                </a:lnTo>
                <a:lnTo>
                  <a:pt x="817" y="1125"/>
                </a:lnTo>
                <a:lnTo>
                  <a:pt x="822" y="1121"/>
                </a:lnTo>
                <a:lnTo>
                  <a:pt x="827" y="1119"/>
                </a:lnTo>
                <a:lnTo>
                  <a:pt x="833" y="1118"/>
                </a:lnTo>
                <a:lnTo>
                  <a:pt x="840" y="1118"/>
                </a:lnTo>
                <a:lnTo>
                  <a:pt x="840" y="1118"/>
                </a:lnTo>
                <a:lnTo>
                  <a:pt x="855" y="1116"/>
                </a:lnTo>
                <a:lnTo>
                  <a:pt x="860" y="1115"/>
                </a:lnTo>
                <a:lnTo>
                  <a:pt x="865" y="1111"/>
                </a:lnTo>
                <a:lnTo>
                  <a:pt x="865" y="1111"/>
                </a:lnTo>
                <a:lnTo>
                  <a:pt x="857" y="1112"/>
                </a:lnTo>
                <a:lnTo>
                  <a:pt x="850" y="1113"/>
                </a:lnTo>
                <a:lnTo>
                  <a:pt x="850" y="1113"/>
                </a:lnTo>
                <a:lnTo>
                  <a:pt x="845" y="1112"/>
                </a:lnTo>
                <a:lnTo>
                  <a:pt x="839" y="1109"/>
                </a:lnTo>
                <a:lnTo>
                  <a:pt x="839" y="1109"/>
                </a:lnTo>
                <a:lnTo>
                  <a:pt x="846" y="1106"/>
                </a:lnTo>
                <a:lnTo>
                  <a:pt x="856" y="1103"/>
                </a:lnTo>
                <a:lnTo>
                  <a:pt x="856" y="1103"/>
                </a:lnTo>
                <a:lnTo>
                  <a:pt x="860" y="1103"/>
                </a:lnTo>
                <a:lnTo>
                  <a:pt x="865" y="1105"/>
                </a:lnTo>
                <a:lnTo>
                  <a:pt x="866" y="1108"/>
                </a:lnTo>
                <a:lnTo>
                  <a:pt x="867" y="1111"/>
                </a:lnTo>
                <a:lnTo>
                  <a:pt x="867" y="1111"/>
                </a:lnTo>
                <a:lnTo>
                  <a:pt x="870" y="1109"/>
                </a:lnTo>
                <a:lnTo>
                  <a:pt x="875" y="1108"/>
                </a:lnTo>
                <a:lnTo>
                  <a:pt x="882" y="1109"/>
                </a:lnTo>
                <a:lnTo>
                  <a:pt x="886" y="1109"/>
                </a:lnTo>
                <a:lnTo>
                  <a:pt x="889" y="1108"/>
                </a:lnTo>
                <a:lnTo>
                  <a:pt x="890" y="1105"/>
                </a:lnTo>
                <a:lnTo>
                  <a:pt x="890" y="1105"/>
                </a:lnTo>
                <a:lnTo>
                  <a:pt x="892" y="1108"/>
                </a:lnTo>
                <a:lnTo>
                  <a:pt x="896" y="1109"/>
                </a:lnTo>
                <a:lnTo>
                  <a:pt x="900" y="1111"/>
                </a:lnTo>
                <a:lnTo>
                  <a:pt x="906" y="1111"/>
                </a:lnTo>
                <a:lnTo>
                  <a:pt x="906" y="1111"/>
                </a:lnTo>
                <a:lnTo>
                  <a:pt x="917" y="1109"/>
                </a:lnTo>
                <a:lnTo>
                  <a:pt x="927" y="1105"/>
                </a:lnTo>
                <a:lnTo>
                  <a:pt x="927" y="1105"/>
                </a:lnTo>
                <a:lnTo>
                  <a:pt x="927" y="1105"/>
                </a:lnTo>
                <a:lnTo>
                  <a:pt x="929" y="1106"/>
                </a:lnTo>
                <a:lnTo>
                  <a:pt x="936" y="1105"/>
                </a:lnTo>
                <a:lnTo>
                  <a:pt x="936" y="1105"/>
                </a:lnTo>
                <a:lnTo>
                  <a:pt x="976" y="1095"/>
                </a:lnTo>
                <a:lnTo>
                  <a:pt x="977" y="1095"/>
                </a:lnTo>
                <a:lnTo>
                  <a:pt x="979" y="1095"/>
                </a:lnTo>
                <a:lnTo>
                  <a:pt x="983" y="1093"/>
                </a:lnTo>
                <a:lnTo>
                  <a:pt x="983" y="1093"/>
                </a:lnTo>
                <a:lnTo>
                  <a:pt x="989" y="1092"/>
                </a:lnTo>
                <a:lnTo>
                  <a:pt x="989" y="1092"/>
                </a:lnTo>
                <a:lnTo>
                  <a:pt x="1001" y="1086"/>
                </a:lnTo>
                <a:lnTo>
                  <a:pt x="1001" y="1086"/>
                </a:lnTo>
                <a:lnTo>
                  <a:pt x="1013" y="1082"/>
                </a:lnTo>
                <a:lnTo>
                  <a:pt x="1023" y="1076"/>
                </a:lnTo>
                <a:lnTo>
                  <a:pt x="1023" y="1076"/>
                </a:lnTo>
                <a:lnTo>
                  <a:pt x="1024" y="1079"/>
                </a:lnTo>
                <a:lnTo>
                  <a:pt x="1024" y="1079"/>
                </a:lnTo>
                <a:lnTo>
                  <a:pt x="1027" y="1081"/>
                </a:lnTo>
                <a:lnTo>
                  <a:pt x="1027" y="1081"/>
                </a:lnTo>
                <a:lnTo>
                  <a:pt x="1027" y="1079"/>
                </a:lnTo>
                <a:lnTo>
                  <a:pt x="1027" y="1079"/>
                </a:lnTo>
                <a:lnTo>
                  <a:pt x="1026" y="1075"/>
                </a:lnTo>
                <a:lnTo>
                  <a:pt x="1027" y="1072"/>
                </a:lnTo>
                <a:lnTo>
                  <a:pt x="1029" y="1072"/>
                </a:lnTo>
                <a:lnTo>
                  <a:pt x="1029" y="1072"/>
                </a:lnTo>
                <a:lnTo>
                  <a:pt x="1029" y="1074"/>
                </a:lnTo>
                <a:lnTo>
                  <a:pt x="1029" y="1075"/>
                </a:lnTo>
                <a:lnTo>
                  <a:pt x="1029" y="1076"/>
                </a:lnTo>
                <a:lnTo>
                  <a:pt x="1030" y="1075"/>
                </a:lnTo>
                <a:lnTo>
                  <a:pt x="1030" y="1075"/>
                </a:lnTo>
                <a:lnTo>
                  <a:pt x="1031" y="1072"/>
                </a:lnTo>
                <a:lnTo>
                  <a:pt x="1033" y="1072"/>
                </a:lnTo>
                <a:lnTo>
                  <a:pt x="1034" y="1072"/>
                </a:lnTo>
                <a:lnTo>
                  <a:pt x="1034" y="1072"/>
                </a:lnTo>
                <a:lnTo>
                  <a:pt x="1034" y="1071"/>
                </a:lnTo>
                <a:lnTo>
                  <a:pt x="1034" y="1069"/>
                </a:lnTo>
                <a:lnTo>
                  <a:pt x="1033" y="1069"/>
                </a:lnTo>
                <a:lnTo>
                  <a:pt x="1034" y="1068"/>
                </a:lnTo>
                <a:lnTo>
                  <a:pt x="1034" y="1068"/>
                </a:lnTo>
                <a:lnTo>
                  <a:pt x="1037" y="1068"/>
                </a:lnTo>
                <a:lnTo>
                  <a:pt x="1039" y="1069"/>
                </a:lnTo>
                <a:lnTo>
                  <a:pt x="1039" y="1069"/>
                </a:lnTo>
                <a:lnTo>
                  <a:pt x="1039" y="1071"/>
                </a:lnTo>
                <a:lnTo>
                  <a:pt x="1039" y="1072"/>
                </a:lnTo>
                <a:lnTo>
                  <a:pt x="1037" y="1072"/>
                </a:lnTo>
                <a:lnTo>
                  <a:pt x="1039" y="1075"/>
                </a:lnTo>
                <a:lnTo>
                  <a:pt x="1039" y="1075"/>
                </a:lnTo>
                <a:lnTo>
                  <a:pt x="1041" y="1071"/>
                </a:lnTo>
                <a:lnTo>
                  <a:pt x="1041" y="1071"/>
                </a:lnTo>
                <a:lnTo>
                  <a:pt x="1043" y="1069"/>
                </a:lnTo>
                <a:lnTo>
                  <a:pt x="1043" y="1069"/>
                </a:lnTo>
                <a:lnTo>
                  <a:pt x="1044" y="1068"/>
                </a:lnTo>
                <a:lnTo>
                  <a:pt x="1044" y="1068"/>
                </a:lnTo>
                <a:lnTo>
                  <a:pt x="1044" y="1068"/>
                </a:lnTo>
                <a:lnTo>
                  <a:pt x="1044" y="1068"/>
                </a:lnTo>
                <a:lnTo>
                  <a:pt x="1044" y="1068"/>
                </a:lnTo>
                <a:lnTo>
                  <a:pt x="1044" y="1068"/>
                </a:lnTo>
                <a:lnTo>
                  <a:pt x="1054" y="1065"/>
                </a:lnTo>
                <a:lnTo>
                  <a:pt x="1054" y="1065"/>
                </a:lnTo>
                <a:lnTo>
                  <a:pt x="1054" y="1065"/>
                </a:lnTo>
                <a:lnTo>
                  <a:pt x="1054" y="1065"/>
                </a:lnTo>
                <a:lnTo>
                  <a:pt x="1054" y="1065"/>
                </a:lnTo>
                <a:lnTo>
                  <a:pt x="1054" y="1065"/>
                </a:lnTo>
                <a:lnTo>
                  <a:pt x="1054" y="1065"/>
                </a:lnTo>
                <a:lnTo>
                  <a:pt x="1056" y="1064"/>
                </a:lnTo>
                <a:lnTo>
                  <a:pt x="1056" y="1064"/>
                </a:lnTo>
                <a:lnTo>
                  <a:pt x="1054" y="1062"/>
                </a:lnTo>
                <a:lnTo>
                  <a:pt x="1054" y="1062"/>
                </a:lnTo>
                <a:lnTo>
                  <a:pt x="1053" y="1062"/>
                </a:lnTo>
                <a:lnTo>
                  <a:pt x="1053" y="1062"/>
                </a:lnTo>
                <a:lnTo>
                  <a:pt x="1053" y="1062"/>
                </a:lnTo>
                <a:lnTo>
                  <a:pt x="1053" y="1062"/>
                </a:lnTo>
                <a:lnTo>
                  <a:pt x="1043" y="1065"/>
                </a:lnTo>
                <a:lnTo>
                  <a:pt x="1043" y="1065"/>
                </a:lnTo>
                <a:lnTo>
                  <a:pt x="1043" y="1065"/>
                </a:lnTo>
                <a:lnTo>
                  <a:pt x="1043" y="1065"/>
                </a:lnTo>
                <a:lnTo>
                  <a:pt x="1041" y="1065"/>
                </a:lnTo>
                <a:lnTo>
                  <a:pt x="1040" y="1062"/>
                </a:lnTo>
                <a:lnTo>
                  <a:pt x="1040" y="1062"/>
                </a:lnTo>
                <a:lnTo>
                  <a:pt x="1041" y="1061"/>
                </a:lnTo>
                <a:lnTo>
                  <a:pt x="1041" y="1059"/>
                </a:lnTo>
                <a:lnTo>
                  <a:pt x="1041" y="1059"/>
                </a:lnTo>
                <a:lnTo>
                  <a:pt x="1041" y="1059"/>
                </a:lnTo>
                <a:lnTo>
                  <a:pt x="1041" y="1059"/>
                </a:lnTo>
                <a:lnTo>
                  <a:pt x="1041" y="1059"/>
                </a:lnTo>
                <a:lnTo>
                  <a:pt x="1050" y="1056"/>
                </a:lnTo>
                <a:lnTo>
                  <a:pt x="1050" y="1056"/>
                </a:lnTo>
                <a:lnTo>
                  <a:pt x="1051" y="1056"/>
                </a:lnTo>
                <a:lnTo>
                  <a:pt x="1053" y="1054"/>
                </a:lnTo>
                <a:lnTo>
                  <a:pt x="1053" y="1054"/>
                </a:lnTo>
                <a:lnTo>
                  <a:pt x="1059" y="1049"/>
                </a:lnTo>
                <a:lnTo>
                  <a:pt x="1059" y="1049"/>
                </a:lnTo>
                <a:lnTo>
                  <a:pt x="1073" y="1039"/>
                </a:lnTo>
                <a:lnTo>
                  <a:pt x="1073" y="1039"/>
                </a:lnTo>
                <a:lnTo>
                  <a:pt x="1087" y="1029"/>
                </a:lnTo>
                <a:lnTo>
                  <a:pt x="1087" y="1029"/>
                </a:lnTo>
                <a:lnTo>
                  <a:pt x="1101" y="1022"/>
                </a:lnTo>
                <a:lnTo>
                  <a:pt x="1101" y="1022"/>
                </a:lnTo>
                <a:lnTo>
                  <a:pt x="1117" y="1014"/>
                </a:lnTo>
                <a:lnTo>
                  <a:pt x="1117" y="1014"/>
                </a:lnTo>
                <a:lnTo>
                  <a:pt x="1131" y="1006"/>
                </a:lnTo>
                <a:lnTo>
                  <a:pt x="1131" y="1006"/>
                </a:lnTo>
                <a:lnTo>
                  <a:pt x="1146" y="998"/>
                </a:lnTo>
                <a:lnTo>
                  <a:pt x="1146" y="998"/>
                </a:lnTo>
                <a:lnTo>
                  <a:pt x="1153" y="994"/>
                </a:lnTo>
                <a:lnTo>
                  <a:pt x="1153" y="994"/>
                </a:lnTo>
                <a:lnTo>
                  <a:pt x="1160" y="989"/>
                </a:lnTo>
                <a:lnTo>
                  <a:pt x="1160" y="989"/>
                </a:lnTo>
                <a:lnTo>
                  <a:pt x="1161" y="991"/>
                </a:lnTo>
                <a:lnTo>
                  <a:pt x="1160" y="992"/>
                </a:lnTo>
                <a:lnTo>
                  <a:pt x="1158" y="994"/>
                </a:lnTo>
                <a:lnTo>
                  <a:pt x="1155" y="996"/>
                </a:lnTo>
                <a:lnTo>
                  <a:pt x="1157" y="996"/>
                </a:lnTo>
                <a:lnTo>
                  <a:pt x="1157" y="996"/>
                </a:lnTo>
                <a:lnTo>
                  <a:pt x="1173" y="982"/>
                </a:lnTo>
                <a:lnTo>
                  <a:pt x="1178" y="978"/>
                </a:lnTo>
                <a:lnTo>
                  <a:pt x="1188" y="976"/>
                </a:lnTo>
                <a:lnTo>
                  <a:pt x="1188" y="976"/>
                </a:lnTo>
                <a:lnTo>
                  <a:pt x="1191" y="974"/>
                </a:lnTo>
                <a:lnTo>
                  <a:pt x="1191" y="971"/>
                </a:lnTo>
                <a:lnTo>
                  <a:pt x="1193" y="968"/>
                </a:lnTo>
                <a:lnTo>
                  <a:pt x="1193" y="964"/>
                </a:lnTo>
                <a:lnTo>
                  <a:pt x="1193" y="964"/>
                </a:lnTo>
                <a:lnTo>
                  <a:pt x="1197" y="964"/>
                </a:lnTo>
                <a:lnTo>
                  <a:pt x="1200" y="961"/>
                </a:lnTo>
                <a:lnTo>
                  <a:pt x="1207" y="955"/>
                </a:lnTo>
                <a:lnTo>
                  <a:pt x="1207" y="955"/>
                </a:lnTo>
                <a:lnTo>
                  <a:pt x="1214" y="949"/>
                </a:lnTo>
                <a:lnTo>
                  <a:pt x="1214" y="949"/>
                </a:lnTo>
                <a:lnTo>
                  <a:pt x="1218" y="948"/>
                </a:lnTo>
                <a:lnTo>
                  <a:pt x="1223" y="948"/>
                </a:lnTo>
                <a:lnTo>
                  <a:pt x="1223" y="948"/>
                </a:lnTo>
                <a:lnTo>
                  <a:pt x="1223" y="946"/>
                </a:lnTo>
                <a:lnTo>
                  <a:pt x="1224" y="945"/>
                </a:lnTo>
                <a:lnTo>
                  <a:pt x="1227" y="942"/>
                </a:lnTo>
                <a:lnTo>
                  <a:pt x="1230" y="941"/>
                </a:lnTo>
                <a:lnTo>
                  <a:pt x="1231" y="938"/>
                </a:lnTo>
                <a:lnTo>
                  <a:pt x="1231" y="936"/>
                </a:lnTo>
                <a:lnTo>
                  <a:pt x="1231" y="936"/>
                </a:lnTo>
                <a:lnTo>
                  <a:pt x="1234" y="938"/>
                </a:lnTo>
                <a:lnTo>
                  <a:pt x="1235" y="938"/>
                </a:lnTo>
                <a:lnTo>
                  <a:pt x="1237" y="936"/>
                </a:lnTo>
                <a:lnTo>
                  <a:pt x="1237" y="934"/>
                </a:lnTo>
                <a:lnTo>
                  <a:pt x="1237" y="934"/>
                </a:lnTo>
                <a:lnTo>
                  <a:pt x="1238" y="936"/>
                </a:lnTo>
                <a:lnTo>
                  <a:pt x="1241" y="936"/>
                </a:lnTo>
                <a:lnTo>
                  <a:pt x="1244" y="935"/>
                </a:lnTo>
                <a:lnTo>
                  <a:pt x="1248" y="932"/>
                </a:lnTo>
                <a:lnTo>
                  <a:pt x="1250" y="932"/>
                </a:lnTo>
                <a:lnTo>
                  <a:pt x="1252" y="932"/>
                </a:lnTo>
                <a:lnTo>
                  <a:pt x="1252" y="932"/>
                </a:lnTo>
                <a:lnTo>
                  <a:pt x="1252" y="929"/>
                </a:lnTo>
                <a:lnTo>
                  <a:pt x="1254" y="927"/>
                </a:lnTo>
                <a:lnTo>
                  <a:pt x="1258" y="924"/>
                </a:lnTo>
                <a:lnTo>
                  <a:pt x="1262" y="922"/>
                </a:lnTo>
                <a:lnTo>
                  <a:pt x="1262" y="922"/>
                </a:lnTo>
                <a:lnTo>
                  <a:pt x="1262" y="919"/>
                </a:lnTo>
                <a:lnTo>
                  <a:pt x="1261" y="919"/>
                </a:lnTo>
                <a:lnTo>
                  <a:pt x="1261" y="919"/>
                </a:lnTo>
                <a:lnTo>
                  <a:pt x="1261" y="918"/>
                </a:lnTo>
                <a:lnTo>
                  <a:pt x="1261" y="918"/>
                </a:lnTo>
                <a:lnTo>
                  <a:pt x="1265" y="915"/>
                </a:lnTo>
                <a:lnTo>
                  <a:pt x="1268" y="914"/>
                </a:lnTo>
                <a:lnTo>
                  <a:pt x="1274" y="908"/>
                </a:lnTo>
                <a:lnTo>
                  <a:pt x="1274" y="908"/>
                </a:lnTo>
                <a:lnTo>
                  <a:pt x="1280" y="904"/>
                </a:lnTo>
                <a:lnTo>
                  <a:pt x="1284" y="904"/>
                </a:lnTo>
                <a:lnTo>
                  <a:pt x="1287" y="904"/>
                </a:lnTo>
                <a:lnTo>
                  <a:pt x="1287" y="904"/>
                </a:lnTo>
                <a:lnTo>
                  <a:pt x="1288" y="901"/>
                </a:lnTo>
                <a:lnTo>
                  <a:pt x="1290" y="897"/>
                </a:lnTo>
                <a:lnTo>
                  <a:pt x="1298" y="889"/>
                </a:lnTo>
                <a:lnTo>
                  <a:pt x="1307" y="884"/>
                </a:lnTo>
                <a:lnTo>
                  <a:pt x="1311" y="881"/>
                </a:lnTo>
                <a:lnTo>
                  <a:pt x="1315" y="881"/>
                </a:lnTo>
                <a:lnTo>
                  <a:pt x="1315" y="881"/>
                </a:lnTo>
                <a:lnTo>
                  <a:pt x="1314" y="878"/>
                </a:lnTo>
                <a:lnTo>
                  <a:pt x="1315" y="875"/>
                </a:lnTo>
                <a:lnTo>
                  <a:pt x="1320" y="868"/>
                </a:lnTo>
                <a:lnTo>
                  <a:pt x="1325" y="864"/>
                </a:lnTo>
                <a:lnTo>
                  <a:pt x="1328" y="862"/>
                </a:lnTo>
                <a:lnTo>
                  <a:pt x="1330" y="864"/>
                </a:lnTo>
                <a:lnTo>
                  <a:pt x="1330" y="864"/>
                </a:lnTo>
                <a:lnTo>
                  <a:pt x="1332" y="851"/>
                </a:lnTo>
                <a:lnTo>
                  <a:pt x="1337" y="839"/>
                </a:lnTo>
                <a:lnTo>
                  <a:pt x="1337" y="839"/>
                </a:lnTo>
                <a:lnTo>
                  <a:pt x="1338" y="847"/>
                </a:lnTo>
                <a:lnTo>
                  <a:pt x="1338" y="847"/>
                </a:lnTo>
                <a:lnTo>
                  <a:pt x="1348" y="837"/>
                </a:lnTo>
                <a:lnTo>
                  <a:pt x="1355" y="828"/>
                </a:lnTo>
                <a:lnTo>
                  <a:pt x="1355" y="828"/>
                </a:lnTo>
                <a:lnTo>
                  <a:pt x="1369" y="808"/>
                </a:lnTo>
                <a:lnTo>
                  <a:pt x="1369" y="808"/>
                </a:lnTo>
                <a:lnTo>
                  <a:pt x="1378" y="798"/>
                </a:lnTo>
                <a:lnTo>
                  <a:pt x="1378" y="798"/>
                </a:lnTo>
                <a:lnTo>
                  <a:pt x="1385" y="788"/>
                </a:lnTo>
                <a:lnTo>
                  <a:pt x="1385" y="788"/>
                </a:lnTo>
                <a:lnTo>
                  <a:pt x="1395" y="777"/>
                </a:lnTo>
                <a:lnTo>
                  <a:pt x="1395" y="777"/>
                </a:lnTo>
                <a:lnTo>
                  <a:pt x="1405" y="765"/>
                </a:lnTo>
                <a:lnTo>
                  <a:pt x="1405" y="765"/>
                </a:lnTo>
                <a:lnTo>
                  <a:pt x="1404" y="762"/>
                </a:lnTo>
                <a:lnTo>
                  <a:pt x="1404" y="760"/>
                </a:lnTo>
                <a:lnTo>
                  <a:pt x="1404" y="760"/>
                </a:lnTo>
                <a:lnTo>
                  <a:pt x="1409" y="757"/>
                </a:lnTo>
                <a:lnTo>
                  <a:pt x="1414" y="752"/>
                </a:lnTo>
                <a:lnTo>
                  <a:pt x="1419" y="740"/>
                </a:lnTo>
                <a:lnTo>
                  <a:pt x="1419" y="740"/>
                </a:lnTo>
                <a:lnTo>
                  <a:pt x="1422" y="734"/>
                </a:lnTo>
                <a:lnTo>
                  <a:pt x="1427" y="730"/>
                </a:lnTo>
                <a:lnTo>
                  <a:pt x="1429" y="728"/>
                </a:lnTo>
                <a:lnTo>
                  <a:pt x="1435" y="730"/>
                </a:lnTo>
                <a:lnTo>
                  <a:pt x="1435" y="730"/>
                </a:lnTo>
                <a:lnTo>
                  <a:pt x="1436" y="725"/>
                </a:lnTo>
                <a:lnTo>
                  <a:pt x="1435" y="724"/>
                </a:lnTo>
                <a:lnTo>
                  <a:pt x="1432" y="722"/>
                </a:lnTo>
                <a:lnTo>
                  <a:pt x="1432" y="721"/>
                </a:lnTo>
                <a:lnTo>
                  <a:pt x="1432" y="718"/>
                </a:lnTo>
                <a:lnTo>
                  <a:pt x="1432" y="718"/>
                </a:lnTo>
                <a:lnTo>
                  <a:pt x="1441" y="707"/>
                </a:lnTo>
                <a:lnTo>
                  <a:pt x="1441" y="707"/>
                </a:lnTo>
                <a:lnTo>
                  <a:pt x="1446" y="695"/>
                </a:lnTo>
                <a:lnTo>
                  <a:pt x="1446" y="695"/>
                </a:lnTo>
                <a:lnTo>
                  <a:pt x="1452" y="685"/>
                </a:lnTo>
                <a:lnTo>
                  <a:pt x="1455" y="681"/>
                </a:lnTo>
                <a:lnTo>
                  <a:pt x="1459" y="678"/>
                </a:lnTo>
                <a:lnTo>
                  <a:pt x="1459" y="678"/>
                </a:lnTo>
                <a:lnTo>
                  <a:pt x="1461" y="671"/>
                </a:lnTo>
                <a:lnTo>
                  <a:pt x="1462" y="664"/>
                </a:lnTo>
                <a:lnTo>
                  <a:pt x="1465" y="657"/>
                </a:lnTo>
                <a:lnTo>
                  <a:pt x="1468" y="647"/>
                </a:lnTo>
                <a:lnTo>
                  <a:pt x="1468" y="647"/>
                </a:lnTo>
                <a:lnTo>
                  <a:pt x="1469" y="648"/>
                </a:lnTo>
                <a:lnTo>
                  <a:pt x="1469" y="651"/>
                </a:lnTo>
                <a:lnTo>
                  <a:pt x="1468" y="652"/>
                </a:lnTo>
                <a:lnTo>
                  <a:pt x="1469" y="654"/>
                </a:lnTo>
                <a:lnTo>
                  <a:pt x="1469" y="654"/>
                </a:lnTo>
                <a:lnTo>
                  <a:pt x="1474" y="644"/>
                </a:lnTo>
                <a:lnTo>
                  <a:pt x="1474" y="644"/>
                </a:lnTo>
                <a:lnTo>
                  <a:pt x="1476" y="634"/>
                </a:lnTo>
                <a:lnTo>
                  <a:pt x="1476" y="634"/>
                </a:lnTo>
                <a:lnTo>
                  <a:pt x="1482" y="625"/>
                </a:lnTo>
                <a:lnTo>
                  <a:pt x="1489" y="618"/>
                </a:lnTo>
                <a:lnTo>
                  <a:pt x="1489" y="618"/>
                </a:lnTo>
                <a:lnTo>
                  <a:pt x="1486" y="617"/>
                </a:lnTo>
                <a:lnTo>
                  <a:pt x="1486" y="615"/>
                </a:lnTo>
                <a:lnTo>
                  <a:pt x="1485" y="611"/>
                </a:lnTo>
                <a:lnTo>
                  <a:pt x="1485" y="611"/>
                </a:lnTo>
                <a:lnTo>
                  <a:pt x="1485" y="607"/>
                </a:lnTo>
                <a:lnTo>
                  <a:pt x="1485" y="605"/>
                </a:lnTo>
                <a:lnTo>
                  <a:pt x="1484" y="604"/>
                </a:lnTo>
                <a:lnTo>
                  <a:pt x="1484" y="604"/>
                </a:lnTo>
                <a:lnTo>
                  <a:pt x="1479" y="611"/>
                </a:lnTo>
                <a:lnTo>
                  <a:pt x="1475" y="618"/>
                </a:lnTo>
                <a:lnTo>
                  <a:pt x="1471" y="622"/>
                </a:lnTo>
                <a:lnTo>
                  <a:pt x="1466" y="625"/>
                </a:lnTo>
                <a:lnTo>
                  <a:pt x="1464" y="625"/>
                </a:lnTo>
                <a:lnTo>
                  <a:pt x="1464" y="625"/>
                </a:lnTo>
                <a:lnTo>
                  <a:pt x="1464" y="622"/>
                </a:lnTo>
                <a:lnTo>
                  <a:pt x="1465" y="621"/>
                </a:lnTo>
                <a:lnTo>
                  <a:pt x="1468" y="618"/>
                </a:lnTo>
                <a:lnTo>
                  <a:pt x="1471" y="615"/>
                </a:lnTo>
                <a:lnTo>
                  <a:pt x="1471" y="614"/>
                </a:lnTo>
                <a:lnTo>
                  <a:pt x="1471" y="613"/>
                </a:lnTo>
                <a:lnTo>
                  <a:pt x="1471" y="613"/>
                </a:lnTo>
                <a:lnTo>
                  <a:pt x="1465" y="617"/>
                </a:lnTo>
                <a:lnTo>
                  <a:pt x="1462" y="622"/>
                </a:lnTo>
                <a:lnTo>
                  <a:pt x="1459" y="627"/>
                </a:lnTo>
                <a:lnTo>
                  <a:pt x="1458" y="632"/>
                </a:lnTo>
                <a:lnTo>
                  <a:pt x="1458" y="632"/>
                </a:lnTo>
                <a:lnTo>
                  <a:pt x="1455" y="644"/>
                </a:lnTo>
                <a:lnTo>
                  <a:pt x="1454" y="651"/>
                </a:lnTo>
                <a:lnTo>
                  <a:pt x="1451" y="657"/>
                </a:lnTo>
                <a:lnTo>
                  <a:pt x="1451" y="657"/>
                </a:lnTo>
                <a:lnTo>
                  <a:pt x="1448" y="655"/>
                </a:lnTo>
                <a:lnTo>
                  <a:pt x="1446" y="654"/>
                </a:lnTo>
                <a:lnTo>
                  <a:pt x="1446" y="654"/>
                </a:lnTo>
                <a:lnTo>
                  <a:pt x="1444" y="658"/>
                </a:lnTo>
                <a:lnTo>
                  <a:pt x="1442" y="664"/>
                </a:lnTo>
                <a:lnTo>
                  <a:pt x="1439" y="674"/>
                </a:lnTo>
                <a:lnTo>
                  <a:pt x="1439" y="674"/>
                </a:lnTo>
                <a:lnTo>
                  <a:pt x="1431" y="685"/>
                </a:lnTo>
                <a:lnTo>
                  <a:pt x="1424" y="697"/>
                </a:lnTo>
                <a:lnTo>
                  <a:pt x="1424" y="697"/>
                </a:lnTo>
                <a:lnTo>
                  <a:pt x="1411" y="721"/>
                </a:lnTo>
                <a:lnTo>
                  <a:pt x="1411" y="721"/>
                </a:lnTo>
                <a:lnTo>
                  <a:pt x="1404" y="734"/>
                </a:lnTo>
                <a:lnTo>
                  <a:pt x="1397" y="745"/>
                </a:lnTo>
                <a:lnTo>
                  <a:pt x="1397" y="745"/>
                </a:lnTo>
                <a:lnTo>
                  <a:pt x="1388" y="755"/>
                </a:lnTo>
                <a:lnTo>
                  <a:pt x="1378" y="764"/>
                </a:lnTo>
                <a:lnTo>
                  <a:pt x="1378" y="764"/>
                </a:lnTo>
                <a:lnTo>
                  <a:pt x="1377" y="768"/>
                </a:lnTo>
                <a:lnTo>
                  <a:pt x="1375" y="774"/>
                </a:lnTo>
                <a:lnTo>
                  <a:pt x="1369" y="784"/>
                </a:lnTo>
                <a:lnTo>
                  <a:pt x="1369" y="784"/>
                </a:lnTo>
                <a:lnTo>
                  <a:pt x="1362" y="795"/>
                </a:lnTo>
                <a:lnTo>
                  <a:pt x="1362" y="795"/>
                </a:lnTo>
                <a:lnTo>
                  <a:pt x="1354" y="805"/>
                </a:lnTo>
                <a:lnTo>
                  <a:pt x="1354" y="805"/>
                </a:lnTo>
                <a:lnTo>
                  <a:pt x="1354" y="802"/>
                </a:lnTo>
                <a:lnTo>
                  <a:pt x="1354" y="799"/>
                </a:lnTo>
                <a:lnTo>
                  <a:pt x="1358" y="794"/>
                </a:lnTo>
                <a:lnTo>
                  <a:pt x="1362" y="787"/>
                </a:lnTo>
                <a:lnTo>
                  <a:pt x="1362" y="784"/>
                </a:lnTo>
                <a:lnTo>
                  <a:pt x="1362" y="781"/>
                </a:lnTo>
                <a:lnTo>
                  <a:pt x="1362" y="781"/>
                </a:lnTo>
                <a:lnTo>
                  <a:pt x="1355" y="789"/>
                </a:lnTo>
                <a:lnTo>
                  <a:pt x="1347" y="801"/>
                </a:lnTo>
                <a:lnTo>
                  <a:pt x="1342" y="805"/>
                </a:lnTo>
                <a:lnTo>
                  <a:pt x="1338" y="809"/>
                </a:lnTo>
                <a:lnTo>
                  <a:pt x="1334" y="809"/>
                </a:lnTo>
                <a:lnTo>
                  <a:pt x="1332" y="809"/>
                </a:lnTo>
                <a:lnTo>
                  <a:pt x="1331" y="807"/>
                </a:lnTo>
                <a:lnTo>
                  <a:pt x="1331" y="807"/>
                </a:lnTo>
                <a:lnTo>
                  <a:pt x="1337" y="811"/>
                </a:lnTo>
                <a:lnTo>
                  <a:pt x="1337" y="814"/>
                </a:lnTo>
                <a:lnTo>
                  <a:pt x="1337" y="817"/>
                </a:lnTo>
                <a:lnTo>
                  <a:pt x="1337" y="817"/>
                </a:lnTo>
                <a:lnTo>
                  <a:pt x="1334" y="818"/>
                </a:lnTo>
                <a:lnTo>
                  <a:pt x="1332" y="818"/>
                </a:lnTo>
                <a:lnTo>
                  <a:pt x="1331" y="818"/>
                </a:lnTo>
                <a:lnTo>
                  <a:pt x="1330" y="819"/>
                </a:lnTo>
                <a:lnTo>
                  <a:pt x="1330" y="819"/>
                </a:lnTo>
                <a:lnTo>
                  <a:pt x="1330" y="824"/>
                </a:lnTo>
                <a:lnTo>
                  <a:pt x="1328" y="828"/>
                </a:lnTo>
                <a:lnTo>
                  <a:pt x="1320" y="837"/>
                </a:lnTo>
                <a:lnTo>
                  <a:pt x="1320" y="837"/>
                </a:lnTo>
                <a:lnTo>
                  <a:pt x="1310" y="847"/>
                </a:lnTo>
                <a:lnTo>
                  <a:pt x="1310" y="847"/>
                </a:lnTo>
                <a:lnTo>
                  <a:pt x="1301" y="852"/>
                </a:lnTo>
                <a:lnTo>
                  <a:pt x="1301" y="852"/>
                </a:lnTo>
                <a:lnTo>
                  <a:pt x="1302" y="852"/>
                </a:lnTo>
                <a:lnTo>
                  <a:pt x="1304" y="854"/>
                </a:lnTo>
                <a:lnTo>
                  <a:pt x="1304" y="854"/>
                </a:lnTo>
                <a:lnTo>
                  <a:pt x="1302" y="855"/>
                </a:lnTo>
                <a:lnTo>
                  <a:pt x="1301" y="857"/>
                </a:lnTo>
                <a:lnTo>
                  <a:pt x="1298" y="862"/>
                </a:lnTo>
                <a:lnTo>
                  <a:pt x="1294" y="867"/>
                </a:lnTo>
                <a:lnTo>
                  <a:pt x="1291" y="868"/>
                </a:lnTo>
                <a:lnTo>
                  <a:pt x="1288" y="869"/>
                </a:lnTo>
                <a:lnTo>
                  <a:pt x="1288" y="869"/>
                </a:lnTo>
                <a:lnTo>
                  <a:pt x="1292" y="865"/>
                </a:lnTo>
                <a:lnTo>
                  <a:pt x="1292" y="864"/>
                </a:lnTo>
                <a:lnTo>
                  <a:pt x="1291" y="862"/>
                </a:lnTo>
                <a:lnTo>
                  <a:pt x="1291" y="862"/>
                </a:lnTo>
                <a:lnTo>
                  <a:pt x="1288" y="862"/>
                </a:lnTo>
                <a:lnTo>
                  <a:pt x="1288" y="864"/>
                </a:lnTo>
                <a:lnTo>
                  <a:pt x="1287" y="867"/>
                </a:lnTo>
                <a:lnTo>
                  <a:pt x="1287" y="871"/>
                </a:lnTo>
                <a:lnTo>
                  <a:pt x="1287" y="874"/>
                </a:lnTo>
                <a:lnTo>
                  <a:pt x="1284" y="875"/>
                </a:lnTo>
                <a:lnTo>
                  <a:pt x="1284" y="875"/>
                </a:lnTo>
                <a:lnTo>
                  <a:pt x="1284" y="874"/>
                </a:lnTo>
                <a:lnTo>
                  <a:pt x="1284" y="872"/>
                </a:lnTo>
                <a:lnTo>
                  <a:pt x="1285" y="869"/>
                </a:lnTo>
                <a:lnTo>
                  <a:pt x="1285" y="868"/>
                </a:lnTo>
                <a:lnTo>
                  <a:pt x="1285" y="868"/>
                </a:lnTo>
                <a:lnTo>
                  <a:pt x="1275" y="878"/>
                </a:lnTo>
                <a:lnTo>
                  <a:pt x="1264" y="888"/>
                </a:lnTo>
                <a:lnTo>
                  <a:pt x="1264" y="888"/>
                </a:lnTo>
                <a:lnTo>
                  <a:pt x="1251" y="897"/>
                </a:lnTo>
                <a:lnTo>
                  <a:pt x="1243" y="905"/>
                </a:lnTo>
                <a:lnTo>
                  <a:pt x="1243" y="905"/>
                </a:lnTo>
                <a:lnTo>
                  <a:pt x="1244" y="908"/>
                </a:lnTo>
                <a:lnTo>
                  <a:pt x="1245" y="907"/>
                </a:lnTo>
                <a:lnTo>
                  <a:pt x="1248" y="907"/>
                </a:lnTo>
                <a:lnTo>
                  <a:pt x="1250" y="908"/>
                </a:lnTo>
                <a:lnTo>
                  <a:pt x="1250" y="908"/>
                </a:lnTo>
                <a:lnTo>
                  <a:pt x="1245" y="912"/>
                </a:lnTo>
                <a:lnTo>
                  <a:pt x="1243" y="914"/>
                </a:lnTo>
                <a:lnTo>
                  <a:pt x="1241" y="912"/>
                </a:lnTo>
                <a:lnTo>
                  <a:pt x="1241" y="912"/>
                </a:lnTo>
                <a:lnTo>
                  <a:pt x="1241" y="909"/>
                </a:lnTo>
                <a:lnTo>
                  <a:pt x="1241" y="907"/>
                </a:lnTo>
                <a:lnTo>
                  <a:pt x="1241" y="907"/>
                </a:lnTo>
                <a:lnTo>
                  <a:pt x="1224" y="919"/>
                </a:lnTo>
                <a:lnTo>
                  <a:pt x="1224" y="919"/>
                </a:lnTo>
                <a:lnTo>
                  <a:pt x="1207" y="932"/>
                </a:lnTo>
                <a:lnTo>
                  <a:pt x="1207" y="932"/>
                </a:lnTo>
                <a:lnTo>
                  <a:pt x="1188" y="945"/>
                </a:lnTo>
                <a:lnTo>
                  <a:pt x="1188" y="945"/>
                </a:lnTo>
                <a:lnTo>
                  <a:pt x="1178" y="952"/>
                </a:lnTo>
                <a:lnTo>
                  <a:pt x="1167" y="958"/>
                </a:lnTo>
                <a:lnTo>
                  <a:pt x="1167" y="958"/>
                </a:lnTo>
                <a:lnTo>
                  <a:pt x="1164" y="956"/>
                </a:lnTo>
                <a:lnTo>
                  <a:pt x="1160" y="958"/>
                </a:lnTo>
                <a:lnTo>
                  <a:pt x="1153" y="964"/>
                </a:lnTo>
                <a:lnTo>
                  <a:pt x="1153" y="964"/>
                </a:lnTo>
                <a:lnTo>
                  <a:pt x="1144" y="971"/>
                </a:lnTo>
                <a:lnTo>
                  <a:pt x="1136" y="975"/>
                </a:lnTo>
                <a:lnTo>
                  <a:pt x="1136" y="975"/>
                </a:lnTo>
                <a:lnTo>
                  <a:pt x="1126" y="981"/>
                </a:lnTo>
                <a:lnTo>
                  <a:pt x="1114" y="986"/>
                </a:lnTo>
                <a:lnTo>
                  <a:pt x="1114" y="986"/>
                </a:lnTo>
                <a:lnTo>
                  <a:pt x="1108" y="991"/>
                </a:lnTo>
                <a:lnTo>
                  <a:pt x="1108" y="991"/>
                </a:lnTo>
                <a:lnTo>
                  <a:pt x="1101" y="995"/>
                </a:lnTo>
                <a:lnTo>
                  <a:pt x="1101" y="995"/>
                </a:lnTo>
                <a:lnTo>
                  <a:pt x="1090" y="1002"/>
                </a:lnTo>
                <a:lnTo>
                  <a:pt x="1090" y="1002"/>
                </a:lnTo>
                <a:lnTo>
                  <a:pt x="1068" y="1011"/>
                </a:lnTo>
                <a:lnTo>
                  <a:pt x="1068" y="1011"/>
                </a:lnTo>
                <a:lnTo>
                  <a:pt x="1049" y="1019"/>
                </a:lnTo>
                <a:lnTo>
                  <a:pt x="1049" y="1019"/>
                </a:lnTo>
                <a:lnTo>
                  <a:pt x="1039" y="1022"/>
                </a:lnTo>
                <a:lnTo>
                  <a:pt x="1039" y="1022"/>
                </a:lnTo>
                <a:lnTo>
                  <a:pt x="1030" y="1025"/>
                </a:lnTo>
                <a:lnTo>
                  <a:pt x="1030" y="1025"/>
                </a:lnTo>
                <a:lnTo>
                  <a:pt x="1030" y="1025"/>
                </a:lnTo>
                <a:lnTo>
                  <a:pt x="1030" y="1025"/>
                </a:lnTo>
                <a:lnTo>
                  <a:pt x="1030" y="1025"/>
                </a:lnTo>
                <a:lnTo>
                  <a:pt x="1030" y="1026"/>
                </a:lnTo>
                <a:lnTo>
                  <a:pt x="1029" y="1026"/>
                </a:lnTo>
                <a:lnTo>
                  <a:pt x="1029" y="1026"/>
                </a:lnTo>
                <a:lnTo>
                  <a:pt x="1026" y="1028"/>
                </a:lnTo>
                <a:lnTo>
                  <a:pt x="1026" y="1028"/>
                </a:lnTo>
                <a:lnTo>
                  <a:pt x="1021" y="1031"/>
                </a:lnTo>
                <a:lnTo>
                  <a:pt x="1017" y="1035"/>
                </a:lnTo>
                <a:lnTo>
                  <a:pt x="1017" y="1035"/>
                </a:lnTo>
                <a:lnTo>
                  <a:pt x="1016" y="1032"/>
                </a:lnTo>
                <a:lnTo>
                  <a:pt x="1014" y="1031"/>
                </a:lnTo>
                <a:lnTo>
                  <a:pt x="1013" y="1031"/>
                </a:lnTo>
                <a:lnTo>
                  <a:pt x="1013" y="1031"/>
                </a:lnTo>
                <a:lnTo>
                  <a:pt x="1014" y="1035"/>
                </a:lnTo>
                <a:lnTo>
                  <a:pt x="1014" y="1038"/>
                </a:lnTo>
                <a:lnTo>
                  <a:pt x="1014" y="1038"/>
                </a:lnTo>
                <a:lnTo>
                  <a:pt x="1013" y="1038"/>
                </a:lnTo>
                <a:lnTo>
                  <a:pt x="1013" y="1038"/>
                </a:lnTo>
                <a:lnTo>
                  <a:pt x="1011" y="1038"/>
                </a:lnTo>
                <a:lnTo>
                  <a:pt x="1011" y="1038"/>
                </a:lnTo>
                <a:lnTo>
                  <a:pt x="1011" y="1038"/>
                </a:lnTo>
                <a:lnTo>
                  <a:pt x="1010" y="1038"/>
                </a:lnTo>
                <a:lnTo>
                  <a:pt x="1010" y="1038"/>
                </a:lnTo>
                <a:lnTo>
                  <a:pt x="1003" y="1038"/>
                </a:lnTo>
                <a:lnTo>
                  <a:pt x="1003" y="1038"/>
                </a:lnTo>
                <a:lnTo>
                  <a:pt x="997" y="1036"/>
                </a:lnTo>
                <a:lnTo>
                  <a:pt x="991" y="1034"/>
                </a:lnTo>
                <a:lnTo>
                  <a:pt x="991" y="1034"/>
                </a:lnTo>
                <a:lnTo>
                  <a:pt x="990" y="1039"/>
                </a:lnTo>
                <a:lnTo>
                  <a:pt x="986" y="1044"/>
                </a:lnTo>
                <a:lnTo>
                  <a:pt x="986" y="1044"/>
                </a:lnTo>
                <a:lnTo>
                  <a:pt x="989" y="1044"/>
                </a:lnTo>
                <a:lnTo>
                  <a:pt x="993" y="1041"/>
                </a:lnTo>
                <a:lnTo>
                  <a:pt x="996" y="1039"/>
                </a:lnTo>
                <a:lnTo>
                  <a:pt x="999" y="1041"/>
                </a:lnTo>
                <a:lnTo>
                  <a:pt x="999" y="1041"/>
                </a:lnTo>
                <a:lnTo>
                  <a:pt x="997" y="1042"/>
                </a:lnTo>
                <a:lnTo>
                  <a:pt x="996" y="1044"/>
                </a:lnTo>
                <a:lnTo>
                  <a:pt x="993" y="1045"/>
                </a:lnTo>
                <a:lnTo>
                  <a:pt x="989" y="1046"/>
                </a:lnTo>
                <a:lnTo>
                  <a:pt x="989" y="1046"/>
                </a:lnTo>
                <a:lnTo>
                  <a:pt x="983" y="1044"/>
                </a:lnTo>
                <a:lnTo>
                  <a:pt x="980" y="1044"/>
                </a:lnTo>
                <a:lnTo>
                  <a:pt x="977" y="1044"/>
                </a:lnTo>
                <a:lnTo>
                  <a:pt x="970" y="1045"/>
                </a:lnTo>
                <a:lnTo>
                  <a:pt x="970" y="1045"/>
                </a:lnTo>
                <a:lnTo>
                  <a:pt x="973" y="1044"/>
                </a:lnTo>
                <a:lnTo>
                  <a:pt x="976" y="1041"/>
                </a:lnTo>
                <a:lnTo>
                  <a:pt x="976" y="1041"/>
                </a:lnTo>
                <a:lnTo>
                  <a:pt x="971" y="1042"/>
                </a:lnTo>
                <a:lnTo>
                  <a:pt x="967" y="1045"/>
                </a:lnTo>
                <a:lnTo>
                  <a:pt x="967" y="1045"/>
                </a:lnTo>
                <a:lnTo>
                  <a:pt x="963" y="1045"/>
                </a:lnTo>
                <a:lnTo>
                  <a:pt x="963" y="1045"/>
                </a:lnTo>
                <a:lnTo>
                  <a:pt x="959" y="1045"/>
                </a:lnTo>
                <a:lnTo>
                  <a:pt x="959" y="1045"/>
                </a:lnTo>
                <a:lnTo>
                  <a:pt x="952" y="1046"/>
                </a:lnTo>
                <a:lnTo>
                  <a:pt x="949" y="1048"/>
                </a:lnTo>
                <a:lnTo>
                  <a:pt x="946" y="1049"/>
                </a:lnTo>
                <a:lnTo>
                  <a:pt x="946" y="1049"/>
                </a:lnTo>
                <a:lnTo>
                  <a:pt x="956" y="1049"/>
                </a:lnTo>
                <a:lnTo>
                  <a:pt x="960" y="1049"/>
                </a:lnTo>
                <a:lnTo>
                  <a:pt x="966" y="1049"/>
                </a:lnTo>
                <a:lnTo>
                  <a:pt x="966" y="1049"/>
                </a:lnTo>
                <a:lnTo>
                  <a:pt x="956" y="1052"/>
                </a:lnTo>
                <a:lnTo>
                  <a:pt x="947" y="1058"/>
                </a:lnTo>
                <a:lnTo>
                  <a:pt x="947" y="1058"/>
                </a:lnTo>
                <a:lnTo>
                  <a:pt x="946" y="1055"/>
                </a:lnTo>
                <a:lnTo>
                  <a:pt x="947" y="1054"/>
                </a:lnTo>
                <a:lnTo>
                  <a:pt x="947" y="1052"/>
                </a:lnTo>
                <a:lnTo>
                  <a:pt x="946" y="1051"/>
                </a:lnTo>
                <a:lnTo>
                  <a:pt x="946" y="1051"/>
                </a:lnTo>
                <a:lnTo>
                  <a:pt x="943" y="1054"/>
                </a:lnTo>
                <a:lnTo>
                  <a:pt x="939" y="1054"/>
                </a:lnTo>
                <a:lnTo>
                  <a:pt x="929" y="1052"/>
                </a:lnTo>
                <a:lnTo>
                  <a:pt x="929" y="1052"/>
                </a:lnTo>
                <a:lnTo>
                  <a:pt x="919" y="1051"/>
                </a:lnTo>
                <a:lnTo>
                  <a:pt x="914" y="1052"/>
                </a:lnTo>
                <a:lnTo>
                  <a:pt x="910" y="1055"/>
                </a:lnTo>
                <a:lnTo>
                  <a:pt x="910" y="1055"/>
                </a:lnTo>
                <a:lnTo>
                  <a:pt x="913" y="1054"/>
                </a:lnTo>
                <a:lnTo>
                  <a:pt x="916" y="1055"/>
                </a:lnTo>
                <a:lnTo>
                  <a:pt x="917" y="1055"/>
                </a:lnTo>
                <a:lnTo>
                  <a:pt x="916" y="1056"/>
                </a:lnTo>
                <a:lnTo>
                  <a:pt x="916" y="1056"/>
                </a:lnTo>
                <a:lnTo>
                  <a:pt x="913" y="1056"/>
                </a:lnTo>
                <a:lnTo>
                  <a:pt x="912" y="1056"/>
                </a:lnTo>
                <a:lnTo>
                  <a:pt x="907" y="1055"/>
                </a:lnTo>
                <a:lnTo>
                  <a:pt x="907" y="1055"/>
                </a:lnTo>
                <a:lnTo>
                  <a:pt x="904" y="1059"/>
                </a:lnTo>
                <a:lnTo>
                  <a:pt x="902" y="1061"/>
                </a:lnTo>
                <a:lnTo>
                  <a:pt x="894" y="1062"/>
                </a:lnTo>
                <a:lnTo>
                  <a:pt x="894" y="1062"/>
                </a:lnTo>
                <a:lnTo>
                  <a:pt x="886" y="1064"/>
                </a:lnTo>
                <a:lnTo>
                  <a:pt x="882" y="1064"/>
                </a:lnTo>
                <a:lnTo>
                  <a:pt x="879" y="1066"/>
                </a:lnTo>
                <a:lnTo>
                  <a:pt x="879" y="1066"/>
                </a:lnTo>
                <a:lnTo>
                  <a:pt x="876" y="1065"/>
                </a:lnTo>
                <a:lnTo>
                  <a:pt x="875" y="1064"/>
                </a:lnTo>
                <a:lnTo>
                  <a:pt x="872" y="1061"/>
                </a:lnTo>
                <a:lnTo>
                  <a:pt x="872" y="1061"/>
                </a:lnTo>
                <a:lnTo>
                  <a:pt x="870" y="1062"/>
                </a:lnTo>
                <a:lnTo>
                  <a:pt x="869" y="1064"/>
                </a:lnTo>
                <a:lnTo>
                  <a:pt x="862" y="1066"/>
                </a:lnTo>
                <a:lnTo>
                  <a:pt x="855" y="1069"/>
                </a:lnTo>
                <a:lnTo>
                  <a:pt x="849" y="1069"/>
                </a:lnTo>
                <a:lnTo>
                  <a:pt x="849" y="1069"/>
                </a:lnTo>
                <a:lnTo>
                  <a:pt x="849" y="1068"/>
                </a:lnTo>
                <a:lnTo>
                  <a:pt x="850" y="1066"/>
                </a:lnTo>
                <a:lnTo>
                  <a:pt x="853" y="1066"/>
                </a:lnTo>
                <a:lnTo>
                  <a:pt x="856" y="1065"/>
                </a:lnTo>
                <a:lnTo>
                  <a:pt x="857" y="1065"/>
                </a:lnTo>
                <a:lnTo>
                  <a:pt x="857" y="1064"/>
                </a:lnTo>
                <a:lnTo>
                  <a:pt x="857" y="1064"/>
                </a:lnTo>
                <a:lnTo>
                  <a:pt x="846" y="1066"/>
                </a:lnTo>
                <a:lnTo>
                  <a:pt x="837" y="1069"/>
                </a:lnTo>
                <a:lnTo>
                  <a:pt x="825" y="1075"/>
                </a:lnTo>
                <a:lnTo>
                  <a:pt x="825" y="1075"/>
                </a:lnTo>
                <a:lnTo>
                  <a:pt x="823" y="1075"/>
                </a:lnTo>
                <a:lnTo>
                  <a:pt x="822" y="1074"/>
                </a:lnTo>
                <a:lnTo>
                  <a:pt x="820" y="1072"/>
                </a:lnTo>
                <a:lnTo>
                  <a:pt x="819" y="1071"/>
                </a:lnTo>
                <a:lnTo>
                  <a:pt x="819" y="1071"/>
                </a:lnTo>
                <a:lnTo>
                  <a:pt x="820" y="1074"/>
                </a:lnTo>
                <a:lnTo>
                  <a:pt x="819" y="1075"/>
                </a:lnTo>
                <a:lnTo>
                  <a:pt x="815" y="1078"/>
                </a:lnTo>
                <a:lnTo>
                  <a:pt x="806" y="1081"/>
                </a:lnTo>
                <a:lnTo>
                  <a:pt x="799" y="1081"/>
                </a:lnTo>
                <a:lnTo>
                  <a:pt x="799" y="1081"/>
                </a:lnTo>
                <a:lnTo>
                  <a:pt x="799" y="1075"/>
                </a:lnTo>
                <a:lnTo>
                  <a:pt x="800" y="1072"/>
                </a:lnTo>
                <a:lnTo>
                  <a:pt x="800" y="1072"/>
                </a:lnTo>
                <a:lnTo>
                  <a:pt x="803" y="1072"/>
                </a:lnTo>
                <a:lnTo>
                  <a:pt x="806" y="1072"/>
                </a:lnTo>
                <a:lnTo>
                  <a:pt x="812" y="1069"/>
                </a:lnTo>
                <a:lnTo>
                  <a:pt x="812" y="1069"/>
                </a:lnTo>
                <a:lnTo>
                  <a:pt x="810" y="1069"/>
                </a:lnTo>
                <a:lnTo>
                  <a:pt x="810" y="1068"/>
                </a:lnTo>
                <a:lnTo>
                  <a:pt x="812" y="1065"/>
                </a:lnTo>
                <a:lnTo>
                  <a:pt x="815" y="1064"/>
                </a:lnTo>
                <a:lnTo>
                  <a:pt x="817" y="1061"/>
                </a:lnTo>
                <a:lnTo>
                  <a:pt x="817" y="1061"/>
                </a:lnTo>
                <a:lnTo>
                  <a:pt x="819" y="1061"/>
                </a:lnTo>
                <a:lnTo>
                  <a:pt x="820" y="1062"/>
                </a:lnTo>
                <a:lnTo>
                  <a:pt x="819" y="1065"/>
                </a:lnTo>
                <a:lnTo>
                  <a:pt x="819" y="1065"/>
                </a:lnTo>
                <a:lnTo>
                  <a:pt x="829" y="1062"/>
                </a:lnTo>
                <a:lnTo>
                  <a:pt x="840" y="1062"/>
                </a:lnTo>
                <a:lnTo>
                  <a:pt x="840" y="1062"/>
                </a:lnTo>
                <a:lnTo>
                  <a:pt x="852" y="1061"/>
                </a:lnTo>
                <a:lnTo>
                  <a:pt x="863" y="1058"/>
                </a:lnTo>
                <a:lnTo>
                  <a:pt x="863" y="1058"/>
                </a:lnTo>
                <a:lnTo>
                  <a:pt x="862" y="1061"/>
                </a:lnTo>
                <a:lnTo>
                  <a:pt x="862" y="1062"/>
                </a:lnTo>
                <a:lnTo>
                  <a:pt x="863" y="1064"/>
                </a:lnTo>
                <a:lnTo>
                  <a:pt x="863" y="1064"/>
                </a:lnTo>
                <a:lnTo>
                  <a:pt x="863" y="1061"/>
                </a:lnTo>
                <a:lnTo>
                  <a:pt x="863" y="1061"/>
                </a:lnTo>
                <a:lnTo>
                  <a:pt x="865" y="1059"/>
                </a:lnTo>
                <a:lnTo>
                  <a:pt x="867" y="1059"/>
                </a:lnTo>
                <a:lnTo>
                  <a:pt x="869" y="1059"/>
                </a:lnTo>
                <a:lnTo>
                  <a:pt x="869" y="1058"/>
                </a:lnTo>
                <a:lnTo>
                  <a:pt x="869" y="1058"/>
                </a:lnTo>
                <a:lnTo>
                  <a:pt x="867" y="1056"/>
                </a:lnTo>
                <a:lnTo>
                  <a:pt x="866" y="1055"/>
                </a:lnTo>
                <a:lnTo>
                  <a:pt x="869" y="1052"/>
                </a:lnTo>
                <a:lnTo>
                  <a:pt x="875" y="1049"/>
                </a:lnTo>
                <a:lnTo>
                  <a:pt x="875" y="1049"/>
                </a:lnTo>
                <a:lnTo>
                  <a:pt x="873" y="1052"/>
                </a:lnTo>
                <a:lnTo>
                  <a:pt x="875" y="1052"/>
                </a:lnTo>
                <a:lnTo>
                  <a:pt x="877" y="1054"/>
                </a:lnTo>
                <a:lnTo>
                  <a:pt x="877" y="1054"/>
                </a:lnTo>
                <a:lnTo>
                  <a:pt x="879" y="1051"/>
                </a:lnTo>
                <a:lnTo>
                  <a:pt x="880" y="1049"/>
                </a:lnTo>
                <a:lnTo>
                  <a:pt x="886" y="1048"/>
                </a:lnTo>
                <a:lnTo>
                  <a:pt x="886" y="1048"/>
                </a:lnTo>
                <a:lnTo>
                  <a:pt x="890" y="1049"/>
                </a:lnTo>
                <a:lnTo>
                  <a:pt x="890" y="1049"/>
                </a:lnTo>
                <a:lnTo>
                  <a:pt x="893" y="1048"/>
                </a:lnTo>
                <a:lnTo>
                  <a:pt x="894" y="1046"/>
                </a:lnTo>
                <a:lnTo>
                  <a:pt x="894" y="1046"/>
                </a:lnTo>
                <a:lnTo>
                  <a:pt x="896" y="1048"/>
                </a:lnTo>
                <a:lnTo>
                  <a:pt x="896" y="1049"/>
                </a:lnTo>
                <a:lnTo>
                  <a:pt x="896" y="1051"/>
                </a:lnTo>
                <a:lnTo>
                  <a:pt x="899" y="1051"/>
                </a:lnTo>
                <a:lnTo>
                  <a:pt x="899" y="1051"/>
                </a:lnTo>
                <a:lnTo>
                  <a:pt x="897" y="1044"/>
                </a:lnTo>
                <a:lnTo>
                  <a:pt x="897" y="1044"/>
                </a:lnTo>
                <a:lnTo>
                  <a:pt x="927" y="1036"/>
                </a:lnTo>
                <a:lnTo>
                  <a:pt x="927" y="1036"/>
                </a:lnTo>
                <a:lnTo>
                  <a:pt x="929" y="1036"/>
                </a:lnTo>
                <a:lnTo>
                  <a:pt x="929" y="1036"/>
                </a:lnTo>
                <a:lnTo>
                  <a:pt x="927" y="1034"/>
                </a:lnTo>
                <a:lnTo>
                  <a:pt x="926" y="1031"/>
                </a:lnTo>
                <a:lnTo>
                  <a:pt x="927" y="1031"/>
                </a:lnTo>
                <a:lnTo>
                  <a:pt x="930" y="1031"/>
                </a:lnTo>
                <a:lnTo>
                  <a:pt x="930" y="1031"/>
                </a:lnTo>
                <a:lnTo>
                  <a:pt x="930" y="1032"/>
                </a:lnTo>
                <a:lnTo>
                  <a:pt x="933" y="1032"/>
                </a:lnTo>
                <a:lnTo>
                  <a:pt x="940" y="1031"/>
                </a:lnTo>
                <a:lnTo>
                  <a:pt x="940" y="1031"/>
                </a:lnTo>
                <a:lnTo>
                  <a:pt x="947" y="1029"/>
                </a:lnTo>
                <a:lnTo>
                  <a:pt x="950" y="1031"/>
                </a:lnTo>
                <a:lnTo>
                  <a:pt x="953" y="1034"/>
                </a:lnTo>
                <a:lnTo>
                  <a:pt x="953" y="1034"/>
                </a:lnTo>
                <a:lnTo>
                  <a:pt x="959" y="1031"/>
                </a:lnTo>
                <a:lnTo>
                  <a:pt x="959" y="1031"/>
                </a:lnTo>
                <a:lnTo>
                  <a:pt x="960" y="1029"/>
                </a:lnTo>
                <a:lnTo>
                  <a:pt x="960" y="1029"/>
                </a:lnTo>
                <a:lnTo>
                  <a:pt x="963" y="1029"/>
                </a:lnTo>
                <a:lnTo>
                  <a:pt x="963" y="1029"/>
                </a:lnTo>
                <a:lnTo>
                  <a:pt x="973" y="1026"/>
                </a:lnTo>
                <a:lnTo>
                  <a:pt x="973" y="1026"/>
                </a:lnTo>
                <a:lnTo>
                  <a:pt x="983" y="1024"/>
                </a:lnTo>
                <a:lnTo>
                  <a:pt x="989" y="1021"/>
                </a:lnTo>
                <a:lnTo>
                  <a:pt x="994" y="1016"/>
                </a:lnTo>
                <a:lnTo>
                  <a:pt x="994" y="1016"/>
                </a:lnTo>
                <a:lnTo>
                  <a:pt x="997" y="1018"/>
                </a:lnTo>
                <a:lnTo>
                  <a:pt x="1001" y="1018"/>
                </a:lnTo>
                <a:lnTo>
                  <a:pt x="1001" y="1018"/>
                </a:lnTo>
                <a:lnTo>
                  <a:pt x="1006" y="1016"/>
                </a:lnTo>
                <a:lnTo>
                  <a:pt x="1006" y="1016"/>
                </a:lnTo>
                <a:lnTo>
                  <a:pt x="1007" y="1015"/>
                </a:lnTo>
                <a:lnTo>
                  <a:pt x="1007" y="1015"/>
                </a:lnTo>
                <a:lnTo>
                  <a:pt x="1006" y="1015"/>
                </a:lnTo>
                <a:lnTo>
                  <a:pt x="1006" y="1015"/>
                </a:lnTo>
                <a:lnTo>
                  <a:pt x="1004" y="1015"/>
                </a:lnTo>
                <a:lnTo>
                  <a:pt x="1004" y="1015"/>
                </a:lnTo>
                <a:lnTo>
                  <a:pt x="1003" y="1015"/>
                </a:lnTo>
                <a:lnTo>
                  <a:pt x="1003" y="1015"/>
                </a:lnTo>
                <a:lnTo>
                  <a:pt x="1001" y="1014"/>
                </a:lnTo>
                <a:lnTo>
                  <a:pt x="1004" y="1012"/>
                </a:lnTo>
                <a:lnTo>
                  <a:pt x="1004" y="1012"/>
                </a:lnTo>
                <a:lnTo>
                  <a:pt x="1006" y="1012"/>
                </a:lnTo>
                <a:lnTo>
                  <a:pt x="1006" y="1012"/>
                </a:lnTo>
                <a:lnTo>
                  <a:pt x="1007" y="1012"/>
                </a:lnTo>
                <a:lnTo>
                  <a:pt x="1007" y="1012"/>
                </a:lnTo>
                <a:lnTo>
                  <a:pt x="1010" y="1012"/>
                </a:lnTo>
                <a:lnTo>
                  <a:pt x="1010" y="1012"/>
                </a:lnTo>
                <a:lnTo>
                  <a:pt x="1016" y="1012"/>
                </a:lnTo>
                <a:lnTo>
                  <a:pt x="1016" y="1012"/>
                </a:lnTo>
                <a:lnTo>
                  <a:pt x="1023" y="1011"/>
                </a:lnTo>
                <a:lnTo>
                  <a:pt x="1024" y="1011"/>
                </a:lnTo>
                <a:lnTo>
                  <a:pt x="1024" y="1009"/>
                </a:lnTo>
                <a:lnTo>
                  <a:pt x="1026" y="1009"/>
                </a:lnTo>
                <a:lnTo>
                  <a:pt x="1026" y="1009"/>
                </a:lnTo>
                <a:lnTo>
                  <a:pt x="1034" y="1006"/>
                </a:lnTo>
                <a:lnTo>
                  <a:pt x="1034" y="1006"/>
                </a:lnTo>
                <a:lnTo>
                  <a:pt x="1039" y="1005"/>
                </a:lnTo>
                <a:lnTo>
                  <a:pt x="1039" y="1005"/>
                </a:lnTo>
                <a:lnTo>
                  <a:pt x="1081" y="989"/>
                </a:lnTo>
                <a:lnTo>
                  <a:pt x="1081" y="989"/>
                </a:lnTo>
                <a:lnTo>
                  <a:pt x="1078" y="989"/>
                </a:lnTo>
                <a:lnTo>
                  <a:pt x="1077" y="988"/>
                </a:lnTo>
                <a:lnTo>
                  <a:pt x="1077" y="988"/>
                </a:lnTo>
                <a:lnTo>
                  <a:pt x="1084" y="985"/>
                </a:lnTo>
                <a:lnTo>
                  <a:pt x="1084" y="985"/>
                </a:lnTo>
                <a:lnTo>
                  <a:pt x="1084" y="988"/>
                </a:lnTo>
                <a:lnTo>
                  <a:pt x="1084" y="991"/>
                </a:lnTo>
                <a:lnTo>
                  <a:pt x="1084" y="991"/>
                </a:lnTo>
                <a:lnTo>
                  <a:pt x="1086" y="988"/>
                </a:lnTo>
                <a:lnTo>
                  <a:pt x="1088" y="988"/>
                </a:lnTo>
                <a:lnTo>
                  <a:pt x="1094" y="986"/>
                </a:lnTo>
                <a:lnTo>
                  <a:pt x="1100" y="986"/>
                </a:lnTo>
                <a:lnTo>
                  <a:pt x="1101" y="986"/>
                </a:lnTo>
                <a:lnTo>
                  <a:pt x="1103" y="985"/>
                </a:lnTo>
                <a:lnTo>
                  <a:pt x="1103" y="985"/>
                </a:lnTo>
                <a:lnTo>
                  <a:pt x="1101" y="985"/>
                </a:lnTo>
                <a:lnTo>
                  <a:pt x="1103" y="984"/>
                </a:lnTo>
                <a:lnTo>
                  <a:pt x="1104" y="984"/>
                </a:lnTo>
                <a:lnTo>
                  <a:pt x="1107" y="984"/>
                </a:lnTo>
                <a:lnTo>
                  <a:pt x="1107" y="984"/>
                </a:lnTo>
                <a:lnTo>
                  <a:pt x="1106" y="979"/>
                </a:lnTo>
                <a:lnTo>
                  <a:pt x="1108" y="975"/>
                </a:lnTo>
                <a:lnTo>
                  <a:pt x="1108" y="975"/>
                </a:lnTo>
                <a:lnTo>
                  <a:pt x="1104" y="976"/>
                </a:lnTo>
                <a:lnTo>
                  <a:pt x="1103" y="978"/>
                </a:lnTo>
                <a:lnTo>
                  <a:pt x="1101" y="976"/>
                </a:lnTo>
                <a:lnTo>
                  <a:pt x="1101" y="976"/>
                </a:lnTo>
                <a:lnTo>
                  <a:pt x="1106" y="972"/>
                </a:lnTo>
                <a:lnTo>
                  <a:pt x="1111" y="969"/>
                </a:lnTo>
                <a:lnTo>
                  <a:pt x="1124" y="964"/>
                </a:lnTo>
                <a:lnTo>
                  <a:pt x="1124" y="964"/>
                </a:lnTo>
                <a:lnTo>
                  <a:pt x="1138" y="958"/>
                </a:lnTo>
                <a:lnTo>
                  <a:pt x="1150" y="954"/>
                </a:lnTo>
                <a:lnTo>
                  <a:pt x="1150" y="954"/>
                </a:lnTo>
                <a:lnTo>
                  <a:pt x="1150" y="951"/>
                </a:lnTo>
                <a:lnTo>
                  <a:pt x="1150" y="951"/>
                </a:lnTo>
                <a:lnTo>
                  <a:pt x="1147" y="949"/>
                </a:lnTo>
                <a:lnTo>
                  <a:pt x="1146" y="949"/>
                </a:lnTo>
                <a:lnTo>
                  <a:pt x="1146" y="948"/>
                </a:lnTo>
                <a:lnTo>
                  <a:pt x="1146" y="946"/>
                </a:lnTo>
                <a:lnTo>
                  <a:pt x="1146" y="946"/>
                </a:lnTo>
                <a:lnTo>
                  <a:pt x="1148" y="946"/>
                </a:lnTo>
                <a:lnTo>
                  <a:pt x="1150" y="945"/>
                </a:lnTo>
                <a:lnTo>
                  <a:pt x="1154" y="941"/>
                </a:lnTo>
                <a:lnTo>
                  <a:pt x="1155" y="938"/>
                </a:lnTo>
                <a:lnTo>
                  <a:pt x="1158" y="936"/>
                </a:lnTo>
                <a:lnTo>
                  <a:pt x="1160" y="938"/>
                </a:lnTo>
                <a:lnTo>
                  <a:pt x="1160" y="938"/>
                </a:lnTo>
                <a:lnTo>
                  <a:pt x="1160" y="939"/>
                </a:lnTo>
                <a:lnTo>
                  <a:pt x="1158" y="942"/>
                </a:lnTo>
                <a:lnTo>
                  <a:pt x="1154" y="945"/>
                </a:lnTo>
                <a:lnTo>
                  <a:pt x="1151" y="949"/>
                </a:lnTo>
                <a:lnTo>
                  <a:pt x="1153" y="951"/>
                </a:lnTo>
                <a:lnTo>
                  <a:pt x="1155" y="952"/>
                </a:lnTo>
                <a:lnTo>
                  <a:pt x="1155" y="952"/>
                </a:lnTo>
                <a:lnTo>
                  <a:pt x="1158" y="945"/>
                </a:lnTo>
                <a:lnTo>
                  <a:pt x="1161" y="939"/>
                </a:lnTo>
                <a:lnTo>
                  <a:pt x="1165" y="934"/>
                </a:lnTo>
                <a:lnTo>
                  <a:pt x="1168" y="932"/>
                </a:lnTo>
                <a:lnTo>
                  <a:pt x="1173" y="932"/>
                </a:lnTo>
                <a:lnTo>
                  <a:pt x="1173" y="932"/>
                </a:lnTo>
                <a:lnTo>
                  <a:pt x="1170" y="928"/>
                </a:lnTo>
                <a:lnTo>
                  <a:pt x="1171" y="924"/>
                </a:lnTo>
                <a:lnTo>
                  <a:pt x="1173" y="919"/>
                </a:lnTo>
                <a:lnTo>
                  <a:pt x="1177" y="917"/>
                </a:lnTo>
                <a:lnTo>
                  <a:pt x="1184" y="909"/>
                </a:lnTo>
                <a:lnTo>
                  <a:pt x="1187" y="907"/>
                </a:lnTo>
                <a:lnTo>
                  <a:pt x="1188" y="902"/>
                </a:lnTo>
                <a:lnTo>
                  <a:pt x="1188" y="902"/>
                </a:lnTo>
                <a:lnTo>
                  <a:pt x="1194" y="902"/>
                </a:lnTo>
                <a:lnTo>
                  <a:pt x="1200" y="899"/>
                </a:lnTo>
                <a:lnTo>
                  <a:pt x="1205" y="897"/>
                </a:lnTo>
                <a:lnTo>
                  <a:pt x="1207" y="894"/>
                </a:lnTo>
                <a:lnTo>
                  <a:pt x="1210" y="891"/>
                </a:lnTo>
                <a:lnTo>
                  <a:pt x="1210" y="891"/>
                </a:lnTo>
                <a:lnTo>
                  <a:pt x="1201" y="895"/>
                </a:lnTo>
                <a:lnTo>
                  <a:pt x="1193" y="898"/>
                </a:lnTo>
                <a:lnTo>
                  <a:pt x="1185" y="898"/>
                </a:lnTo>
                <a:lnTo>
                  <a:pt x="1178" y="897"/>
                </a:lnTo>
                <a:lnTo>
                  <a:pt x="1178" y="897"/>
                </a:lnTo>
                <a:lnTo>
                  <a:pt x="1181" y="894"/>
                </a:lnTo>
                <a:lnTo>
                  <a:pt x="1181" y="892"/>
                </a:lnTo>
                <a:lnTo>
                  <a:pt x="1181" y="892"/>
                </a:lnTo>
                <a:lnTo>
                  <a:pt x="1181" y="892"/>
                </a:lnTo>
                <a:lnTo>
                  <a:pt x="1178" y="894"/>
                </a:lnTo>
                <a:lnTo>
                  <a:pt x="1177" y="895"/>
                </a:lnTo>
                <a:lnTo>
                  <a:pt x="1177" y="898"/>
                </a:lnTo>
                <a:lnTo>
                  <a:pt x="1177" y="898"/>
                </a:lnTo>
                <a:lnTo>
                  <a:pt x="1175" y="901"/>
                </a:lnTo>
                <a:lnTo>
                  <a:pt x="1174" y="902"/>
                </a:lnTo>
                <a:lnTo>
                  <a:pt x="1171" y="904"/>
                </a:lnTo>
                <a:lnTo>
                  <a:pt x="1171" y="904"/>
                </a:lnTo>
                <a:lnTo>
                  <a:pt x="1173" y="905"/>
                </a:lnTo>
                <a:lnTo>
                  <a:pt x="1174" y="907"/>
                </a:lnTo>
                <a:lnTo>
                  <a:pt x="1178" y="905"/>
                </a:lnTo>
                <a:lnTo>
                  <a:pt x="1181" y="904"/>
                </a:lnTo>
                <a:lnTo>
                  <a:pt x="1183" y="904"/>
                </a:lnTo>
                <a:lnTo>
                  <a:pt x="1184" y="905"/>
                </a:lnTo>
                <a:lnTo>
                  <a:pt x="1184" y="905"/>
                </a:lnTo>
                <a:lnTo>
                  <a:pt x="1168" y="917"/>
                </a:lnTo>
                <a:lnTo>
                  <a:pt x="1161" y="921"/>
                </a:lnTo>
                <a:lnTo>
                  <a:pt x="1153" y="924"/>
                </a:lnTo>
                <a:lnTo>
                  <a:pt x="1153" y="924"/>
                </a:lnTo>
                <a:lnTo>
                  <a:pt x="1155" y="922"/>
                </a:lnTo>
                <a:lnTo>
                  <a:pt x="1155" y="919"/>
                </a:lnTo>
                <a:lnTo>
                  <a:pt x="1154" y="918"/>
                </a:lnTo>
                <a:lnTo>
                  <a:pt x="1157" y="917"/>
                </a:lnTo>
                <a:lnTo>
                  <a:pt x="1157" y="917"/>
                </a:lnTo>
                <a:lnTo>
                  <a:pt x="1163" y="915"/>
                </a:lnTo>
                <a:lnTo>
                  <a:pt x="1165" y="914"/>
                </a:lnTo>
                <a:lnTo>
                  <a:pt x="1165" y="912"/>
                </a:lnTo>
                <a:lnTo>
                  <a:pt x="1165" y="912"/>
                </a:lnTo>
                <a:lnTo>
                  <a:pt x="1165" y="908"/>
                </a:lnTo>
                <a:lnTo>
                  <a:pt x="1167" y="905"/>
                </a:lnTo>
                <a:lnTo>
                  <a:pt x="1171" y="897"/>
                </a:lnTo>
                <a:lnTo>
                  <a:pt x="1171" y="897"/>
                </a:lnTo>
                <a:lnTo>
                  <a:pt x="1180" y="891"/>
                </a:lnTo>
                <a:lnTo>
                  <a:pt x="1184" y="888"/>
                </a:lnTo>
                <a:lnTo>
                  <a:pt x="1190" y="888"/>
                </a:lnTo>
                <a:lnTo>
                  <a:pt x="1190" y="888"/>
                </a:lnTo>
                <a:lnTo>
                  <a:pt x="1190" y="885"/>
                </a:lnTo>
                <a:lnTo>
                  <a:pt x="1191" y="882"/>
                </a:lnTo>
                <a:lnTo>
                  <a:pt x="1195" y="879"/>
                </a:lnTo>
                <a:lnTo>
                  <a:pt x="1203" y="878"/>
                </a:lnTo>
                <a:lnTo>
                  <a:pt x="1203" y="878"/>
                </a:lnTo>
                <a:lnTo>
                  <a:pt x="1201" y="878"/>
                </a:lnTo>
                <a:lnTo>
                  <a:pt x="1201" y="875"/>
                </a:lnTo>
                <a:lnTo>
                  <a:pt x="1203" y="871"/>
                </a:lnTo>
                <a:lnTo>
                  <a:pt x="1203" y="871"/>
                </a:lnTo>
                <a:lnTo>
                  <a:pt x="1204" y="872"/>
                </a:lnTo>
                <a:lnTo>
                  <a:pt x="1207" y="872"/>
                </a:lnTo>
                <a:lnTo>
                  <a:pt x="1211" y="869"/>
                </a:lnTo>
                <a:lnTo>
                  <a:pt x="1213" y="868"/>
                </a:lnTo>
                <a:lnTo>
                  <a:pt x="1213" y="867"/>
                </a:lnTo>
                <a:lnTo>
                  <a:pt x="1211" y="865"/>
                </a:lnTo>
                <a:lnTo>
                  <a:pt x="1208" y="864"/>
                </a:lnTo>
                <a:lnTo>
                  <a:pt x="1208" y="864"/>
                </a:lnTo>
                <a:lnTo>
                  <a:pt x="1211" y="862"/>
                </a:lnTo>
                <a:lnTo>
                  <a:pt x="1214" y="862"/>
                </a:lnTo>
                <a:lnTo>
                  <a:pt x="1217" y="862"/>
                </a:lnTo>
                <a:lnTo>
                  <a:pt x="1218" y="864"/>
                </a:lnTo>
                <a:lnTo>
                  <a:pt x="1218" y="864"/>
                </a:lnTo>
                <a:lnTo>
                  <a:pt x="1221" y="855"/>
                </a:lnTo>
                <a:lnTo>
                  <a:pt x="1224" y="845"/>
                </a:lnTo>
                <a:lnTo>
                  <a:pt x="1224" y="845"/>
                </a:lnTo>
                <a:lnTo>
                  <a:pt x="1225" y="849"/>
                </a:lnTo>
                <a:lnTo>
                  <a:pt x="1227" y="851"/>
                </a:lnTo>
                <a:lnTo>
                  <a:pt x="1228" y="849"/>
                </a:lnTo>
                <a:lnTo>
                  <a:pt x="1228" y="849"/>
                </a:lnTo>
                <a:lnTo>
                  <a:pt x="1230" y="847"/>
                </a:lnTo>
                <a:lnTo>
                  <a:pt x="1228" y="847"/>
                </a:lnTo>
                <a:lnTo>
                  <a:pt x="1228" y="845"/>
                </a:lnTo>
                <a:lnTo>
                  <a:pt x="1228" y="844"/>
                </a:lnTo>
                <a:lnTo>
                  <a:pt x="1228" y="844"/>
                </a:lnTo>
                <a:lnTo>
                  <a:pt x="1230" y="844"/>
                </a:lnTo>
                <a:lnTo>
                  <a:pt x="1231" y="845"/>
                </a:lnTo>
                <a:lnTo>
                  <a:pt x="1231" y="845"/>
                </a:lnTo>
                <a:lnTo>
                  <a:pt x="1231" y="841"/>
                </a:lnTo>
                <a:lnTo>
                  <a:pt x="1234" y="838"/>
                </a:lnTo>
                <a:lnTo>
                  <a:pt x="1237" y="837"/>
                </a:lnTo>
                <a:lnTo>
                  <a:pt x="1240" y="835"/>
                </a:lnTo>
                <a:lnTo>
                  <a:pt x="1240" y="835"/>
                </a:lnTo>
                <a:lnTo>
                  <a:pt x="1247" y="832"/>
                </a:lnTo>
                <a:lnTo>
                  <a:pt x="1248" y="831"/>
                </a:lnTo>
                <a:lnTo>
                  <a:pt x="1250" y="829"/>
                </a:lnTo>
                <a:lnTo>
                  <a:pt x="1250" y="829"/>
                </a:lnTo>
                <a:lnTo>
                  <a:pt x="1247" y="831"/>
                </a:lnTo>
                <a:lnTo>
                  <a:pt x="1245" y="831"/>
                </a:lnTo>
                <a:lnTo>
                  <a:pt x="1245" y="829"/>
                </a:lnTo>
                <a:lnTo>
                  <a:pt x="1245" y="829"/>
                </a:lnTo>
                <a:lnTo>
                  <a:pt x="1254" y="822"/>
                </a:lnTo>
                <a:lnTo>
                  <a:pt x="1254" y="822"/>
                </a:lnTo>
                <a:lnTo>
                  <a:pt x="1258" y="821"/>
                </a:lnTo>
                <a:lnTo>
                  <a:pt x="1262" y="821"/>
                </a:lnTo>
                <a:lnTo>
                  <a:pt x="1262" y="821"/>
                </a:lnTo>
                <a:lnTo>
                  <a:pt x="1262" y="819"/>
                </a:lnTo>
                <a:lnTo>
                  <a:pt x="1262" y="818"/>
                </a:lnTo>
                <a:lnTo>
                  <a:pt x="1265" y="817"/>
                </a:lnTo>
                <a:lnTo>
                  <a:pt x="1268" y="817"/>
                </a:lnTo>
                <a:lnTo>
                  <a:pt x="1272" y="814"/>
                </a:lnTo>
                <a:lnTo>
                  <a:pt x="1272" y="814"/>
                </a:lnTo>
                <a:lnTo>
                  <a:pt x="1271" y="809"/>
                </a:lnTo>
                <a:lnTo>
                  <a:pt x="1272" y="805"/>
                </a:lnTo>
                <a:lnTo>
                  <a:pt x="1274" y="801"/>
                </a:lnTo>
                <a:lnTo>
                  <a:pt x="1278" y="797"/>
                </a:lnTo>
                <a:lnTo>
                  <a:pt x="1278" y="797"/>
                </a:lnTo>
                <a:lnTo>
                  <a:pt x="1281" y="792"/>
                </a:lnTo>
                <a:lnTo>
                  <a:pt x="1285" y="791"/>
                </a:lnTo>
                <a:lnTo>
                  <a:pt x="1288" y="789"/>
                </a:lnTo>
                <a:lnTo>
                  <a:pt x="1290" y="791"/>
                </a:lnTo>
                <a:lnTo>
                  <a:pt x="1290" y="791"/>
                </a:lnTo>
                <a:lnTo>
                  <a:pt x="1291" y="787"/>
                </a:lnTo>
                <a:lnTo>
                  <a:pt x="1291" y="782"/>
                </a:lnTo>
                <a:lnTo>
                  <a:pt x="1294" y="778"/>
                </a:lnTo>
                <a:lnTo>
                  <a:pt x="1300" y="777"/>
                </a:lnTo>
                <a:lnTo>
                  <a:pt x="1300" y="777"/>
                </a:lnTo>
                <a:lnTo>
                  <a:pt x="1297" y="775"/>
                </a:lnTo>
                <a:lnTo>
                  <a:pt x="1295" y="775"/>
                </a:lnTo>
                <a:lnTo>
                  <a:pt x="1292" y="777"/>
                </a:lnTo>
                <a:lnTo>
                  <a:pt x="1288" y="781"/>
                </a:lnTo>
                <a:lnTo>
                  <a:pt x="1287" y="782"/>
                </a:lnTo>
                <a:lnTo>
                  <a:pt x="1285" y="782"/>
                </a:lnTo>
                <a:lnTo>
                  <a:pt x="1285" y="782"/>
                </a:lnTo>
                <a:lnTo>
                  <a:pt x="1288" y="778"/>
                </a:lnTo>
                <a:lnTo>
                  <a:pt x="1292" y="772"/>
                </a:lnTo>
                <a:lnTo>
                  <a:pt x="1292" y="772"/>
                </a:lnTo>
                <a:lnTo>
                  <a:pt x="1297" y="768"/>
                </a:lnTo>
                <a:lnTo>
                  <a:pt x="1298" y="762"/>
                </a:lnTo>
                <a:lnTo>
                  <a:pt x="1298" y="762"/>
                </a:lnTo>
                <a:lnTo>
                  <a:pt x="1307" y="762"/>
                </a:lnTo>
                <a:lnTo>
                  <a:pt x="1310" y="764"/>
                </a:lnTo>
                <a:lnTo>
                  <a:pt x="1312" y="765"/>
                </a:lnTo>
                <a:lnTo>
                  <a:pt x="1312" y="765"/>
                </a:lnTo>
                <a:lnTo>
                  <a:pt x="1314" y="762"/>
                </a:lnTo>
                <a:lnTo>
                  <a:pt x="1312" y="760"/>
                </a:lnTo>
                <a:lnTo>
                  <a:pt x="1312" y="757"/>
                </a:lnTo>
                <a:lnTo>
                  <a:pt x="1312" y="754"/>
                </a:lnTo>
                <a:lnTo>
                  <a:pt x="1312" y="754"/>
                </a:lnTo>
                <a:lnTo>
                  <a:pt x="1310" y="757"/>
                </a:lnTo>
                <a:lnTo>
                  <a:pt x="1308" y="757"/>
                </a:lnTo>
                <a:lnTo>
                  <a:pt x="1307" y="757"/>
                </a:lnTo>
                <a:lnTo>
                  <a:pt x="1307" y="757"/>
                </a:lnTo>
                <a:lnTo>
                  <a:pt x="1308" y="754"/>
                </a:lnTo>
                <a:lnTo>
                  <a:pt x="1308" y="751"/>
                </a:lnTo>
                <a:lnTo>
                  <a:pt x="1312" y="747"/>
                </a:lnTo>
                <a:lnTo>
                  <a:pt x="1312" y="747"/>
                </a:lnTo>
                <a:lnTo>
                  <a:pt x="1315" y="745"/>
                </a:lnTo>
                <a:lnTo>
                  <a:pt x="1318" y="745"/>
                </a:lnTo>
                <a:lnTo>
                  <a:pt x="1321" y="745"/>
                </a:lnTo>
                <a:lnTo>
                  <a:pt x="1324" y="747"/>
                </a:lnTo>
                <a:lnTo>
                  <a:pt x="1324" y="747"/>
                </a:lnTo>
                <a:lnTo>
                  <a:pt x="1322" y="750"/>
                </a:lnTo>
                <a:lnTo>
                  <a:pt x="1324" y="752"/>
                </a:lnTo>
                <a:lnTo>
                  <a:pt x="1325" y="754"/>
                </a:lnTo>
                <a:lnTo>
                  <a:pt x="1327" y="754"/>
                </a:lnTo>
                <a:lnTo>
                  <a:pt x="1327" y="754"/>
                </a:lnTo>
                <a:lnTo>
                  <a:pt x="1325" y="751"/>
                </a:lnTo>
                <a:lnTo>
                  <a:pt x="1325" y="748"/>
                </a:lnTo>
                <a:lnTo>
                  <a:pt x="1327" y="744"/>
                </a:lnTo>
                <a:lnTo>
                  <a:pt x="1328" y="738"/>
                </a:lnTo>
                <a:lnTo>
                  <a:pt x="1328" y="734"/>
                </a:lnTo>
                <a:lnTo>
                  <a:pt x="1328" y="734"/>
                </a:lnTo>
                <a:lnTo>
                  <a:pt x="1325" y="737"/>
                </a:lnTo>
                <a:lnTo>
                  <a:pt x="1325" y="740"/>
                </a:lnTo>
                <a:lnTo>
                  <a:pt x="1325" y="741"/>
                </a:lnTo>
                <a:lnTo>
                  <a:pt x="1324" y="744"/>
                </a:lnTo>
                <a:lnTo>
                  <a:pt x="1324" y="744"/>
                </a:lnTo>
                <a:lnTo>
                  <a:pt x="1321" y="742"/>
                </a:lnTo>
                <a:lnTo>
                  <a:pt x="1320" y="741"/>
                </a:lnTo>
                <a:lnTo>
                  <a:pt x="1317" y="741"/>
                </a:lnTo>
                <a:lnTo>
                  <a:pt x="1314" y="741"/>
                </a:lnTo>
                <a:lnTo>
                  <a:pt x="1314" y="741"/>
                </a:lnTo>
                <a:lnTo>
                  <a:pt x="1322" y="732"/>
                </a:lnTo>
                <a:lnTo>
                  <a:pt x="1327" y="724"/>
                </a:lnTo>
                <a:lnTo>
                  <a:pt x="1327" y="724"/>
                </a:lnTo>
                <a:lnTo>
                  <a:pt x="1327" y="725"/>
                </a:lnTo>
                <a:lnTo>
                  <a:pt x="1327" y="727"/>
                </a:lnTo>
                <a:lnTo>
                  <a:pt x="1327" y="728"/>
                </a:lnTo>
                <a:lnTo>
                  <a:pt x="1330" y="730"/>
                </a:lnTo>
                <a:lnTo>
                  <a:pt x="1330" y="730"/>
                </a:lnTo>
                <a:lnTo>
                  <a:pt x="1331" y="727"/>
                </a:lnTo>
                <a:lnTo>
                  <a:pt x="1330" y="725"/>
                </a:lnTo>
                <a:lnTo>
                  <a:pt x="1328" y="722"/>
                </a:lnTo>
                <a:lnTo>
                  <a:pt x="1328" y="721"/>
                </a:lnTo>
                <a:lnTo>
                  <a:pt x="1328" y="721"/>
                </a:lnTo>
                <a:lnTo>
                  <a:pt x="1332" y="718"/>
                </a:lnTo>
                <a:lnTo>
                  <a:pt x="1335" y="717"/>
                </a:lnTo>
                <a:lnTo>
                  <a:pt x="1338" y="718"/>
                </a:lnTo>
                <a:lnTo>
                  <a:pt x="1338" y="718"/>
                </a:lnTo>
                <a:lnTo>
                  <a:pt x="1338" y="712"/>
                </a:lnTo>
                <a:lnTo>
                  <a:pt x="1339" y="707"/>
                </a:lnTo>
                <a:lnTo>
                  <a:pt x="1345" y="698"/>
                </a:lnTo>
                <a:lnTo>
                  <a:pt x="1345" y="698"/>
                </a:lnTo>
                <a:lnTo>
                  <a:pt x="1351" y="690"/>
                </a:lnTo>
                <a:lnTo>
                  <a:pt x="1351" y="690"/>
                </a:lnTo>
                <a:lnTo>
                  <a:pt x="1358" y="680"/>
                </a:lnTo>
                <a:lnTo>
                  <a:pt x="1358" y="680"/>
                </a:lnTo>
                <a:lnTo>
                  <a:pt x="1357" y="678"/>
                </a:lnTo>
                <a:lnTo>
                  <a:pt x="1355" y="678"/>
                </a:lnTo>
                <a:lnTo>
                  <a:pt x="1352" y="681"/>
                </a:lnTo>
                <a:lnTo>
                  <a:pt x="1351" y="684"/>
                </a:lnTo>
                <a:lnTo>
                  <a:pt x="1349" y="685"/>
                </a:lnTo>
                <a:lnTo>
                  <a:pt x="1348" y="685"/>
                </a:lnTo>
                <a:lnTo>
                  <a:pt x="1348" y="685"/>
                </a:lnTo>
                <a:lnTo>
                  <a:pt x="1352" y="671"/>
                </a:lnTo>
                <a:lnTo>
                  <a:pt x="1357" y="657"/>
                </a:lnTo>
                <a:lnTo>
                  <a:pt x="1357" y="657"/>
                </a:lnTo>
                <a:lnTo>
                  <a:pt x="1361" y="644"/>
                </a:lnTo>
                <a:lnTo>
                  <a:pt x="1364" y="630"/>
                </a:lnTo>
                <a:lnTo>
                  <a:pt x="1364" y="630"/>
                </a:lnTo>
                <a:lnTo>
                  <a:pt x="1365" y="632"/>
                </a:lnTo>
                <a:lnTo>
                  <a:pt x="1367" y="635"/>
                </a:lnTo>
                <a:lnTo>
                  <a:pt x="1367" y="635"/>
                </a:lnTo>
                <a:lnTo>
                  <a:pt x="1367" y="631"/>
                </a:lnTo>
                <a:lnTo>
                  <a:pt x="1368" y="628"/>
                </a:lnTo>
                <a:lnTo>
                  <a:pt x="1368" y="628"/>
                </a:lnTo>
                <a:lnTo>
                  <a:pt x="1369" y="622"/>
                </a:lnTo>
                <a:lnTo>
                  <a:pt x="1369" y="622"/>
                </a:lnTo>
                <a:lnTo>
                  <a:pt x="1371" y="620"/>
                </a:lnTo>
                <a:lnTo>
                  <a:pt x="1371" y="617"/>
                </a:lnTo>
                <a:lnTo>
                  <a:pt x="1369" y="615"/>
                </a:lnTo>
                <a:lnTo>
                  <a:pt x="1369" y="615"/>
                </a:lnTo>
                <a:lnTo>
                  <a:pt x="1377" y="607"/>
                </a:lnTo>
                <a:lnTo>
                  <a:pt x="1382" y="597"/>
                </a:lnTo>
                <a:lnTo>
                  <a:pt x="1382" y="597"/>
                </a:lnTo>
                <a:lnTo>
                  <a:pt x="1395" y="573"/>
                </a:lnTo>
                <a:lnTo>
                  <a:pt x="1395" y="573"/>
                </a:lnTo>
                <a:lnTo>
                  <a:pt x="1407" y="548"/>
                </a:lnTo>
                <a:lnTo>
                  <a:pt x="1407" y="548"/>
                </a:lnTo>
                <a:lnTo>
                  <a:pt x="1408" y="543"/>
                </a:lnTo>
                <a:lnTo>
                  <a:pt x="1408" y="543"/>
                </a:lnTo>
                <a:lnTo>
                  <a:pt x="1411" y="538"/>
                </a:lnTo>
                <a:lnTo>
                  <a:pt x="1411" y="538"/>
                </a:lnTo>
                <a:lnTo>
                  <a:pt x="1417" y="531"/>
                </a:lnTo>
                <a:lnTo>
                  <a:pt x="1417" y="531"/>
                </a:lnTo>
                <a:lnTo>
                  <a:pt x="1418" y="521"/>
                </a:lnTo>
                <a:lnTo>
                  <a:pt x="1419" y="510"/>
                </a:lnTo>
                <a:lnTo>
                  <a:pt x="1419" y="510"/>
                </a:lnTo>
                <a:lnTo>
                  <a:pt x="1421" y="505"/>
                </a:lnTo>
                <a:lnTo>
                  <a:pt x="1422" y="501"/>
                </a:lnTo>
                <a:lnTo>
                  <a:pt x="1425" y="498"/>
                </a:lnTo>
                <a:lnTo>
                  <a:pt x="1429" y="495"/>
                </a:lnTo>
                <a:lnTo>
                  <a:pt x="1429" y="495"/>
                </a:lnTo>
                <a:lnTo>
                  <a:pt x="1428" y="493"/>
                </a:lnTo>
                <a:lnTo>
                  <a:pt x="1428" y="488"/>
                </a:lnTo>
                <a:lnTo>
                  <a:pt x="1429" y="481"/>
                </a:lnTo>
                <a:lnTo>
                  <a:pt x="1429" y="481"/>
                </a:lnTo>
                <a:lnTo>
                  <a:pt x="1432" y="474"/>
                </a:lnTo>
                <a:lnTo>
                  <a:pt x="1432" y="470"/>
                </a:lnTo>
                <a:lnTo>
                  <a:pt x="1431" y="467"/>
                </a:lnTo>
                <a:lnTo>
                  <a:pt x="1431" y="467"/>
                </a:lnTo>
                <a:lnTo>
                  <a:pt x="1431" y="468"/>
                </a:lnTo>
                <a:lnTo>
                  <a:pt x="1429" y="468"/>
                </a:lnTo>
                <a:lnTo>
                  <a:pt x="1428" y="465"/>
                </a:lnTo>
                <a:lnTo>
                  <a:pt x="1428" y="465"/>
                </a:lnTo>
                <a:lnTo>
                  <a:pt x="1432" y="457"/>
                </a:lnTo>
                <a:lnTo>
                  <a:pt x="1434" y="448"/>
                </a:lnTo>
                <a:lnTo>
                  <a:pt x="1434" y="448"/>
                </a:lnTo>
                <a:lnTo>
                  <a:pt x="1434" y="433"/>
                </a:lnTo>
                <a:lnTo>
                  <a:pt x="1434" y="433"/>
                </a:lnTo>
                <a:lnTo>
                  <a:pt x="1434" y="417"/>
                </a:lnTo>
                <a:lnTo>
                  <a:pt x="1434" y="417"/>
                </a:lnTo>
                <a:lnTo>
                  <a:pt x="1434" y="408"/>
                </a:lnTo>
                <a:lnTo>
                  <a:pt x="1436" y="398"/>
                </a:lnTo>
                <a:lnTo>
                  <a:pt x="1436" y="398"/>
                </a:lnTo>
                <a:lnTo>
                  <a:pt x="1434" y="400"/>
                </a:lnTo>
                <a:lnTo>
                  <a:pt x="1432" y="401"/>
                </a:lnTo>
                <a:lnTo>
                  <a:pt x="1432" y="408"/>
                </a:lnTo>
                <a:lnTo>
                  <a:pt x="1431" y="411"/>
                </a:lnTo>
                <a:lnTo>
                  <a:pt x="1431" y="414"/>
                </a:lnTo>
                <a:lnTo>
                  <a:pt x="1428" y="416"/>
                </a:lnTo>
                <a:lnTo>
                  <a:pt x="1425" y="414"/>
                </a:lnTo>
                <a:lnTo>
                  <a:pt x="1425" y="414"/>
                </a:lnTo>
                <a:lnTo>
                  <a:pt x="1422" y="424"/>
                </a:lnTo>
                <a:lnTo>
                  <a:pt x="1422" y="424"/>
                </a:lnTo>
                <a:lnTo>
                  <a:pt x="1418" y="431"/>
                </a:lnTo>
                <a:lnTo>
                  <a:pt x="1418" y="431"/>
                </a:lnTo>
                <a:lnTo>
                  <a:pt x="1415" y="438"/>
                </a:lnTo>
                <a:lnTo>
                  <a:pt x="1412" y="447"/>
                </a:lnTo>
                <a:lnTo>
                  <a:pt x="1412" y="447"/>
                </a:lnTo>
                <a:lnTo>
                  <a:pt x="1414" y="444"/>
                </a:lnTo>
                <a:lnTo>
                  <a:pt x="1412" y="443"/>
                </a:lnTo>
                <a:lnTo>
                  <a:pt x="1412" y="443"/>
                </a:lnTo>
                <a:lnTo>
                  <a:pt x="1412" y="443"/>
                </a:lnTo>
                <a:lnTo>
                  <a:pt x="1411" y="444"/>
                </a:lnTo>
                <a:lnTo>
                  <a:pt x="1409" y="446"/>
                </a:lnTo>
                <a:lnTo>
                  <a:pt x="1409" y="446"/>
                </a:lnTo>
                <a:lnTo>
                  <a:pt x="1411" y="440"/>
                </a:lnTo>
                <a:lnTo>
                  <a:pt x="1411" y="437"/>
                </a:lnTo>
                <a:lnTo>
                  <a:pt x="1409" y="433"/>
                </a:lnTo>
                <a:lnTo>
                  <a:pt x="1408" y="431"/>
                </a:lnTo>
                <a:lnTo>
                  <a:pt x="1408" y="431"/>
                </a:lnTo>
                <a:lnTo>
                  <a:pt x="1407" y="440"/>
                </a:lnTo>
                <a:lnTo>
                  <a:pt x="1405" y="448"/>
                </a:lnTo>
                <a:lnTo>
                  <a:pt x="1405" y="448"/>
                </a:lnTo>
                <a:lnTo>
                  <a:pt x="1402" y="457"/>
                </a:lnTo>
                <a:lnTo>
                  <a:pt x="1398" y="464"/>
                </a:lnTo>
                <a:lnTo>
                  <a:pt x="1398" y="464"/>
                </a:lnTo>
                <a:lnTo>
                  <a:pt x="1397" y="463"/>
                </a:lnTo>
                <a:lnTo>
                  <a:pt x="1395" y="460"/>
                </a:lnTo>
                <a:lnTo>
                  <a:pt x="1398" y="451"/>
                </a:lnTo>
                <a:lnTo>
                  <a:pt x="1399" y="444"/>
                </a:lnTo>
                <a:lnTo>
                  <a:pt x="1401" y="441"/>
                </a:lnTo>
                <a:lnTo>
                  <a:pt x="1399" y="440"/>
                </a:lnTo>
                <a:lnTo>
                  <a:pt x="1399" y="440"/>
                </a:lnTo>
                <a:lnTo>
                  <a:pt x="1392" y="453"/>
                </a:lnTo>
                <a:lnTo>
                  <a:pt x="1392" y="453"/>
                </a:lnTo>
                <a:lnTo>
                  <a:pt x="1388" y="460"/>
                </a:lnTo>
                <a:lnTo>
                  <a:pt x="1385" y="467"/>
                </a:lnTo>
                <a:lnTo>
                  <a:pt x="1385" y="467"/>
                </a:lnTo>
                <a:lnTo>
                  <a:pt x="1384" y="464"/>
                </a:lnTo>
                <a:lnTo>
                  <a:pt x="1382" y="465"/>
                </a:lnTo>
                <a:lnTo>
                  <a:pt x="1381" y="468"/>
                </a:lnTo>
                <a:lnTo>
                  <a:pt x="1381" y="468"/>
                </a:lnTo>
                <a:lnTo>
                  <a:pt x="1379" y="468"/>
                </a:lnTo>
                <a:lnTo>
                  <a:pt x="1379" y="468"/>
                </a:lnTo>
                <a:lnTo>
                  <a:pt x="1378" y="463"/>
                </a:lnTo>
                <a:lnTo>
                  <a:pt x="1379" y="460"/>
                </a:lnTo>
                <a:lnTo>
                  <a:pt x="1379" y="457"/>
                </a:lnTo>
                <a:lnTo>
                  <a:pt x="1381" y="453"/>
                </a:lnTo>
                <a:lnTo>
                  <a:pt x="1381" y="453"/>
                </a:lnTo>
                <a:lnTo>
                  <a:pt x="1379" y="454"/>
                </a:lnTo>
                <a:lnTo>
                  <a:pt x="1378" y="456"/>
                </a:lnTo>
                <a:lnTo>
                  <a:pt x="1377" y="456"/>
                </a:lnTo>
                <a:lnTo>
                  <a:pt x="1375" y="453"/>
                </a:lnTo>
                <a:lnTo>
                  <a:pt x="1375" y="453"/>
                </a:lnTo>
                <a:lnTo>
                  <a:pt x="1377" y="451"/>
                </a:lnTo>
                <a:lnTo>
                  <a:pt x="1378" y="448"/>
                </a:lnTo>
                <a:lnTo>
                  <a:pt x="1378" y="443"/>
                </a:lnTo>
                <a:lnTo>
                  <a:pt x="1378" y="443"/>
                </a:lnTo>
                <a:lnTo>
                  <a:pt x="1379" y="444"/>
                </a:lnTo>
                <a:lnTo>
                  <a:pt x="1381" y="447"/>
                </a:lnTo>
                <a:lnTo>
                  <a:pt x="1382" y="447"/>
                </a:lnTo>
                <a:lnTo>
                  <a:pt x="1384" y="446"/>
                </a:lnTo>
                <a:lnTo>
                  <a:pt x="1384" y="446"/>
                </a:lnTo>
                <a:lnTo>
                  <a:pt x="1381" y="440"/>
                </a:lnTo>
                <a:lnTo>
                  <a:pt x="1381" y="440"/>
                </a:lnTo>
                <a:lnTo>
                  <a:pt x="1379" y="434"/>
                </a:lnTo>
                <a:lnTo>
                  <a:pt x="1379" y="434"/>
                </a:lnTo>
                <a:lnTo>
                  <a:pt x="1381" y="428"/>
                </a:lnTo>
                <a:lnTo>
                  <a:pt x="1382" y="427"/>
                </a:lnTo>
                <a:lnTo>
                  <a:pt x="1384" y="426"/>
                </a:lnTo>
                <a:lnTo>
                  <a:pt x="1384" y="426"/>
                </a:lnTo>
                <a:lnTo>
                  <a:pt x="1381" y="426"/>
                </a:lnTo>
                <a:lnTo>
                  <a:pt x="1378" y="426"/>
                </a:lnTo>
                <a:lnTo>
                  <a:pt x="1378" y="426"/>
                </a:lnTo>
                <a:lnTo>
                  <a:pt x="1378" y="420"/>
                </a:lnTo>
                <a:lnTo>
                  <a:pt x="1378" y="417"/>
                </a:lnTo>
                <a:lnTo>
                  <a:pt x="1378" y="417"/>
                </a:lnTo>
                <a:lnTo>
                  <a:pt x="1382" y="417"/>
                </a:lnTo>
                <a:lnTo>
                  <a:pt x="1382" y="417"/>
                </a:lnTo>
                <a:lnTo>
                  <a:pt x="1381" y="411"/>
                </a:lnTo>
                <a:lnTo>
                  <a:pt x="1381" y="411"/>
                </a:lnTo>
                <a:lnTo>
                  <a:pt x="1379" y="406"/>
                </a:lnTo>
                <a:lnTo>
                  <a:pt x="1379" y="406"/>
                </a:lnTo>
                <a:lnTo>
                  <a:pt x="1374" y="398"/>
                </a:lnTo>
                <a:lnTo>
                  <a:pt x="1374" y="398"/>
                </a:lnTo>
                <a:lnTo>
                  <a:pt x="1375" y="393"/>
                </a:lnTo>
                <a:lnTo>
                  <a:pt x="1378" y="386"/>
                </a:lnTo>
                <a:lnTo>
                  <a:pt x="1378" y="386"/>
                </a:lnTo>
                <a:lnTo>
                  <a:pt x="1378" y="381"/>
                </a:lnTo>
                <a:lnTo>
                  <a:pt x="1378" y="381"/>
                </a:lnTo>
                <a:lnTo>
                  <a:pt x="1378" y="378"/>
                </a:lnTo>
                <a:lnTo>
                  <a:pt x="1378" y="378"/>
                </a:lnTo>
                <a:lnTo>
                  <a:pt x="1377" y="376"/>
                </a:lnTo>
                <a:lnTo>
                  <a:pt x="1375" y="374"/>
                </a:lnTo>
                <a:lnTo>
                  <a:pt x="1375" y="374"/>
                </a:lnTo>
                <a:lnTo>
                  <a:pt x="1374" y="380"/>
                </a:lnTo>
                <a:lnTo>
                  <a:pt x="1374" y="386"/>
                </a:lnTo>
                <a:lnTo>
                  <a:pt x="1372" y="393"/>
                </a:lnTo>
                <a:lnTo>
                  <a:pt x="1371" y="394"/>
                </a:lnTo>
                <a:lnTo>
                  <a:pt x="1368" y="396"/>
                </a:lnTo>
                <a:lnTo>
                  <a:pt x="1368" y="396"/>
                </a:lnTo>
                <a:lnTo>
                  <a:pt x="1365" y="411"/>
                </a:lnTo>
                <a:lnTo>
                  <a:pt x="1365" y="411"/>
                </a:lnTo>
                <a:lnTo>
                  <a:pt x="1362" y="426"/>
                </a:lnTo>
                <a:lnTo>
                  <a:pt x="1362" y="426"/>
                </a:lnTo>
                <a:lnTo>
                  <a:pt x="1359" y="438"/>
                </a:lnTo>
                <a:lnTo>
                  <a:pt x="1359" y="438"/>
                </a:lnTo>
                <a:lnTo>
                  <a:pt x="1358" y="450"/>
                </a:lnTo>
                <a:lnTo>
                  <a:pt x="1358" y="450"/>
                </a:lnTo>
                <a:lnTo>
                  <a:pt x="1358" y="456"/>
                </a:lnTo>
                <a:lnTo>
                  <a:pt x="1355" y="463"/>
                </a:lnTo>
                <a:lnTo>
                  <a:pt x="1355" y="463"/>
                </a:lnTo>
                <a:lnTo>
                  <a:pt x="1352" y="468"/>
                </a:lnTo>
                <a:lnTo>
                  <a:pt x="1351" y="474"/>
                </a:lnTo>
                <a:lnTo>
                  <a:pt x="1351" y="474"/>
                </a:lnTo>
                <a:lnTo>
                  <a:pt x="1349" y="485"/>
                </a:lnTo>
                <a:lnTo>
                  <a:pt x="1347" y="491"/>
                </a:lnTo>
                <a:lnTo>
                  <a:pt x="1345" y="493"/>
                </a:lnTo>
                <a:lnTo>
                  <a:pt x="1342" y="494"/>
                </a:lnTo>
                <a:lnTo>
                  <a:pt x="1342" y="494"/>
                </a:lnTo>
                <a:lnTo>
                  <a:pt x="1344" y="491"/>
                </a:lnTo>
                <a:lnTo>
                  <a:pt x="1344" y="487"/>
                </a:lnTo>
                <a:lnTo>
                  <a:pt x="1345" y="484"/>
                </a:lnTo>
                <a:lnTo>
                  <a:pt x="1348" y="481"/>
                </a:lnTo>
                <a:lnTo>
                  <a:pt x="1348" y="481"/>
                </a:lnTo>
                <a:lnTo>
                  <a:pt x="1347" y="478"/>
                </a:lnTo>
                <a:lnTo>
                  <a:pt x="1345" y="480"/>
                </a:lnTo>
                <a:lnTo>
                  <a:pt x="1344" y="480"/>
                </a:lnTo>
                <a:lnTo>
                  <a:pt x="1344" y="478"/>
                </a:lnTo>
                <a:lnTo>
                  <a:pt x="1344" y="478"/>
                </a:lnTo>
                <a:lnTo>
                  <a:pt x="1348" y="465"/>
                </a:lnTo>
                <a:lnTo>
                  <a:pt x="1352" y="453"/>
                </a:lnTo>
                <a:lnTo>
                  <a:pt x="1352" y="453"/>
                </a:lnTo>
                <a:lnTo>
                  <a:pt x="1354" y="440"/>
                </a:lnTo>
                <a:lnTo>
                  <a:pt x="1357" y="426"/>
                </a:lnTo>
                <a:lnTo>
                  <a:pt x="1357" y="426"/>
                </a:lnTo>
                <a:lnTo>
                  <a:pt x="1357" y="413"/>
                </a:lnTo>
                <a:lnTo>
                  <a:pt x="1357" y="398"/>
                </a:lnTo>
                <a:lnTo>
                  <a:pt x="1357" y="398"/>
                </a:lnTo>
                <a:lnTo>
                  <a:pt x="1355" y="371"/>
                </a:lnTo>
                <a:lnTo>
                  <a:pt x="1355" y="371"/>
                </a:lnTo>
                <a:lnTo>
                  <a:pt x="1352" y="343"/>
                </a:lnTo>
                <a:lnTo>
                  <a:pt x="1352" y="343"/>
                </a:lnTo>
                <a:lnTo>
                  <a:pt x="1349" y="314"/>
                </a:lnTo>
                <a:lnTo>
                  <a:pt x="1349" y="314"/>
                </a:lnTo>
                <a:lnTo>
                  <a:pt x="1347" y="287"/>
                </a:lnTo>
                <a:lnTo>
                  <a:pt x="1347" y="287"/>
                </a:lnTo>
                <a:lnTo>
                  <a:pt x="1344" y="260"/>
                </a:lnTo>
                <a:lnTo>
                  <a:pt x="1344" y="260"/>
                </a:lnTo>
                <a:lnTo>
                  <a:pt x="1339" y="259"/>
                </a:lnTo>
                <a:lnTo>
                  <a:pt x="1337" y="257"/>
                </a:lnTo>
                <a:lnTo>
                  <a:pt x="1335" y="254"/>
                </a:lnTo>
                <a:lnTo>
                  <a:pt x="1334" y="250"/>
                </a:lnTo>
                <a:lnTo>
                  <a:pt x="1334" y="240"/>
                </a:lnTo>
                <a:lnTo>
                  <a:pt x="1335" y="233"/>
                </a:lnTo>
                <a:lnTo>
                  <a:pt x="1335" y="233"/>
                </a:lnTo>
                <a:lnTo>
                  <a:pt x="1334" y="231"/>
                </a:lnTo>
                <a:lnTo>
                  <a:pt x="1331" y="230"/>
                </a:lnTo>
                <a:lnTo>
                  <a:pt x="1331" y="226"/>
                </a:lnTo>
                <a:lnTo>
                  <a:pt x="1331" y="223"/>
                </a:lnTo>
                <a:lnTo>
                  <a:pt x="1330" y="221"/>
                </a:lnTo>
                <a:lnTo>
                  <a:pt x="1327" y="221"/>
                </a:lnTo>
                <a:lnTo>
                  <a:pt x="1327" y="221"/>
                </a:lnTo>
                <a:lnTo>
                  <a:pt x="1327" y="224"/>
                </a:lnTo>
                <a:lnTo>
                  <a:pt x="1327" y="229"/>
                </a:lnTo>
                <a:lnTo>
                  <a:pt x="1327" y="233"/>
                </a:lnTo>
                <a:lnTo>
                  <a:pt x="1325" y="234"/>
                </a:lnTo>
                <a:lnTo>
                  <a:pt x="1324" y="236"/>
                </a:lnTo>
                <a:lnTo>
                  <a:pt x="1324" y="236"/>
                </a:lnTo>
                <a:lnTo>
                  <a:pt x="1318" y="236"/>
                </a:lnTo>
                <a:lnTo>
                  <a:pt x="1315" y="237"/>
                </a:lnTo>
                <a:lnTo>
                  <a:pt x="1314" y="236"/>
                </a:lnTo>
                <a:lnTo>
                  <a:pt x="1314" y="236"/>
                </a:lnTo>
                <a:lnTo>
                  <a:pt x="1312" y="230"/>
                </a:lnTo>
                <a:lnTo>
                  <a:pt x="1312" y="224"/>
                </a:lnTo>
                <a:lnTo>
                  <a:pt x="1312" y="224"/>
                </a:lnTo>
                <a:lnTo>
                  <a:pt x="1314" y="216"/>
                </a:lnTo>
                <a:lnTo>
                  <a:pt x="1314" y="216"/>
                </a:lnTo>
                <a:lnTo>
                  <a:pt x="1314" y="209"/>
                </a:lnTo>
                <a:lnTo>
                  <a:pt x="1312" y="206"/>
                </a:lnTo>
                <a:lnTo>
                  <a:pt x="1311" y="203"/>
                </a:lnTo>
                <a:lnTo>
                  <a:pt x="1311" y="203"/>
                </a:lnTo>
                <a:lnTo>
                  <a:pt x="1311" y="206"/>
                </a:lnTo>
                <a:lnTo>
                  <a:pt x="1310" y="209"/>
                </a:lnTo>
                <a:lnTo>
                  <a:pt x="1307" y="216"/>
                </a:lnTo>
                <a:lnTo>
                  <a:pt x="1305" y="223"/>
                </a:lnTo>
                <a:lnTo>
                  <a:pt x="1304" y="227"/>
                </a:lnTo>
                <a:lnTo>
                  <a:pt x="1305" y="231"/>
                </a:lnTo>
                <a:lnTo>
                  <a:pt x="1305" y="231"/>
                </a:lnTo>
                <a:lnTo>
                  <a:pt x="1302" y="231"/>
                </a:lnTo>
                <a:lnTo>
                  <a:pt x="1298" y="231"/>
                </a:lnTo>
                <a:lnTo>
                  <a:pt x="1297" y="233"/>
                </a:lnTo>
                <a:lnTo>
                  <a:pt x="1295" y="233"/>
                </a:lnTo>
                <a:lnTo>
                  <a:pt x="1297" y="233"/>
                </a:lnTo>
                <a:lnTo>
                  <a:pt x="1297" y="233"/>
                </a:lnTo>
                <a:lnTo>
                  <a:pt x="1302" y="233"/>
                </a:lnTo>
                <a:lnTo>
                  <a:pt x="1302" y="234"/>
                </a:lnTo>
                <a:lnTo>
                  <a:pt x="1304" y="234"/>
                </a:lnTo>
                <a:lnTo>
                  <a:pt x="1304" y="239"/>
                </a:lnTo>
                <a:lnTo>
                  <a:pt x="1305" y="240"/>
                </a:lnTo>
                <a:lnTo>
                  <a:pt x="1307" y="240"/>
                </a:lnTo>
                <a:lnTo>
                  <a:pt x="1307" y="240"/>
                </a:lnTo>
                <a:lnTo>
                  <a:pt x="1307" y="243"/>
                </a:lnTo>
                <a:lnTo>
                  <a:pt x="1304" y="246"/>
                </a:lnTo>
                <a:lnTo>
                  <a:pt x="1298" y="249"/>
                </a:lnTo>
                <a:lnTo>
                  <a:pt x="1298" y="249"/>
                </a:lnTo>
                <a:lnTo>
                  <a:pt x="1294" y="246"/>
                </a:lnTo>
                <a:lnTo>
                  <a:pt x="1291" y="240"/>
                </a:lnTo>
                <a:lnTo>
                  <a:pt x="1288" y="236"/>
                </a:lnTo>
                <a:lnTo>
                  <a:pt x="1284" y="231"/>
                </a:lnTo>
                <a:lnTo>
                  <a:pt x="1284" y="231"/>
                </a:lnTo>
                <a:lnTo>
                  <a:pt x="1280" y="233"/>
                </a:lnTo>
                <a:lnTo>
                  <a:pt x="1278" y="236"/>
                </a:lnTo>
                <a:lnTo>
                  <a:pt x="1278" y="239"/>
                </a:lnTo>
                <a:lnTo>
                  <a:pt x="1280" y="241"/>
                </a:lnTo>
                <a:lnTo>
                  <a:pt x="1280" y="241"/>
                </a:lnTo>
                <a:lnTo>
                  <a:pt x="1277" y="249"/>
                </a:lnTo>
                <a:lnTo>
                  <a:pt x="1277" y="249"/>
                </a:lnTo>
                <a:lnTo>
                  <a:pt x="1277" y="257"/>
                </a:lnTo>
                <a:lnTo>
                  <a:pt x="1277" y="257"/>
                </a:lnTo>
                <a:lnTo>
                  <a:pt x="1278" y="267"/>
                </a:lnTo>
                <a:lnTo>
                  <a:pt x="1280" y="276"/>
                </a:lnTo>
                <a:lnTo>
                  <a:pt x="1280" y="276"/>
                </a:lnTo>
                <a:lnTo>
                  <a:pt x="1284" y="294"/>
                </a:lnTo>
                <a:lnTo>
                  <a:pt x="1284" y="294"/>
                </a:lnTo>
                <a:lnTo>
                  <a:pt x="1285" y="299"/>
                </a:lnTo>
                <a:lnTo>
                  <a:pt x="1285" y="299"/>
                </a:lnTo>
                <a:lnTo>
                  <a:pt x="1285" y="303"/>
                </a:lnTo>
                <a:lnTo>
                  <a:pt x="1285" y="303"/>
                </a:lnTo>
                <a:lnTo>
                  <a:pt x="1284" y="311"/>
                </a:lnTo>
                <a:lnTo>
                  <a:pt x="1284" y="311"/>
                </a:lnTo>
                <a:lnTo>
                  <a:pt x="1284" y="313"/>
                </a:lnTo>
                <a:lnTo>
                  <a:pt x="1282" y="313"/>
                </a:lnTo>
                <a:lnTo>
                  <a:pt x="1281" y="314"/>
                </a:lnTo>
                <a:lnTo>
                  <a:pt x="1281" y="316"/>
                </a:lnTo>
                <a:lnTo>
                  <a:pt x="1281" y="316"/>
                </a:lnTo>
                <a:lnTo>
                  <a:pt x="1284" y="326"/>
                </a:lnTo>
                <a:lnTo>
                  <a:pt x="1284" y="326"/>
                </a:lnTo>
                <a:lnTo>
                  <a:pt x="1285" y="336"/>
                </a:lnTo>
                <a:lnTo>
                  <a:pt x="1285" y="336"/>
                </a:lnTo>
                <a:lnTo>
                  <a:pt x="1285" y="341"/>
                </a:lnTo>
                <a:lnTo>
                  <a:pt x="1285" y="346"/>
                </a:lnTo>
                <a:lnTo>
                  <a:pt x="1285" y="346"/>
                </a:lnTo>
                <a:lnTo>
                  <a:pt x="1282" y="350"/>
                </a:lnTo>
                <a:lnTo>
                  <a:pt x="1280" y="354"/>
                </a:lnTo>
                <a:lnTo>
                  <a:pt x="1280" y="354"/>
                </a:lnTo>
                <a:lnTo>
                  <a:pt x="1280" y="360"/>
                </a:lnTo>
                <a:lnTo>
                  <a:pt x="1280" y="366"/>
                </a:lnTo>
                <a:lnTo>
                  <a:pt x="1280" y="366"/>
                </a:lnTo>
                <a:lnTo>
                  <a:pt x="1278" y="370"/>
                </a:lnTo>
                <a:lnTo>
                  <a:pt x="1278" y="370"/>
                </a:lnTo>
                <a:lnTo>
                  <a:pt x="1277" y="376"/>
                </a:lnTo>
                <a:lnTo>
                  <a:pt x="1277" y="376"/>
                </a:lnTo>
                <a:lnTo>
                  <a:pt x="1280" y="377"/>
                </a:lnTo>
                <a:lnTo>
                  <a:pt x="1281" y="378"/>
                </a:lnTo>
                <a:lnTo>
                  <a:pt x="1282" y="381"/>
                </a:lnTo>
                <a:lnTo>
                  <a:pt x="1281" y="384"/>
                </a:lnTo>
                <a:lnTo>
                  <a:pt x="1281" y="384"/>
                </a:lnTo>
                <a:lnTo>
                  <a:pt x="1280" y="383"/>
                </a:lnTo>
                <a:lnTo>
                  <a:pt x="1278" y="383"/>
                </a:lnTo>
                <a:lnTo>
                  <a:pt x="1275" y="383"/>
                </a:lnTo>
                <a:lnTo>
                  <a:pt x="1275" y="383"/>
                </a:lnTo>
                <a:lnTo>
                  <a:pt x="1274" y="378"/>
                </a:lnTo>
                <a:lnTo>
                  <a:pt x="1272" y="374"/>
                </a:lnTo>
                <a:lnTo>
                  <a:pt x="1272" y="374"/>
                </a:lnTo>
                <a:lnTo>
                  <a:pt x="1271" y="376"/>
                </a:lnTo>
                <a:lnTo>
                  <a:pt x="1271" y="377"/>
                </a:lnTo>
                <a:lnTo>
                  <a:pt x="1270" y="378"/>
                </a:lnTo>
                <a:lnTo>
                  <a:pt x="1265" y="378"/>
                </a:lnTo>
                <a:lnTo>
                  <a:pt x="1265" y="378"/>
                </a:lnTo>
                <a:lnTo>
                  <a:pt x="1265" y="373"/>
                </a:lnTo>
                <a:lnTo>
                  <a:pt x="1264" y="368"/>
                </a:lnTo>
                <a:lnTo>
                  <a:pt x="1264" y="368"/>
                </a:lnTo>
                <a:lnTo>
                  <a:pt x="1261" y="364"/>
                </a:lnTo>
                <a:lnTo>
                  <a:pt x="1260" y="360"/>
                </a:lnTo>
                <a:lnTo>
                  <a:pt x="1260" y="360"/>
                </a:lnTo>
                <a:lnTo>
                  <a:pt x="1257" y="361"/>
                </a:lnTo>
                <a:lnTo>
                  <a:pt x="1255" y="363"/>
                </a:lnTo>
                <a:lnTo>
                  <a:pt x="1255" y="366"/>
                </a:lnTo>
                <a:lnTo>
                  <a:pt x="1255" y="366"/>
                </a:lnTo>
                <a:lnTo>
                  <a:pt x="1258" y="367"/>
                </a:lnTo>
                <a:lnTo>
                  <a:pt x="1261" y="371"/>
                </a:lnTo>
                <a:lnTo>
                  <a:pt x="1264" y="377"/>
                </a:lnTo>
                <a:lnTo>
                  <a:pt x="1268" y="383"/>
                </a:lnTo>
                <a:lnTo>
                  <a:pt x="1271" y="386"/>
                </a:lnTo>
                <a:lnTo>
                  <a:pt x="1274" y="387"/>
                </a:lnTo>
                <a:lnTo>
                  <a:pt x="1274" y="387"/>
                </a:lnTo>
                <a:lnTo>
                  <a:pt x="1272" y="388"/>
                </a:lnTo>
                <a:lnTo>
                  <a:pt x="1270" y="390"/>
                </a:lnTo>
                <a:lnTo>
                  <a:pt x="1265" y="390"/>
                </a:lnTo>
                <a:lnTo>
                  <a:pt x="1262" y="388"/>
                </a:lnTo>
                <a:lnTo>
                  <a:pt x="1262" y="388"/>
                </a:lnTo>
                <a:lnTo>
                  <a:pt x="1260" y="391"/>
                </a:lnTo>
                <a:lnTo>
                  <a:pt x="1260" y="391"/>
                </a:lnTo>
                <a:lnTo>
                  <a:pt x="1258" y="396"/>
                </a:lnTo>
                <a:lnTo>
                  <a:pt x="1258" y="396"/>
                </a:lnTo>
                <a:lnTo>
                  <a:pt x="1257" y="403"/>
                </a:lnTo>
                <a:lnTo>
                  <a:pt x="1257" y="403"/>
                </a:lnTo>
                <a:lnTo>
                  <a:pt x="1255" y="411"/>
                </a:lnTo>
                <a:lnTo>
                  <a:pt x="1254" y="416"/>
                </a:lnTo>
                <a:lnTo>
                  <a:pt x="1251" y="418"/>
                </a:lnTo>
                <a:lnTo>
                  <a:pt x="1251" y="418"/>
                </a:lnTo>
                <a:lnTo>
                  <a:pt x="1248" y="417"/>
                </a:lnTo>
                <a:lnTo>
                  <a:pt x="1247" y="414"/>
                </a:lnTo>
                <a:lnTo>
                  <a:pt x="1245" y="413"/>
                </a:lnTo>
                <a:lnTo>
                  <a:pt x="1244" y="411"/>
                </a:lnTo>
                <a:lnTo>
                  <a:pt x="1244" y="411"/>
                </a:lnTo>
                <a:lnTo>
                  <a:pt x="1241" y="414"/>
                </a:lnTo>
                <a:lnTo>
                  <a:pt x="1240" y="413"/>
                </a:lnTo>
                <a:lnTo>
                  <a:pt x="1238" y="410"/>
                </a:lnTo>
                <a:lnTo>
                  <a:pt x="1235" y="408"/>
                </a:lnTo>
                <a:lnTo>
                  <a:pt x="1235" y="408"/>
                </a:lnTo>
                <a:lnTo>
                  <a:pt x="1238" y="414"/>
                </a:lnTo>
                <a:lnTo>
                  <a:pt x="1238" y="420"/>
                </a:lnTo>
                <a:lnTo>
                  <a:pt x="1237" y="433"/>
                </a:lnTo>
                <a:lnTo>
                  <a:pt x="1237" y="433"/>
                </a:lnTo>
                <a:lnTo>
                  <a:pt x="1225" y="453"/>
                </a:lnTo>
                <a:lnTo>
                  <a:pt x="1225" y="453"/>
                </a:lnTo>
                <a:lnTo>
                  <a:pt x="1217" y="473"/>
                </a:lnTo>
                <a:lnTo>
                  <a:pt x="1217" y="473"/>
                </a:lnTo>
                <a:lnTo>
                  <a:pt x="1208" y="493"/>
                </a:lnTo>
                <a:lnTo>
                  <a:pt x="1208" y="493"/>
                </a:lnTo>
                <a:lnTo>
                  <a:pt x="1200" y="514"/>
                </a:lnTo>
                <a:lnTo>
                  <a:pt x="1200" y="514"/>
                </a:lnTo>
                <a:lnTo>
                  <a:pt x="1191" y="534"/>
                </a:lnTo>
                <a:lnTo>
                  <a:pt x="1191" y="534"/>
                </a:lnTo>
                <a:lnTo>
                  <a:pt x="1181" y="554"/>
                </a:lnTo>
                <a:lnTo>
                  <a:pt x="1181" y="554"/>
                </a:lnTo>
                <a:lnTo>
                  <a:pt x="1170" y="571"/>
                </a:lnTo>
                <a:lnTo>
                  <a:pt x="1170" y="571"/>
                </a:lnTo>
                <a:lnTo>
                  <a:pt x="1155" y="587"/>
                </a:lnTo>
                <a:lnTo>
                  <a:pt x="1155" y="587"/>
                </a:lnTo>
                <a:lnTo>
                  <a:pt x="1150" y="598"/>
                </a:lnTo>
                <a:lnTo>
                  <a:pt x="1144" y="608"/>
                </a:lnTo>
                <a:lnTo>
                  <a:pt x="1144" y="608"/>
                </a:lnTo>
                <a:lnTo>
                  <a:pt x="1134" y="625"/>
                </a:lnTo>
                <a:lnTo>
                  <a:pt x="1134" y="625"/>
                </a:lnTo>
                <a:lnTo>
                  <a:pt x="1133" y="634"/>
                </a:lnTo>
                <a:lnTo>
                  <a:pt x="1130" y="641"/>
                </a:lnTo>
                <a:lnTo>
                  <a:pt x="1130" y="641"/>
                </a:lnTo>
                <a:lnTo>
                  <a:pt x="1126" y="647"/>
                </a:lnTo>
                <a:lnTo>
                  <a:pt x="1123" y="648"/>
                </a:lnTo>
                <a:lnTo>
                  <a:pt x="1120" y="650"/>
                </a:lnTo>
                <a:lnTo>
                  <a:pt x="1120" y="650"/>
                </a:lnTo>
                <a:lnTo>
                  <a:pt x="1118" y="654"/>
                </a:lnTo>
                <a:lnTo>
                  <a:pt x="1114" y="661"/>
                </a:lnTo>
                <a:lnTo>
                  <a:pt x="1104" y="671"/>
                </a:lnTo>
                <a:lnTo>
                  <a:pt x="1104" y="671"/>
                </a:lnTo>
                <a:lnTo>
                  <a:pt x="1106" y="668"/>
                </a:lnTo>
                <a:lnTo>
                  <a:pt x="1106" y="668"/>
                </a:lnTo>
                <a:lnTo>
                  <a:pt x="1103" y="668"/>
                </a:lnTo>
                <a:lnTo>
                  <a:pt x="1100" y="668"/>
                </a:lnTo>
                <a:lnTo>
                  <a:pt x="1100" y="668"/>
                </a:lnTo>
                <a:lnTo>
                  <a:pt x="1108" y="660"/>
                </a:lnTo>
                <a:lnTo>
                  <a:pt x="1111" y="655"/>
                </a:lnTo>
                <a:lnTo>
                  <a:pt x="1110" y="651"/>
                </a:lnTo>
                <a:lnTo>
                  <a:pt x="1110" y="651"/>
                </a:lnTo>
                <a:lnTo>
                  <a:pt x="1114" y="651"/>
                </a:lnTo>
                <a:lnTo>
                  <a:pt x="1114" y="651"/>
                </a:lnTo>
                <a:lnTo>
                  <a:pt x="1113" y="652"/>
                </a:lnTo>
                <a:lnTo>
                  <a:pt x="1113" y="654"/>
                </a:lnTo>
                <a:lnTo>
                  <a:pt x="1113" y="654"/>
                </a:lnTo>
                <a:lnTo>
                  <a:pt x="1116" y="652"/>
                </a:lnTo>
                <a:lnTo>
                  <a:pt x="1116" y="651"/>
                </a:lnTo>
                <a:lnTo>
                  <a:pt x="1113" y="648"/>
                </a:lnTo>
                <a:lnTo>
                  <a:pt x="1108" y="645"/>
                </a:lnTo>
                <a:lnTo>
                  <a:pt x="1108" y="644"/>
                </a:lnTo>
                <a:lnTo>
                  <a:pt x="1108" y="642"/>
                </a:lnTo>
                <a:lnTo>
                  <a:pt x="1108" y="642"/>
                </a:lnTo>
                <a:lnTo>
                  <a:pt x="1111" y="644"/>
                </a:lnTo>
                <a:lnTo>
                  <a:pt x="1113" y="644"/>
                </a:lnTo>
                <a:lnTo>
                  <a:pt x="1114" y="642"/>
                </a:lnTo>
                <a:lnTo>
                  <a:pt x="1117" y="641"/>
                </a:lnTo>
                <a:lnTo>
                  <a:pt x="1120" y="644"/>
                </a:lnTo>
                <a:lnTo>
                  <a:pt x="1120" y="644"/>
                </a:lnTo>
                <a:lnTo>
                  <a:pt x="1118" y="647"/>
                </a:lnTo>
                <a:lnTo>
                  <a:pt x="1117" y="647"/>
                </a:lnTo>
                <a:lnTo>
                  <a:pt x="1117" y="647"/>
                </a:lnTo>
                <a:lnTo>
                  <a:pt x="1117" y="650"/>
                </a:lnTo>
                <a:lnTo>
                  <a:pt x="1117" y="650"/>
                </a:lnTo>
                <a:lnTo>
                  <a:pt x="1123" y="644"/>
                </a:lnTo>
                <a:lnTo>
                  <a:pt x="1123" y="644"/>
                </a:lnTo>
                <a:lnTo>
                  <a:pt x="1127" y="638"/>
                </a:lnTo>
                <a:lnTo>
                  <a:pt x="1127" y="638"/>
                </a:lnTo>
                <a:lnTo>
                  <a:pt x="1133" y="630"/>
                </a:lnTo>
                <a:lnTo>
                  <a:pt x="1133" y="630"/>
                </a:lnTo>
                <a:lnTo>
                  <a:pt x="1130" y="630"/>
                </a:lnTo>
                <a:lnTo>
                  <a:pt x="1128" y="631"/>
                </a:lnTo>
                <a:lnTo>
                  <a:pt x="1126" y="634"/>
                </a:lnTo>
                <a:lnTo>
                  <a:pt x="1124" y="638"/>
                </a:lnTo>
                <a:lnTo>
                  <a:pt x="1121" y="642"/>
                </a:lnTo>
                <a:lnTo>
                  <a:pt x="1121" y="642"/>
                </a:lnTo>
                <a:lnTo>
                  <a:pt x="1114" y="638"/>
                </a:lnTo>
                <a:lnTo>
                  <a:pt x="1114" y="638"/>
                </a:lnTo>
                <a:lnTo>
                  <a:pt x="1110" y="640"/>
                </a:lnTo>
                <a:lnTo>
                  <a:pt x="1107" y="642"/>
                </a:lnTo>
                <a:lnTo>
                  <a:pt x="1103" y="644"/>
                </a:lnTo>
                <a:lnTo>
                  <a:pt x="1098" y="644"/>
                </a:lnTo>
                <a:lnTo>
                  <a:pt x="1098" y="644"/>
                </a:lnTo>
                <a:lnTo>
                  <a:pt x="1101" y="640"/>
                </a:lnTo>
                <a:lnTo>
                  <a:pt x="1104" y="637"/>
                </a:lnTo>
                <a:lnTo>
                  <a:pt x="1106" y="635"/>
                </a:lnTo>
                <a:lnTo>
                  <a:pt x="1108" y="635"/>
                </a:lnTo>
                <a:lnTo>
                  <a:pt x="1113" y="634"/>
                </a:lnTo>
                <a:lnTo>
                  <a:pt x="1116" y="634"/>
                </a:lnTo>
                <a:lnTo>
                  <a:pt x="1117" y="631"/>
                </a:lnTo>
                <a:lnTo>
                  <a:pt x="1117" y="631"/>
                </a:lnTo>
                <a:lnTo>
                  <a:pt x="1117" y="631"/>
                </a:lnTo>
                <a:lnTo>
                  <a:pt x="1117" y="630"/>
                </a:lnTo>
                <a:lnTo>
                  <a:pt x="1117" y="630"/>
                </a:lnTo>
                <a:lnTo>
                  <a:pt x="1120" y="627"/>
                </a:lnTo>
                <a:lnTo>
                  <a:pt x="1123" y="624"/>
                </a:lnTo>
                <a:lnTo>
                  <a:pt x="1124" y="621"/>
                </a:lnTo>
                <a:lnTo>
                  <a:pt x="1127" y="617"/>
                </a:lnTo>
                <a:lnTo>
                  <a:pt x="1127" y="617"/>
                </a:lnTo>
                <a:lnTo>
                  <a:pt x="1130" y="617"/>
                </a:lnTo>
                <a:lnTo>
                  <a:pt x="1134" y="615"/>
                </a:lnTo>
                <a:lnTo>
                  <a:pt x="1136" y="615"/>
                </a:lnTo>
                <a:lnTo>
                  <a:pt x="1137" y="614"/>
                </a:lnTo>
                <a:lnTo>
                  <a:pt x="1136" y="611"/>
                </a:lnTo>
                <a:lnTo>
                  <a:pt x="1133" y="608"/>
                </a:lnTo>
                <a:lnTo>
                  <a:pt x="1133" y="608"/>
                </a:lnTo>
                <a:lnTo>
                  <a:pt x="1131" y="613"/>
                </a:lnTo>
                <a:lnTo>
                  <a:pt x="1130" y="614"/>
                </a:lnTo>
                <a:lnTo>
                  <a:pt x="1126" y="615"/>
                </a:lnTo>
                <a:lnTo>
                  <a:pt x="1123" y="614"/>
                </a:lnTo>
                <a:lnTo>
                  <a:pt x="1123" y="614"/>
                </a:lnTo>
                <a:lnTo>
                  <a:pt x="1120" y="617"/>
                </a:lnTo>
                <a:lnTo>
                  <a:pt x="1118" y="620"/>
                </a:lnTo>
                <a:lnTo>
                  <a:pt x="1117" y="625"/>
                </a:lnTo>
                <a:lnTo>
                  <a:pt x="1117" y="625"/>
                </a:lnTo>
                <a:lnTo>
                  <a:pt x="1114" y="630"/>
                </a:lnTo>
                <a:lnTo>
                  <a:pt x="1113" y="631"/>
                </a:lnTo>
                <a:lnTo>
                  <a:pt x="1110" y="632"/>
                </a:lnTo>
                <a:lnTo>
                  <a:pt x="1110" y="632"/>
                </a:lnTo>
                <a:lnTo>
                  <a:pt x="1113" y="628"/>
                </a:lnTo>
                <a:lnTo>
                  <a:pt x="1113" y="625"/>
                </a:lnTo>
                <a:lnTo>
                  <a:pt x="1113" y="622"/>
                </a:lnTo>
                <a:lnTo>
                  <a:pt x="1111" y="620"/>
                </a:lnTo>
                <a:lnTo>
                  <a:pt x="1111" y="620"/>
                </a:lnTo>
                <a:lnTo>
                  <a:pt x="1110" y="621"/>
                </a:lnTo>
                <a:lnTo>
                  <a:pt x="1110" y="624"/>
                </a:lnTo>
                <a:lnTo>
                  <a:pt x="1111" y="627"/>
                </a:lnTo>
                <a:lnTo>
                  <a:pt x="1108" y="628"/>
                </a:lnTo>
                <a:lnTo>
                  <a:pt x="1108" y="628"/>
                </a:lnTo>
                <a:lnTo>
                  <a:pt x="1108" y="627"/>
                </a:lnTo>
                <a:lnTo>
                  <a:pt x="1107" y="624"/>
                </a:lnTo>
                <a:lnTo>
                  <a:pt x="1107" y="624"/>
                </a:lnTo>
                <a:lnTo>
                  <a:pt x="1106" y="628"/>
                </a:lnTo>
                <a:lnTo>
                  <a:pt x="1106" y="628"/>
                </a:lnTo>
                <a:lnTo>
                  <a:pt x="1103" y="632"/>
                </a:lnTo>
                <a:lnTo>
                  <a:pt x="1103" y="632"/>
                </a:lnTo>
                <a:lnTo>
                  <a:pt x="1098" y="635"/>
                </a:lnTo>
                <a:lnTo>
                  <a:pt x="1097" y="635"/>
                </a:lnTo>
                <a:lnTo>
                  <a:pt x="1094" y="634"/>
                </a:lnTo>
                <a:lnTo>
                  <a:pt x="1094" y="634"/>
                </a:lnTo>
                <a:lnTo>
                  <a:pt x="1101" y="622"/>
                </a:lnTo>
                <a:lnTo>
                  <a:pt x="1101" y="622"/>
                </a:lnTo>
                <a:lnTo>
                  <a:pt x="1107" y="613"/>
                </a:lnTo>
                <a:lnTo>
                  <a:pt x="1107" y="613"/>
                </a:lnTo>
                <a:lnTo>
                  <a:pt x="1108" y="615"/>
                </a:lnTo>
                <a:lnTo>
                  <a:pt x="1110" y="615"/>
                </a:lnTo>
                <a:lnTo>
                  <a:pt x="1110" y="614"/>
                </a:lnTo>
                <a:lnTo>
                  <a:pt x="1110" y="614"/>
                </a:lnTo>
                <a:lnTo>
                  <a:pt x="1107" y="613"/>
                </a:lnTo>
                <a:lnTo>
                  <a:pt x="1107" y="613"/>
                </a:lnTo>
                <a:lnTo>
                  <a:pt x="1104" y="614"/>
                </a:lnTo>
                <a:lnTo>
                  <a:pt x="1101" y="615"/>
                </a:lnTo>
                <a:lnTo>
                  <a:pt x="1098" y="620"/>
                </a:lnTo>
                <a:lnTo>
                  <a:pt x="1098" y="620"/>
                </a:lnTo>
                <a:lnTo>
                  <a:pt x="1098" y="622"/>
                </a:lnTo>
                <a:lnTo>
                  <a:pt x="1096" y="624"/>
                </a:lnTo>
                <a:lnTo>
                  <a:pt x="1094" y="624"/>
                </a:lnTo>
                <a:lnTo>
                  <a:pt x="1090" y="624"/>
                </a:lnTo>
                <a:lnTo>
                  <a:pt x="1090" y="624"/>
                </a:lnTo>
                <a:lnTo>
                  <a:pt x="1093" y="621"/>
                </a:lnTo>
                <a:lnTo>
                  <a:pt x="1094" y="618"/>
                </a:lnTo>
                <a:lnTo>
                  <a:pt x="1094" y="618"/>
                </a:lnTo>
                <a:lnTo>
                  <a:pt x="1096" y="615"/>
                </a:lnTo>
                <a:lnTo>
                  <a:pt x="1098" y="614"/>
                </a:lnTo>
                <a:lnTo>
                  <a:pt x="1098" y="614"/>
                </a:lnTo>
                <a:lnTo>
                  <a:pt x="1097" y="611"/>
                </a:lnTo>
                <a:lnTo>
                  <a:pt x="1097" y="608"/>
                </a:lnTo>
                <a:lnTo>
                  <a:pt x="1098" y="604"/>
                </a:lnTo>
                <a:lnTo>
                  <a:pt x="1101" y="598"/>
                </a:lnTo>
                <a:lnTo>
                  <a:pt x="1104" y="595"/>
                </a:lnTo>
                <a:lnTo>
                  <a:pt x="1104" y="595"/>
                </a:lnTo>
                <a:lnTo>
                  <a:pt x="1098" y="598"/>
                </a:lnTo>
                <a:lnTo>
                  <a:pt x="1096" y="601"/>
                </a:lnTo>
                <a:lnTo>
                  <a:pt x="1096" y="601"/>
                </a:lnTo>
                <a:lnTo>
                  <a:pt x="1093" y="605"/>
                </a:lnTo>
                <a:lnTo>
                  <a:pt x="1091" y="610"/>
                </a:lnTo>
                <a:lnTo>
                  <a:pt x="1091" y="610"/>
                </a:lnTo>
                <a:lnTo>
                  <a:pt x="1088" y="621"/>
                </a:lnTo>
                <a:lnTo>
                  <a:pt x="1088" y="621"/>
                </a:lnTo>
                <a:lnTo>
                  <a:pt x="1087" y="625"/>
                </a:lnTo>
                <a:lnTo>
                  <a:pt x="1086" y="631"/>
                </a:lnTo>
                <a:lnTo>
                  <a:pt x="1086" y="631"/>
                </a:lnTo>
                <a:lnTo>
                  <a:pt x="1083" y="627"/>
                </a:lnTo>
                <a:lnTo>
                  <a:pt x="1083" y="624"/>
                </a:lnTo>
                <a:lnTo>
                  <a:pt x="1083" y="621"/>
                </a:lnTo>
                <a:lnTo>
                  <a:pt x="1080" y="620"/>
                </a:lnTo>
                <a:lnTo>
                  <a:pt x="1080" y="620"/>
                </a:lnTo>
                <a:lnTo>
                  <a:pt x="1077" y="625"/>
                </a:lnTo>
                <a:lnTo>
                  <a:pt x="1073" y="630"/>
                </a:lnTo>
                <a:lnTo>
                  <a:pt x="1068" y="634"/>
                </a:lnTo>
                <a:lnTo>
                  <a:pt x="1063" y="637"/>
                </a:lnTo>
                <a:lnTo>
                  <a:pt x="1063" y="637"/>
                </a:lnTo>
                <a:lnTo>
                  <a:pt x="1057" y="640"/>
                </a:lnTo>
                <a:lnTo>
                  <a:pt x="1057" y="640"/>
                </a:lnTo>
                <a:lnTo>
                  <a:pt x="1051" y="641"/>
                </a:lnTo>
                <a:lnTo>
                  <a:pt x="1051" y="641"/>
                </a:lnTo>
                <a:lnTo>
                  <a:pt x="1046" y="644"/>
                </a:lnTo>
                <a:lnTo>
                  <a:pt x="1041" y="647"/>
                </a:lnTo>
                <a:lnTo>
                  <a:pt x="1041" y="647"/>
                </a:lnTo>
                <a:lnTo>
                  <a:pt x="1047" y="638"/>
                </a:lnTo>
                <a:lnTo>
                  <a:pt x="1051" y="632"/>
                </a:lnTo>
                <a:lnTo>
                  <a:pt x="1051" y="632"/>
                </a:lnTo>
                <a:lnTo>
                  <a:pt x="1057" y="627"/>
                </a:lnTo>
                <a:lnTo>
                  <a:pt x="1063" y="622"/>
                </a:lnTo>
                <a:lnTo>
                  <a:pt x="1063" y="622"/>
                </a:lnTo>
                <a:lnTo>
                  <a:pt x="1064" y="621"/>
                </a:lnTo>
                <a:lnTo>
                  <a:pt x="1063" y="621"/>
                </a:lnTo>
                <a:lnTo>
                  <a:pt x="1061" y="620"/>
                </a:lnTo>
                <a:lnTo>
                  <a:pt x="1061" y="618"/>
                </a:lnTo>
                <a:lnTo>
                  <a:pt x="1061" y="618"/>
                </a:lnTo>
                <a:lnTo>
                  <a:pt x="1064" y="617"/>
                </a:lnTo>
                <a:lnTo>
                  <a:pt x="1068" y="615"/>
                </a:lnTo>
                <a:lnTo>
                  <a:pt x="1074" y="608"/>
                </a:lnTo>
                <a:lnTo>
                  <a:pt x="1074" y="608"/>
                </a:lnTo>
                <a:lnTo>
                  <a:pt x="1080" y="600"/>
                </a:lnTo>
                <a:lnTo>
                  <a:pt x="1084" y="590"/>
                </a:lnTo>
                <a:lnTo>
                  <a:pt x="1084" y="590"/>
                </a:lnTo>
                <a:lnTo>
                  <a:pt x="1086" y="591"/>
                </a:lnTo>
                <a:lnTo>
                  <a:pt x="1088" y="593"/>
                </a:lnTo>
                <a:lnTo>
                  <a:pt x="1088" y="593"/>
                </a:lnTo>
                <a:lnTo>
                  <a:pt x="1087" y="588"/>
                </a:lnTo>
                <a:lnTo>
                  <a:pt x="1087" y="585"/>
                </a:lnTo>
                <a:lnTo>
                  <a:pt x="1091" y="580"/>
                </a:lnTo>
                <a:lnTo>
                  <a:pt x="1091" y="580"/>
                </a:lnTo>
                <a:lnTo>
                  <a:pt x="1096" y="575"/>
                </a:lnTo>
                <a:lnTo>
                  <a:pt x="1097" y="574"/>
                </a:lnTo>
                <a:lnTo>
                  <a:pt x="1098" y="571"/>
                </a:lnTo>
                <a:lnTo>
                  <a:pt x="1098" y="571"/>
                </a:lnTo>
                <a:lnTo>
                  <a:pt x="1097" y="571"/>
                </a:lnTo>
                <a:lnTo>
                  <a:pt x="1096" y="571"/>
                </a:lnTo>
                <a:lnTo>
                  <a:pt x="1096" y="571"/>
                </a:lnTo>
                <a:lnTo>
                  <a:pt x="1104" y="563"/>
                </a:lnTo>
                <a:lnTo>
                  <a:pt x="1104" y="563"/>
                </a:lnTo>
                <a:lnTo>
                  <a:pt x="1113" y="553"/>
                </a:lnTo>
                <a:lnTo>
                  <a:pt x="1113" y="553"/>
                </a:lnTo>
                <a:lnTo>
                  <a:pt x="1117" y="541"/>
                </a:lnTo>
                <a:lnTo>
                  <a:pt x="1117" y="541"/>
                </a:lnTo>
                <a:lnTo>
                  <a:pt x="1118" y="535"/>
                </a:lnTo>
                <a:lnTo>
                  <a:pt x="1118" y="535"/>
                </a:lnTo>
                <a:lnTo>
                  <a:pt x="1120" y="530"/>
                </a:lnTo>
                <a:lnTo>
                  <a:pt x="1120" y="530"/>
                </a:lnTo>
                <a:lnTo>
                  <a:pt x="1126" y="533"/>
                </a:lnTo>
                <a:lnTo>
                  <a:pt x="1126" y="533"/>
                </a:lnTo>
                <a:lnTo>
                  <a:pt x="1127" y="520"/>
                </a:lnTo>
                <a:lnTo>
                  <a:pt x="1127" y="520"/>
                </a:lnTo>
                <a:lnTo>
                  <a:pt x="1131" y="507"/>
                </a:lnTo>
                <a:lnTo>
                  <a:pt x="1131" y="507"/>
                </a:lnTo>
                <a:lnTo>
                  <a:pt x="1134" y="500"/>
                </a:lnTo>
                <a:lnTo>
                  <a:pt x="1134" y="500"/>
                </a:lnTo>
                <a:lnTo>
                  <a:pt x="1137" y="494"/>
                </a:lnTo>
                <a:lnTo>
                  <a:pt x="1137" y="494"/>
                </a:lnTo>
                <a:lnTo>
                  <a:pt x="1141" y="488"/>
                </a:lnTo>
                <a:lnTo>
                  <a:pt x="1141" y="488"/>
                </a:lnTo>
                <a:lnTo>
                  <a:pt x="1146" y="483"/>
                </a:lnTo>
                <a:lnTo>
                  <a:pt x="1146" y="483"/>
                </a:lnTo>
                <a:lnTo>
                  <a:pt x="1143" y="481"/>
                </a:lnTo>
                <a:lnTo>
                  <a:pt x="1143" y="478"/>
                </a:lnTo>
                <a:lnTo>
                  <a:pt x="1143" y="478"/>
                </a:lnTo>
                <a:lnTo>
                  <a:pt x="1147" y="471"/>
                </a:lnTo>
                <a:lnTo>
                  <a:pt x="1147" y="471"/>
                </a:lnTo>
                <a:lnTo>
                  <a:pt x="1150" y="464"/>
                </a:lnTo>
                <a:lnTo>
                  <a:pt x="1150" y="464"/>
                </a:lnTo>
                <a:lnTo>
                  <a:pt x="1154" y="448"/>
                </a:lnTo>
                <a:lnTo>
                  <a:pt x="1154" y="448"/>
                </a:lnTo>
                <a:lnTo>
                  <a:pt x="1158" y="433"/>
                </a:lnTo>
                <a:lnTo>
                  <a:pt x="1158" y="433"/>
                </a:lnTo>
                <a:lnTo>
                  <a:pt x="1160" y="417"/>
                </a:lnTo>
                <a:lnTo>
                  <a:pt x="1160" y="417"/>
                </a:lnTo>
                <a:lnTo>
                  <a:pt x="1163" y="384"/>
                </a:lnTo>
                <a:lnTo>
                  <a:pt x="1165" y="370"/>
                </a:lnTo>
                <a:lnTo>
                  <a:pt x="1167" y="356"/>
                </a:lnTo>
                <a:lnTo>
                  <a:pt x="1167" y="356"/>
                </a:lnTo>
                <a:lnTo>
                  <a:pt x="1167" y="357"/>
                </a:lnTo>
                <a:lnTo>
                  <a:pt x="1165" y="358"/>
                </a:lnTo>
                <a:lnTo>
                  <a:pt x="1164" y="358"/>
                </a:lnTo>
                <a:lnTo>
                  <a:pt x="1164" y="358"/>
                </a:lnTo>
                <a:lnTo>
                  <a:pt x="1167" y="351"/>
                </a:lnTo>
                <a:lnTo>
                  <a:pt x="1170" y="346"/>
                </a:lnTo>
                <a:lnTo>
                  <a:pt x="1170" y="346"/>
                </a:lnTo>
                <a:lnTo>
                  <a:pt x="1171" y="340"/>
                </a:lnTo>
                <a:lnTo>
                  <a:pt x="1171" y="340"/>
                </a:lnTo>
                <a:lnTo>
                  <a:pt x="1171" y="334"/>
                </a:lnTo>
                <a:lnTo>
                  <a:pt x="1171" y="334"/>
                </a:lnTo>
                <a:lnTo>
                  <a:pt x="1171" y="321"/>
                </a:lnTo>
                <a:lnTo>
                  <a:pt x="1171" y="321"/>
                </a:lnTo>
                <a:lnTo>
                  <a:pt x="1170" y="310"/>
                </a:lnTo>
                <a:lnTo>
                  <a:pt x="1170" y="310"/>
                </a:lnTo>
                <a:lnTo>
                  <a:pt x="1174" y="307"/>
                </a:lnTo>
                <a:lnTo>
                  <a:pt x="1180" y="306"/>
                </a:lnTo>
                <a:lnTo>
                  <a:pt x="1180" y="306"/>
                </a:lnTo>
                <a:lnTo>
                  <a:pt x="1174" y="306"/>
                </a:lnTo>
                <a:lnTo>
                  <a:pt x="1168" y="307"/>
                </a:lnTo>
                <a:lnTo>
                  <a:pt x="1168" y="307"/>
                </a:lnTo>
                <a:lnTo>
                  <a:pt x="1173" y="301"/>
                </a:lnTo>
                <a:lnTo>
                  <a:pt x="1173" y="301"/>
                </a:lnTo>
                <a:lnTo>
                  <a:pt x="1173" y="294"/>
                </a:lnTo>
                <a:lnTo>
                  <a:pt x="1173" y="294"/>
                </a:lnTo>
                <a:lnTo>
                  <a:pt x="1173" y="289"/>
                </a:lnTo>
                <a:lnTo>
                  <a:pt x="1170" y="283"/>
                </a:lnTo>
                <a:lnTo>
                  <a:pt x="1170" y="283"/>
                </a:lnTo>
                <a:lnTo>
                  <a:pt x="1174" y="281"/>
                </a:lnTo>
                <a:lnTo>
                  <a:pt x="1174" y="281"/>
                </a:lnTo>
                <a:lnTo>
                  <a:pt x="1170" y="277"/>
                </a:lnTo>
                <a:lnTo>
                  <a:pt x="1167" y="273"/>
                </a:lnTo>
                <a:lnTo>
                  <a:pt x="1167" y="269"/>
                </a:lnTo>
                <a:lnTo>
                  <a:pt x="1168" y="264"/>
                </a:lnTo>
                <a:lnTo>
                  <a:pt x="1168" y="264"/>
                </a:lnTo>
                <a:lnTo>
                  <a:pt x="1167" y="264"/>
                </a:lnTo>
                <a:lnTo>
                  <a:pt x="1164" y="266"/>
                </a:lnTo>
                <a:lnTo>
                  <a:pt x="1164" y="266"/>
                </a:lnTo>
                <a:lnTo>
                  <a:pt x="1163" y="260"/>
                </a:lnTo>
                <a:lnTo>
                  <a:pt x="1163" y="257"/>
                </a:lnTo>
                <a:lnTo>
                  <a:pt x="1165" y="256"/>
                </a:lnTo>
                <a:lnTo>
                  <a:pt x="1165" y="256"/>
                </a:lnTo>
                <a:lnTo>
                  <a:pt x="1164" y="254"/>
                </a:lnTo>
                <a:lnTo>
                  <a:pt x="1164" y="251"/>
                </a:lnTo>
                <a:lnTo>
                  <a:pt x="1165" y="250"/>
                </a:lnTo>
                <a:lnTo>
                  <a:pt x="1168" y="247"/>
                </a:lnTo>
                <a:lnTo>
                  <a:pt x="1168" y="247"/>
                </a:lnTo>
                <a:lnTo>
                  <a:pt x="1167" y="247"/>
                </a:lnTo>
                <a:lnTo>
                  <a:pt x="1164" y="247"/>
                </a:lnTo>
                <a:lnTo>
                  <a:pt x="1161" y="247"/>
                </a:lnTo>
                <a:lnTo>
                  <a:pt x="1160" y="247"/>
                </a:lnTo>
                <a:lnTo>
                  <a:pt x="1160" y="247"/>
                </a:lnTo>
                <a:lnTo>
                  <a:pt x="1158" y="234"/>
                </a:lnTo>
                <a:lnTo>
                  <a:pt x="1155" y="220"/>
                </a:lnTo>
                <a:lnTo>
                  <a:pt x="1155" y="220"/>
                </a:lnTo>
                <a:lnTo>
                  <a:pt x="1154" y="213"/>
                </a:lnTo>
                <a:lnTo>
                  <a:pt x="1154" y="210"/>
                </a:lnTo>
                <a:lnTo>
                  <a:pt x="1154" y="210"/>
                </a:lnTo>
                <a:lnTo>
                  <a:pt x="1154" y="209"/>
                </a:lnTo>
                <a:lnTo>
                  <a:pt x="1154" y="209"/>
                </a:lnTo>
                <a:lnTo>
                  <a:pt x="1153" y="204"/>
                </a:lnTo>
                <a:lnTo>
                  <a:pt x="1153" y="204"/>
                </a:lnTo>
                <a:lnTo>
                  <a:pt x="1150" y="197"/>
                </a:lnTo>
                <a:lnTo>
                  <a:pt x="1148" y="193"/>
                </a:lnTo>
                <a:lnTo>
                  <a:pt x="1148" y="191"/>
                </a:lnTo>
                <a:lnTo>
                  <a:pt x="1148" y="191"/>
                </a:lnTo>
                <a:lnTo>
                  <a:pt x="1147" y="191"/>
                </a:lnTo>
                <a:lnTo>
                  <a:pt x="1147" y="191"/>
                </a:lnTo>
                <a:lnTo>
                  <a:pt x="1147" y="191"/>
                </a:lnTo>
                <a:lnTo>
                  <a:pt x="1147" y="190"/>
                </a:lnTo>
                <a:lnTo>
                  <a:pt x="1147" y="190"/>
                </a:lnTo>
                <a:lnTo>
                  <a:pt x="1148" y="191"/>
                </a:lnTo>
                <a:lnTo>
                  <a:pt x="1147" y="190"/>
                </a:lnTo>
                <a:lnTo>
                  <a:pt x="1147" y="190"/>
                </a:lnTo>
                <a:lnTo>
                  <a:pt x="1141" y="174"/>
                </a:lnTo>
                <a:lnTo>
                  <a:pt x="1134" y="160"/>
                </a:lnTo>
                <a:lnTo>
                  <a:pt x="1126" y="147"/>
                </a:lnTo>
                <a:lnTo>
                  <a:pt x="1117" y="136"/>
                </a:lnTo>
                <a:lnTo>
                  <a:pt x="1120" y="140"/>
                </a:lnTo>
                <a:lnTo>
                  <a:pt x="1120" y="140"/>
                </a:lnTo>
                <a:lnTo>
                  <a:pt x="1123" y="146"/>
                </a:lnTo>
                <a:lnTo>
                  <a:pt x="1123" y="146"/>
                </a:lnTo>
                <a:lnTo>
                  <a:pt x="1127" y="156"/>
                </a:lnTo>
                <a:lnTo>
                  <a:pt x="1127" y="156"/>
                </a:lnTo>
                <a:lnTo>
                  <a:pt x="1136" y="179"/>
                </a:lnTo>
                <a:lnTo>
                  <a:pt x="1136" y="179"/>
                </a:lnTo>
                <a:lnTo>
                  <a:pt x="1140" y="189"/>
                </a:lnTo>
                <a:lnTo>
                  <a:pt x="1143" y="194"/>
                </a:lnTo>
                <a:lnTo>
                  <a:pt x="1143" y="194"/>
                </a:lnTo>
                <a:lnTo>
                  <a:pt x="1144" y="200"/>
                </a:lnTo>
                <a:lnTo>
                  <a:pt x="1144" y="200"/>
                </a:lnTo>
                <a:lnTo>
                  <a:pt x="1150" y="211"/>
                </a:lnTo>
                <a:lnTo>
                  <a:pt x="1150" y="211"/>
                </a:lnTo>
                <a:lnTo>
                  <a:pt x="1154" y="223"/>
                </a:lnTo>
                <a:lnTo>
                  <a:pt x="1154" y="223"/>
                </a:lnTo>
                <a:lnTo>
                  <a:pt x="1153" y="224"/>
                </a:lnTo>
                <a:lnTo>
                  <a:pt x="1154" y="226"/>
                </a:lnTo>
                <a:lnTo>
                  <a:pt x="1154" y="227"/>
                </a:lnTo>
                <a:lnTo>
                  <a:pt x="1151" y="229"/>
                </a:lnTo>
                <a:lnTo>
                  <a:pt x="1151" y="229"/>
                </a:lnTo>
                <a:lnTo>
                  <a:pt x="1154" y="234"/>
                </a:lnTo>
                <a:lnTo>
                  <a:pt x="1154" y="234"/>
                </a:lnTo>
                <a:lnTo>
                  <a:pt x="1155" y="241"/>
                </a:lnTo>
                <a:lnTo>
                  <a:pt x="1155" y="241"/>
                </a:lnTo>
                <a:lnTo>
                  <a:pt x="1157" y="249"/>
                </a:lnTo>
                <a:lnTo>
                  <a:pt x="1157" y="249"/>
                </a:lnTo>
                <a:lnTo>
                  <a:pt x="1157" y="256"/>
                </a:lnTo>
                <a:lnTo>
                  <a:pt x="1157" y="256"/>
                </a:lnTo>
                <a:lnTo>
                  <a:pt x="1157" y="271"/>
                </a:lnTo>
                <a:lnTo>
                  <a:pt x="1158" y="277"/>
                </a:lnTo>
                <a:lnTo>
                  <a:pt x="1161" y="284"/>
                </a:lnTo>
                <a:lnTo>
                  <a:pt x="1161" y="284"/>
                </a:lnTo>
                <a:lnTo>
                  <a:pt x="1158" y="284"/>
                </a:lnTo>
                <a:lnTo>
                  <a:pt x="1157" y="286"/>
                </a:lnTo>
                <a:lnTo>
                  <a:pt x="1157" y="286"/>
                </a:lnTo>
                <a:lnTo>
                  <a:pt x="1161" y="286"/>
                </a:lnTo>
                <a:lnTo>
                  <a:pt x="1163" y="286"/>
                </a:lnTo>
                <a:lnTo>
                  <a:pt x="1165" y="289"/>
                </a:lnTo>
                <a:lnTo>
                  <a:pt x="1165" y="289"/>
                </a:lnTo>
                <a:lnTo>
                  <a:pt x="1164" y="290"/>
                </a:lnTo>
                <a:lnTo>
                  <a:pt x="1163" y="291"/>
                </a:lnTo>
                <a:lnTo>
                  <a:pt x="1163" y="294"/>
                </a:lnTo>
                <a:lnTo>
                  <a:pt x="1161" y="297"/>
                </a:lnTo>
                <a:lnTo>
                  <a:pt x="1161" y="300"/>
                </a:lnTo>
                <a:lnTo>
                  <a:pt x="1158" y="301"/>
                </a:lnTo>
                <a:lnTo>
                  <a:pt x="1158" y="301"/>
                </a:lnTo>
                <a:lnTo>
                  <a:pt x="1161" y="303"/>
                </a:lnTo>
                <a:lnTo>
                  <a:pt x="1161" y="304"/>
                </a:lnTo>
                <a:lnTo>
                  <a:pt x="1161" y="308"/>
                </a:lnTo>
                <a:lnTo>
                  <a:pt x="1161" y="308"/>
                </a:lnTo>
                <a:lnTo>
                  <a:pt x="1157" y="316"/>
                </a:lnTo>
                <a:lnTo>
                  <a:pt x="1157" y="316"/>
                </a:lnTo>
                <a:lnTo>
                  <a:pt x="1161" y="317"/>
                </a:lnTo>
                <a:lnTo>
                  <a:pt x="1163" y="317"/>
                </a:lnTo>
                <a:lnTo>
                  <a:pt x="1164" y="318"/>
                </a:lnTo>
                <a:lnTo>
                  <a:pt x="1164" y="318"/>
                </a:lnTo>
                <a:lnTo>
                  <a:pt x="1161" y="320"/>
                </a:lnTo>
                <a:lnTo>
                  <a:pt x="1161" y="321"/>
                </a:lnTo>
                <a:lnTo>
                  <a:pt x="1161" y="321"/>
                </a:lnTo>
                <a:lnTo>
                  <a:pt x="1161" y="323"/>
                </a:lnTo>
                <a:lnTo>
                  <a:pt x="1160" y="324"/>
                </a:lnTo>
                <a:lnTo>
                  <a:pt x="1160" y="324"/>
                </a:lnTo>
                <a:lnTo>
                  <a:pt x="1163" y="327"/>
                </a:lnTo>
                <a:lnTo>
                  <a:pt x="1164" y="330"/>
                </a:lnTo>
                <a:lnTo>
                  <a:pt x="1163" y="333"/>
                </a:lnTo>
                <a:lnTo>
                  <a:pt x="1164" y="337"/>
                </a:lnTo>
                <a:lnTo>
                  <a:pt x="1164" y="337"/>
                </a:lnTo>
                <a:lnTo>
                  <a:pt x="1158" y="338"/>
                </a:lnTo>
                <a:lnTo>
                  <a:pt x="1158" y="340"/>
                </a:lnTo>
                <a:lnTo>
                  <a:pt x="1158" y="347"/>
                </a:lnTo>
                <a:lnTo>
                  <a:pt x="1158" y="347"/>
                </a:lnTo>
                <a:lnTo>
                  <a:pt x="1160" y="348"/>
                </a:lnTo>
                <a:lnTo>
                  <a:pt x="1161" y="348"/>
                </a:lnTo>
                <a:lnTo>
                  <a:pt x="1163" y="348"/>
                </a:lnTo>
                <a:lnTo>
                  <a:pt x="1163" y="348"/>
                </a:lnTo>
                <a:lnTo>
                  <a:pt x="1163" y="348"/>
                </a:lnTo>
                <a:lnTo>
                  <a:pt x="1161" y="357"/>
                </a:lnTo>
                <a:lnTo>
                  <a:pt x="1161" y="357"/>
                </a:lnTo>
                <a:lnTo>
                  <a:pt x="1160" y="366"/>
                </a:lnTo>
                <a:lnTo>
                  <a:pt x="1160" y="366"/>
                </a:lnTo>
                <a:lnTo>
                  <a:pt x="1158" y="374"/>
                </a:lnTo>
                <a:lnTo>
                  <a:pt x="1158" y="374"/>
                </a:lnTo>
                <a:lnTo>
                  <a:pt x="1157" y="383"/>
                </a:lnTo>
                <a:lnTo>
                  <a:pt x="1157" y="383"/>
                </a:lnTo>
                <a:lnTo>
                  <a:pt x="1155" y="391"/>
                </a:lnTo>
                <a:lnTo>
                  <a:pt x="1155" y="391"/>
                </a:lnTo>
                <a:lnTo>
                  <a:pt x="1153" y="400"/>
                </a:lnTo>
                <a:lnTo>
                  <a:pt x="1153" y="400"/>
                </a:lnTo>
                <a:lnTo>
                  <a:pt x="1150" y="408"/>
                </a:lnTo>
                <a:lnTo>
                  <a:pt x="1150" y="408"/>
                </a:lnTo>
                <a:lnTo>
                  <a:pt x="1146" y="417"/>
                </a:lnTo>
                <a:lnTo>
                  <a:pt x="1146" y="417"/>
                </a:lnTo>
                <a:lnTo>
                  <a:pt x="1146" y="416"/>
                </a:lnTo>
                <a:lnTo>
                  <a:pt x="1144" y="416"/>
                </a:lnTo>
                <a:lnTo>
                  <a:pt x="1144" y="416"/>
                </a:lnTo>
                <a:lnTo>
                  <a:pt x="1144" y="417"/>
                </a:lnTo>
                <a:lnTo>
                  <a:pt x="1146" y="417"/>
                </a:lnTo>
                <a:lnTo>
                  <a:pt x="1147" y="418"/>
                </a:lnTo>
                <a:lnTo>
                  <a:pt x="1147" y="420"/>
                </a:lnTo>
                <a:lnTo>
                  <a:pt x="1147" y="420"/>
                </a:lnTo>
                <a:lnTo>
                  <a:pt x="1143" y="420"/>
                </a:lnTo>
                <a:lnTo>
                  <a:pt x="1140" y="418"/>
                </a:lnTo>
                <a:lnTo>
                  <a:pt x="1140" y="418"/>
                </a:lnTo>
                <a:lnTo>
                  <a:pt x="1141" y="423"/>
                </a:lnTo>
                <a:lnTo>
                  <a:pt x="1140" y="426"/>
                </a:lnTo>
                <a:lnTo>
                  <a:pt x="1140" y="426"/>
                </a:lnTo>
                <a:lnTo>
                  <a:pt x="1136" y="431"/>
                </a:lnTo>
                <a:lnTo>
                  <a:pt x="1136" y="431"/>
                </a:lnTo>
                <a:lnTo>
                  <a:pt x="1137" y="433"/>
                </a:lnTo>
                <a:lnTo>
                  <a:pt x="1138" y="433"/>
                </a:lnTo>
                <a:lnTo>
                  <a:pt x="1141" y="433"/>
                </a:lnTo>
                <a:lnTo>
                  <a:pt x="1141" y="433"/>
                </a:lnTo>
                <a:lnTo>
                  <a:pt x="1141" y="433"/>
                </a:lnTo>
                <a:lnTo>
                  <a:pt x="1141" y="434"/>
                </a:lnTo>
                <a:lnTo>
                  <a:pt x="1143" y="436"/>
                </a:lnTo>
                <a:lnTo>
                  <a:pt x="1141" y="437"/>
                </a:lnTo>
                <a:lnTo>
                  <a:pt x="1141" y="437"/>
                </a:lnTo>
                <a:lnTo>
                  <a:pt x="1140" y="436"/>
                </a:lnTo>
                <a:lnTo>
                  <a:pt x="1140" y="436"/>
                </a:lnTo>
                <a:lnTo>
                  <a:pt x="1138" y="434"/>
                </a:lnTo>
                <a:lnTo>
                  <a:pt x="1136" y="433"/>
                </a:lnTo>
                <a:lnTo>
                  <a:pt x="1136" y="433"/>
                </a:lnTo>
                <a:lnTo>
                  <a:pt x="1136" y="436"/>
                </a:lnTo>
                <a:lnTo>
                  <a:pt x="1137" y="437"/>
                </a:lnTo>
                <a:lnTo>
                  <a:pt x="1138" y="438"/>
                </a:lnTo>
                <a:lnTo>
                  <a:pt x="1137" y="441"/>
                </a:lnTo>
                <a:lnTo>
                  <a:pt x="1137" y="441"/>
                </a:lnTo>
                <a:lnTo>
                  <a:pt x="1134" y="440"/>
                </a:lnTo>
                <a:lnTo>
                  <a:pt x="1133" y="441"/>
                </a:lnTo>
                <a:lnTo>
                  <a:pt x="1131" y="444"/>
                </a:lnTo>
                <a:lnTo>
                  <a:pt x="1128" y="446"/>
                </a:lnTo>
                <a:lnTo>
                  <a:pt x="1128" y="446"/>
                </a:lnTo>
                <a:lnTo>
                  <a:pt x="1133" y="448"/>
                </a:lnTo>
                <a:lnTo>
                  <a:pt x="1137" y="451"/>
                </a:lnTo>
                <a:lnTo>
                  <a:pt x="1137" y="451"/>
                </a:lnTo>
                <a:lnTo>
                  <a:pt x="1134" y="453"/>
                </a:lnTo>
                <a:lnTo>
                  <a:pt x="1134" y="454"/>
                </a:lnTo>
                <a:lnTo>
                  <a:pt x="1137" y="457"/>
                </a:lnTo>
                <a:lnTo>
                  <a:pt x="1137" y="457"/>
                </a:lnTo>
                <a:lnTo>
                  <a:pt x="1133" y="454"/>
                </a:lnTo>
                <a:lnTo>
                  <a:pt x="1133" y="454"/>
                </a:lnTo>
                <a:lnTo>
                  <a:pt x="1133" y="461"/>
                </a:lnTo>
                <a:lnTo>
                  <a:pt x="1133" y="461"/>
                </a:lnTo>
                <a:lnTo>
                  <a:pt x="1133" y="464"/>
                </a:lnTo>
                <a:lnTo>
                  <a:pt x="1131" y="464"/>
                </a:lnTo>
                <a:lnTo>
                  <a:pt x="1128" y="464"/>
                </a:lnTo>
                <a:lnTo>
                  <a:pt x="1128" y="464"/>
                </a:lnTo>
                <a:lnTo>
                  <a:pt x="1130" y="461"/>
                </a:lnTo>
                <a:lnTo>
                  <a:pt x="1128" y="457"/>
                </a:lnTo>
                <a:lnTo>
                  <a:pt x="1128" y="457"/>
                </a:lnTo>
                <a:lnTo>
                  <a:pt x="1130" y="454"/>
                </a:lnTo>
                <a:lnTo>
                  <a:pt x="1131" y="453"/>
                </a:lnTo>
                <a:lnTo>
                  <a:pt x="1133" y="453"/>
                </a:lnTo>
                <a:lnTo>
                  <a:pt x="1133" y="453"/>
                </a:lnTo>
                <a:lnTo>
                  <a:pt x="1130" y="451"/>
                </a:lnTo>
                <a:lnTo>
                  <a:pt x="1127" y="453"/>
                </a:lnTo>
                <a:lnTo>
                  <a:pt x="1127" y="453"/>
                </a:lnTo>
                <a:lnTo>
                  <a:pt x="1126" y="458"/>
                </a:lnTo>
                <a:lnTo>
                  <a:pt x="1126" y="458"/>
                </a:lnTo>
                <a:lnTo>
                  <a:pt x="1123" y="465"/>
                </a:lnTo>
                <a:lnTo>
                  <a:pt x="1120" y="467"/>
                </a:lnTo>
                <a:lnTo>
                  <a:pt x="1117" y="467"/>
                </a:lnTo>
                <a:lnTo>
                  <a:pt x="1117" y="467"/>
                </a:lnTo>
                <a:lnTo>
                  <a:pt x="1121" y="454"/>
                </a:lnTo>
                <a:lnTo>
                  <a:pt x="1121" y="454"/>
                </a:lnTo>
                <a:lnTo>
                  <a:pt x="1126" y="443"/>
                </a:lnTo>
                <a:lnTo>
                  <a:pt x="1126" y="443"/>
                </a:lnTo>
                <a:lnTo>
                  <a:pt x="1131" y="430"/>
                </a:lnTo>
                <a:lnTo>
                  <a:pt x="1131" y="430"/>
                </a:lnTo>
                <a:lnTo>
                  <a:pt x="1134" y="423"/>
                </a:lnTo>
                <a:lnTo>
                  <a:pt x="1134" y="423"/>
                </a:lnTo>
                <a:lnTo>
                  <a:pt x="1136" y="417"/>
                </a:lnTo>
                <a:lnTo>
                  <a:pt x="1136" y="417"/>
                </a:lnTo>
                <a:lnTo>
                  <a:pt x="1133" y="416"/>
                </a:lnTo>
                <a:lnTo>
                  <a:pt x="1131" y="416"/>
                </a:lnTo>
                <a:lnTo>
                  <a:pt x="1131" y="416"/>
                </a:lnTo>
                <a:lnTo>
                  <a:pt x="1133" y="411"/>
                </a:lnTo>
                <a:lnTo>
                  <a:pt x="1133" y="411"/>
                </a:lnTo>
                <a:lnTo>
                  <a:pt x="1134" y="410"/>
                </a:lnTo>
                <a:lnTo>
                  <a:pt x="1134" y="410"/>
                </a:lnTo>
                <a:lnTo>
                  <a:pt x="1136" y="411"/>
                </a:lnTo>
                <a:lnTo>
                  <a:pt x="1134" y="413"/>
                </a:lnTo>
                <a:lnTo>
                  <a:pt x="1134" y="414"/>
                </a:lnTo>
                <a:lnTo>
                  <a:pt x="1137" y="414"/>
                </a:lnTo>
                <a:lnTo>
                  <a:pt x="1137" y="414"/>
                </a:lnTo>
                <a:lnTo>
                  <a:pt x="1138" y="407"/>
                </a:lnTo>
                <a:lnTo>
                  <a:pt x="1138" y="407"/>
                </a:lnTo>
                <a:lnTo>
                  <a:pt x="1138" y="400"/>
                </a:lnTo>
                <a:lnTo>
                  <a:pt x="1138" y="400"/>
                </a:lnTo>
                <a:lnTo>
                  <a:pt x="1137" y="401"/>
                </a:lnTo>
                <a:lnTo>
                  <a:pt x="1136" y="403"/>
                </a:lnTo>
                <a:lnTo>
                  <a:pt x="1133" y="403"/>
                </a:lnTo>
                <a:lnTo>
                  <a:pt x="1130" y="400"/>
                </a:lnTo>
                <a:lnTo>
                  <a:pt x="1130" y="400"/>
                </a:lnTo>
                <a:lnTo>
                  <a:pt x="1134" y="396"/>
                </a:lnTo>
                <a:lnTo>
                  <a:pt x="1136" y="390"/>
                </a:lnTo>
                <a:lnTo>
                  <a:pt x="1136" y="390"/>
                </a:lnTo>
                <a:lnTo>
                  <a:pt x="1138" y="377"/>
                </a:lnTo>
                <a:lnTo>
                  <a:pt x="1138" y="377"/>
                </a:lnTo>
                <a:lnTo>
                  <a:pt x="1140" y="371"/>
                </a:lnTo>
                <a:lnTo>
                  <a:pt x="1140" y="371"/>
                </a:lnTo>
                <a:lnTo>
                  <a:pt x="1140" y="366"/>
                </a:lnTo>
                <a:lnTo>
                  <a:pt x="1140" y="366"/>
                </a:lnTo>
                <a:lnTo>
                  <a:pt x="1141" y="354"/>
                </a:lnTo>
                <a:lnTo>
                  <a:pt x="1141" y="354"/>
                </a:lnTo>
                <a:lnTo>
                  <a:pt x="1146" y="324"/>
                </a:lnTo>
                <a:lnTo>
                  <a:pt x="1147" y="310"/>
                </a:lnTo>
                <a:lnTo>
                  <a:pt x="1148" y="293"/>
                </a:lnTo>
                <a:lnTo>
                  <a:pt x="1151" y="293"/>
                </a:lnTo>
                <a:lnTo>
                  <a:pt x="1151" y="293"/>
                </a:lnTo>
                <a:lnTo>
                  <a:pt x="1150" y="290"/>
                </a:lnTo>
                <a:lnTo>
                  <a:pt x="1148" y="287"/>
                </a:lnTo>
                <a:lnTo>
                  <a:pt x="1148" y="281"/>
                </a:lnTo>
                <a:lnTo>
                  <a:pt x="1148" y="281"/>
                </a:lnTo>
                <a:lnTo>
                  <a:pt x="1148" y="276"/>
                </a:lnTo>
                <a:lnTo>
                  <a:pt x="1147" y="274"/>
                </a:lnTo>
                <a:lnTo>
                  <a:pt x="1144" y="271"/>
                </a:lnTo>
                <a:lnTo>
                  <a:pt x="1144" y="271"/>
                </a:lnTo>
                <a:lnTo>
                  <a:pt x="1147" y="269"/>
                </a:lnTo>
                <a:lnTo>
                  <a:pt x="1147" y="269"/>
                </a:lnTo>
                <a:lnTo>
                  <a:pt x="1148" y="267"/>
                </a:lnTo>
                <a:lnTo>
                  <a:pt x="1151" y="266"/>
                </a:lnTo>
                <a:lnTo>
                  <a:pt x="1151" y="266"/>
                </a:lnTo>
                <a:lnTo>
                  <a:pt x="1151" y="263"/>
                </a:lnTo>
                <a:lnTo>
                  <a:pt x="1150" y="261"/>
                </a:lnTo>
                <a:lnTo>
                  <a:pt x="1148" y="260"/>
                </a:lnTo>
                <a:lnTo>
                  <a:pt x="1148" y="260"/>
                </a:lnTo>
                <a:lnTo>
                  <a:pt x="1148" y="263"/>
                </a:lnTo>
                <a:lnTo>
                  <a:pt x="1148" y="266"/>
                </a:lnTo>
                <a:lnTo>
                  <a:pt x="1146" y="267"/>
                </a:lnTo>
                <a:lnTo>
                  <a:pt x="1141" y="267"/>
                </a:lnTo>
                <a:lnTo>
                  <a:pt x="1141" y="267"/>
                </a:lnTo>
                <a:lnTo>
                  <a:pt x="1140" y="257"/>
                </a:lnTo>
                <a:lnTo>
                  <a:pt x="1140" y="244"/>
                </a:lnTo>
                <a:lnTo>
                  <a:pt x="1140" y="244"/>
                </a:lnTo>
                <a:lnTo>
                  <a:pt x="1138" y="241"/>
                </a:lnTo>
                <a:lnTo>
                  <a:pt x="1136" y="239"/>
                </a:lnTo>
                <a:lnTo>
                  <a:pt x="1136" y="239"/>
                </a:lnTo>
                <a:lnTo>
                  <a:pt x="1136" y="234"/>
                </a:lnTo>
                <a:lnTo>
                  <a:pt x="1136" y="234"/>
                </a:lnTo>
                <a:lnTo>
                  <a:pt x="1134" y="231"/>
                </a:lnTo>
                <a:lnTo>
                  <a:pt x="1134" y="231"/>
                </a:lnTo>
                <a:lnTo>
                  <a:pt x="1131" y="224"/>
                </a:lnTo>
                <a:lnTo>
                  <a:pt x="1130" y="223"/>
                </a:lnTo>
                <a:lnTo>
                  <a:pt x="1127" y="220"/>
                </a:lnTo>
                <a:lnTo>
                  <a:pt x="1127" y="220"/>
                </a:lnTo>
                <a:lnTo>
                  <a:pt x="1127" y="223"/>
                </a:lnTo>
                <a:lnTo>
                  <a:pt x="1127" y="224"/>
                </a:lnTo>
                <a:lnTo>
                  <a:pt x="1130" y="230"/>
                </a:lnTo>
                <a:lnTo>
                  <a:pt x="1130" y="230"/>
                </a:lnTo>
                <a:lnTo>
                  <a:pt x="1130" y="231"/>
                </a:lnTo>
                <a:lnTo>
                  <a:pt x="1128" y="234"/>
                </a:lnTo>
                <a:lnTo>
                  <a:pt x="1127" y="236"/>
                </a:lnTo>
                <a:lnTo>
                  <a:pt x="1123" y="237"/>
                </a:lnTo>
                <a:lnTo>
                  <a:pt x="1123" y="237"/>
                </a:lnTo>
                <a:lnTo>
                  <a:pt x="1123" y="236"/>
                </a:lnTo>
                <a:lnTo>
                  <a:pt x="1123" y="234"/>
                </a:lnTo>
                <a:lnTo>
                  <a:pt x="1120" y="231"/>
                </a:lnTo>
                <a:lnTo>
                  <a:pt x="1120" y="231"/>
                </a:lnTo>
                <a:lnTo>
                  <a:pt x="1117" y="229"/>
                </a:lnTo>
                <a:lnTo>
                  <a:pt x="1117" y="227"/>
                </a:lnTo>
                <a:lnTo>
                  <a:pt x="1117" y="226"/>
                </a:lnTo>
                <a:lnTo>
                  <a:pt x="1117" y="226"/>
                </a:lnTo>
                <a:lnTo>
                  <a:pt x="1114" y="226"/>
                </a:lnTo>
                <a:lnTo>
                  <a:pt x="1113" y="226"/>
                </a:lnTo>
                <a:lnTo>
                  <a:pt x="1113" y="226"/>
                </a:lnTo>
                <a:lnTo>
                  <a:pt x="1113" y="224"/>
                </a:lnTo>
                <a:lnTo>
                  <a:pt x="1113" y="224"/>
                </a:lnTo>
                <a:lnTo>
                  <a:pt x="1113" y="221"/>
                </a:lnTo>
                <a:lnTo>
                  <a:pt x="1113" y="221"/>
                </a:lnTo>
                <a:lnTo>
                  <a:pt x="1108" y="220"/>
                </a:lnTo>
                <a:lnTo>
                  <a:pt x="1106" y="219"/>
                </a:lnTo>
                <a:lnTo>
                  <a:pt x="1104" y="214"/>
                </a:lnTo>
                <a:lnTo>
                  <a:pt x="1103" y="211"/>
                </a:lnTo>
                <a:lnTo>
                  <a:pt x="1103" y="211"/>
                </a:lnTo>
                <a:lnTo>
                  <a:pt x="1103" y="207"/>
                </a:lnTo>
                <a:lnTo>
                  <a:pt x="1103" y="206"/>
                </a:lnTo>
                <a:lnTo>
                  <a:pt x="1101" y="206"/>
                </a:lnTo>
                <a:lnTo>
                  <a:pt x="1101" y="206"/>
                </a:lnTo>
                <a:lnTo>
                  <a:pt x="1101" y="206"/>
                </a:lnTo>
                <a:lnTo>
                  <a:pt x="1101" y="206"/>
                </a:lnTo>
                <a:lnTo>
                  <a:pt x="1101" y="206"/>
                </a:lnTo>
                <a:lnTo>
                  <a:pt x="1103" y="207"/>
                </a:lnTo>
                <a:lnTo>
                  <a:pt x="1103" y="207"/>
                </a:lnTo>
                <a:lnTo>
                  <a:pt x="1103" y="207"/>
                </a:lnTo>
                <a:lnTo>
                  <a:pt x="1101" y="206"/>
                </a:lnTo>
                <a:lnTo>
                  <a:pt x="1101" y="206"/>
                </a:lnTo>
                <a:lnTo>
                  <a:pt x="1100" y="203"/>
                </a:lnTo>
                <a:lnTo>
                  <a:pt x="1097" y="201"/>
                </a:lnTo>
                <a:lnTo>
                  <a:pt x="1097" y="201"/>
                </a:lnTo>
                <a:lnTo>
                  <a:pt x="1100" y="197"/>
                </a:lnTo>
                <a:lnTo>
                  <a:pt x="1101" y="191"/>
                </a:lnTo>
                <a:lnTo>
                  <a:pt x="1101" y="191"/>
                </a:lnTo>
                <a:lnTo>
                  <a:pt x="1098" y="193"/>
                </a:lnTo>
                <a:lnTo>
                  <a:pt x="1098" y="194"/>
                </a:lnTo>
                <a:lnTo>
                  <a:pt x="1098" y="194"/>
                </a:lnTo>
                <a:lnTo>
                  <a:pt x="1096" y="194"/>
                </a:lnTo>
                <a:lnTo>
                  <a:pt x="1096" y="194"/>
                </a:lnTo>
                <a:lnTo>
                  <a:pt x="1097" y="197"/>
                </a:lnTo>
                <a:lnTo>
                  <a:pt x="1097" y="199"/>
                </a:lnTo>
                <a:lnTo>
                  <a:pt x="1096" y="200"/>
                </a:lnTo>
                <a:lnTo>
                  <a:pt x="1096" y="200"/>
                </a:lnTo>
                <a:lnTo>
                  <a:pt x="1090" y="190"/>
                </a:lnTo>
                <a:lnTo>
                  <a:pt x="1083" y="180"/>
                </a:lnTo>
                <a:lnTo>
                  <a:pt x="1083" y="180"/>
                </a:lnTo>
                <a:lnTo>
                  <a:pt x="1076" y="173"/>
                </a:lnTo>
                <a:lnTo>
                  <a:pt x="1076" y="173"/>
                </a:lnTo>
                <a:lnTo>
                  <a:pt x="1070" y="164"/>
                </a:lnTo>
                <a:lnTo>
                  <a:pt x="1070" y="164"/>
                </a:lnTo>
                <a:lnTo>
                  <a:pt x="1066" y="166"/>
                </a:lnTo>
                <a:lnTo>
                  <a:pt x="1063" y="166"/>
                </a:lnTo>
                <a:lnTo>
                  <a:pt x="1061" y="166"/>
                </a:lnTo>
                <a:lnTo>
                  <a:pt x="1061" y="164"/>
                </a:lnTo>
                <a:lnTo>
                  <a:pt x="1061" y="164"/>
                </a:lnTo>
                <a:lnTo>
                  <a:pt x="1060" y="160"/>
                </a:lnTo>
                <a:lnTo>
                  <a:pt x="1060" y="159"/>
                </a:lnTo>
                <a:lnTo>
                  <a:pt x="1059" y="157"/>
                </a:lnTo>
                <a:lnTo>
                  <a:pt x="1059" y="157"/>
                </a:lnTo>
                <a:lnTo>
                  <a:pt x="1057" y="160"/>
                </a:lnTo>
                <a:lnTo>
                  <a:pt x="1056" y="160"/>
                </a:lnTo>
                <a:lnTo>
                  <a:pt x="1054" y="157"/>
                </a:lnTo>
                <a:lnTo>
                  <a:pt x="1054" y="157"/>
                </a:lnTo>
                <a:lnTo>
                  <a:pt x="1051" y="151"/>
                </a:lnTo>
                <a:lnTo>
                  <a:pt x="1051" y="151"/>
                </a:lnTo>
                <a:lnTo>
                  <a:pt x="1049" y="147"/>
                </a:lnTo>
                <a:lnTo>
                  <a:pt x="1044" y="144"/>
                </a:lnTo>
                <a:lnTo>
                  <a:pt x="1036" y="142"/>
                </a:lnTo>
                <a:lnTo>
                  <a:pt x="1036" y="142"/>
                </a:lnTo>
                <a:lnTo>
                  <a:pt x="1034" y="143"/>
                </a:lnTo>
                <a:lnTo>
                  <a:pt x="1034" y="144"/>
                </a:lnTo>
                <a:lnTo>
                  <a:pt x="1037" y="147"/>
                </a:lnTo>
                <a:lnTo>
                  <a:pt x="1037" y="147"/>
                </a:lnTo>
                <a:lnTo>
                  <a:pt x="1040" y="149"/>
                </a:lnTo>
                <a:lnTo>
                  <a:pt x="1041" y="150"/>
                </a:lnTo>
                <a:lnTo>
                  <a:pt x="1041" y="151"/>
                </a:lnTo>
                <a:lnTo>
                  <a:pt x="1041" y="151"/>
                </a:lnTo>
                <a:lnTo>
                  <a:pt x="1036" y="153"/>
                </a:lnTo>
                <a:lnTo>
                  <a:pt x="1033" y="154"/>
                </a:lnTo>
                <a:lnTo>
                  <a:pt x="1033" y="154"/>
                </a:lnTo>
                <a:lnTo>
                  <a:pt x="1033" y="153"/>
                </a:lnTo>
                <a:lnTo>
                  <a:pt x="1031" y="151"/>
                </a:lnTo>
                <a:lnTo>
                  <a:pt x="1030" y="151"/>
                </a:lnTo>
                <a:lnTo>
                  <a:pt x="1027" y="153"/>
                </a:lnTo>
                <a:lnTo>
                  <a:pt x="1027" y="153"/>
                </a:lnTo>
                <a:lnTo>
                  <a:pt x="1029" y="154"/>
                </a:lnTo>
                <a:lnTo>
                  <a:pt x="1030" y="157"/>
                </a:lnTo>
                <a:lnTo>
                  <a:pt x="1030" y="157"/>
                </a:lnTo>
                <a:lnTo>
                  <a:pt x="1029" y="163"/>
                </a:lnTo>
                <a:lnTo>
                  <a:pt x="1029" y="163"/>
                </a:lnTo>
                <a:lnTo>
                  <a:pt x="1019" y="161"/>
                </a:lnTo>
                <a:lnTo>
                  <a:pt x="1019" y="161"/>
                </a:lnTo>
                <a:lnTo>
                  <a:pt x="1017" y="160"/>
                </a:lnTo>
                <a:lnTo>
                  <a:pt x="1016" y="159"/>
                </a:lnTo>
                <a:lnTo>
                  <a:pt x="1016" y="157"/>
                </a:lnTo>
                <a:lnTo>
                  <a:pt x="1017" y="154"/>
                </a:lnTo>
                <a:lnTo>
                  <a:pt x="1017" y="154"/>
                </a:lnTo>
                <a:lnTo>
                  <a:pt x="1013" y="154"/>
                </a:lnTo>
                <a:lnTo>
                  <a:pt x="1010" y="153"/>
                </a:lnTo>
                <a:lnTo>
                  <a:pt x="1010" y="153"/>
                </a:lnTo>
                <a:lnTo>
                  <a:pt x="1007" y="150"/>
                </a:lnTo>
                <a:lnTo>
                  <a:pt x="1004" y="147"/>
                </a:lnTo>
                <a:lnTo>
                  <a:pt x="1004" y="147"/>
                </a:lnTo>
                <a:lnTo>
                  <a:pt x="1000" y="150"/>
                </a:lnTo>
                <a:lnTo>
                  <a:pt x="997" y="150"/>
                </a:lnTo>
                <a:lnTo>
                  <a:pt x="997" y="150"/>
                </a:lnTo>
                <a:lnTo>
                  <a:pt x="993" y="144"/>
                </a:lnTo>
                <a:lnTo>
                  <a:pt x="993" y="144"/>
                </a:lnTo>
                <a:lnTo>
                  <a:pt x="989" y="147"/>
                </a:lnTo>
                <a:lnTo>
                  <a:pt x="986" y="149"/>
                </a:lnTo>
                <a:lnTo>
                  <a:pt x="983" y="150"/>
                </a:lnTo>
                <a:lnTo>
                  <a:pt x="980" y="150"/>
                </a:lnTo>
                <a:lnTo>
                  <a:pt x="980" y="150"/>
                </a:lnTo>
                <a:lnTo>
                  <a:pt x="980" y="151"/>
                </a:lnTo>
                <a:lnTo>
                  <a:pt x="980" y="151"/>
                </a:lnTo>
                <a:lnTo>
                  <a:pt x="981" y="151"/>
                </a:lnTo>
                <a:lnTo>
                  <a:pt x="981" y="153"/>
                </a:lnTo>
                <a:lnTo>
                  <a:pt x="981" y="153"/>
                </a:lnTo>
                <a:lnTo>
                  <a:pt x="971" y="159"/>
                </a:lnTo>
                <a:lnTo>
                  <a:pt x="969" y="160"/>
                </a:lnTo>
                <a:lnTo>
                  <a:pt x="966" y="159"/>
                </a:lnTo>
                <a:lnTo>
                  <a:pt x="966" y="159"/>
                </a:lnTo>
                <a:lnTo>
                  <a:pt x="970" y="156"/>
                </a:lnTo>
                <a:lnTo>
                  <a:pt x="970" y="156"/>
                </a:lnTo>
                <a:lnTo>
                  <a:pt x="964" y="154"/>
                </a:lnTo>
                <a:lnTo>
                  <a:pt x="960" y="156"/>
                </a:lnTo>
                <a:lnTo>
                  <a:pt x="960" y="156"/>
                </a:lnTo>
                <a:lnTo>
                  <a:pt x="960" y="154"/>
                </a:lnTo>
                <a:lnTo>
                  <a:pt x="959" y="154"/>
                </a:lnTo>
                <a:lnTo>
                  <a:pt x="956" y="154"/>
                </a:lnTo>
                <a:lnTo>
                  <a:pt x="956" y="154"/>
                </a:lnTo>
                <a:lnTo>
                  <a:pt x="954" y="153"/>
                </a:lnTo>
                <a:lnTo>
                  <a:pt x="952" y="151"/>
                </a:lnTo>
                <a:lnTo>
                  <a:pt x="952" y="151"/>
                </a:lnTo>
                <a:lnTo>
                  <a:pt x="950" y="150"/>
                </a:lnTo>
                <a:lnTo>
                  <a:pt x="946" y="153"/>
                </a:lnTo>
                <a:lnTo>
                  <a:pt x="946" y="153"/>
                </a:lnTo>
                <a:lnTo>
                  <a:pt x="946" y="154"/>
                </a:lnTo>
                <a:lnTo>
                  <a:pt x="947" y="156"/>
                </a:lnTo>
                <a:lnTo>
                  <a:pt x="947" y="157"/>
                </a:lnTo>
                <a:lnTo>
                  <a:pt x="946" y="160"/>
                </a:lnTo>
                <a:lnTo>
                  <a:pt x="946" y="160"/>
                </a:lnTo>
                <a:lnTo>
                  <a:pt x="943" y="160"/>
                </a:lnTo>
                <a:lnTo>
                  <a:pt x="943" y="159"/>
                </a:lnTo>
                <a:lnTo>
                  <a:pt x="943" y="159"/>
                </a:lnTo>
                <a:lnTo>
                  <a:pt x="942" y="159"/>
                </a:lnTo>
                <a:lnTo>
                  <a:pt x="942" y="159"/>
                </a:lnTo>
                <a:lnTo>
                  <a:pt x="942" y="161"/>
                </a:lnTo>
                <a:lnTo>
                  <a:pt x="943" y="163"/>
                </a:lnTo>
                <a:lnTo>
                  <a:pt x="944" y="164"/>
                </a:lnTo>
                <a:lnTo>
                  <a:pt x="942" y="169"/>
                </a:lnTo>
                <a:lnTo>
                  <a:pt x="942" y="169"/>
                </a:lnTo>
                <a:lnTo>
                  <a:pt x="940" y="166"/>
                </a:lnTo>
                <a:lnTo>
                  <a:pt x="940" y="166"/>
                </a:lnTo>
                <a:lnTo>
                  <a:pt x="937" y="170"/>
                </a:lnTo>
                <a:lnTo>
                  <a:pt x="936" y="171"/>
                </a:lnTo>
                <a:lnTo>
                  <a:pt x="934" y="174"/>
                </a:lnTo>
                <a:lnTo>
                  <a:pt x="934" y="174"/>
                </a:lnTo>
                <a:lnTo>
                  <a:pt x="934" y="174"/>
                </a:lnTo>
                <a:lnTo>
                  <a:pt x="936" y="176"/>
                </a:lnTo>
                <a:lnTo>
                  <a:pt x="937" y="174"/>
                </a:lnTo>
                <a:lnTo>
                  <a:pt x="937" y="174"/>
                </a:lnTo>
                <a:lnTo>
                  <a:pt x="937" y="173"/>
                </a:lnTo>
                <a:lnTo>
                  <a:pt x="939" y="170"/>
                </a:lnTo>
                <a:lnTo>
                  <a:pt x="939" y="170"/>
                </a:lnTo>
                <a:lnTo>
                  <a:pt x="943" y="176"/>
                </a:lnTo>
                <a:lnTo>
                  <a:pt x="943" y="176"/>
                </a:lnTo>
                <a:lnTo>
                  <a:pt x="936" y="177"/>
                </a:lnTo>
                <a:lnTo>
                  <a:pt x="936" y="177"/>
                </a:lnTo>
                <a:lnTo>
                  <a:pt x="932" y="176"/>
                </a:lnTo>
                <a:lnTo>
                  <a:pt x="932" y="176"/>
                </a:lnTo>
                <a:lnTo>
                  <a:pt x="927" y="173"/>
                </a:lnTo>
                <a:lnTo>
                  <a:pt x="926" y="170"/>
                </a:lnTo>
                <a:lnTo>
                  <a:pt x="926" y="170"/>
                </a:lnTo>
                <a:lnTo>
                  <a:pt x="919" y="176"/>
                </a:lnTo>
                <a:lnTo>
                  <a:pt x="919" y="176"/>
                </a:lnTo>
                <a:lnTo>
                  <a:pt x="922" y="177"/>
                </a:lnTo>
                <a:lnTo>
                  <a:pt x="922" y="177"/>
                </a:lnTo>
                <a:lnTo>
                  <a:pt x="922" y="176"/>
                </a:lnTo>
                <a:lnTo>
                  <a:pt x="923" y="174"/>
                </a:lnTo>
                <a:lnTo>
                  <a:pt x="923" y="174"/>
                </a:lnTo>
                <a:lnTo>
                  <a:pt x="923" y="176"/>
                </a:lnTo>
                <a:lnTo>
                  <a:pt x="923" y="177"/>
                </a:lnTo>
                <a:lnTo>
                  <a:pt x="920" y="180"/>
                </a:lnTo>
                <a:lnTo>
                  <a:pt x="920" y="180"/>
                </a:lnTo>
                <a:lnTo>
                  <a:pt x="917" y="181"/>
                </a:lnTo>
                <a:lnTo>
                  <a:pt x="916" y="180"/>
                </a:lnTo>
                <a:lnTo>
                  <a:pt x="917" y="179"/>
                </a:lnTo>
                <a:lnTo>
                  <a:pt x="917" y="177"/>
                </a:lnTo>
                <a:lnTo>
                  <a:pt x="916" y="177"/>
                </a:lnTo>
                <a:lnTo>
                  <a:pt x="916" y="177"/>
                </a:lnTo>
                <a:lnTo>
                  <a:pt x="916" y="180"/>
                </a:lnTo>
                <a:lnTo>
                  <a:pt x="912" y="1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3" name="Group 2"/>
          <p:cNvGrpSpPr/>
          <p:nvPr/>
        </p:nvGrpSpPr>
        <p:grpSpPr>
          <a:xfrm>
            <a:off x="1334763" y="1546020"/>
            <a:ext cx="4761237" cy="4423339"/>
            <a:chOff x="1334763" y="1546020"/>
            <a:chExt cx="4761237" cy="4423339"/>
          </a:xfrm>
          <a:solidFill>
            <a:schemeClr val="bg1">
              <a:lumMod val="65000"/>
            </a:schemeClr>
          </a:solidFill>
        </p:grpSpPr>
        <p:sp>
          <p:nvSpPr>
            <p:cNvPr id="6" name="Freeform 5"/>
            <p:cNvSpPr/>
            <p:nvPr/>
          </p:nvSpPr>
          <p:spPr bwMode="auto">
            <a:xfrm>
              <a:off x="1912255" y="2922170"/>
              <a:ext cx="61435" cy="141299"/>
            </a:xfrm>
            <a:custGeom>
              <a:avLst/>
              <a:gdLst>
                <a:gd name="T0" fmla="*/ 0 w 20"/>
                <a:gd name="T1" fmla="*/ 13 h 44"/>
                <a:gd name="T2" fmla="*/ 0 w 20"/>
                <a:gd name="T3" fmla="*/ 13 h 44"/>
                <a:gd name="T4" fmla="*/ 0 w 20"/>
                <a:gd name="T5" fmla="*/ 10 h 44"/>
                <a:gd name="T6" fmla="*/ 2 w 20"/>
                <a:gd name="T7" fmla="*/ 7 h 44"/>
                <a:gd name="T8" fmla="*/ 4 w 20"/>
                <a:gd name="T9" fmla="*/ 4 h 44"/>
                <a:gd name="T10" fmla="*/ 4 w 20"/>
                <a:gd name="T11" fmla="*/ 0 h 44"/>
                <a:gd name="T12" fmla="*/ 4 w 20"/>
                <a:gd name="T13" fmla="*/ 0 h 44"/>
                <a:gd name="T14" fmla="*/ 7 w 20"/>
                <a:gd name="T15" fmla="*/ 8 h 44"/>
                <a:gd name="T16" fmla="*/ 7 w 20"/>
                <a:gd name="T17" fmla="*/ 14 h 44"/>
                <a:gd name="T18" fmla="*/ 6 w 20"/>
                <a:gd name="T19" fmla="*/ 18 h 44"/>
                <a:gd name="T20" fmla="*/ 6 w 20"/>
                <a:gd name="T21" fmla="*/ 18 h 44"/>
                <a:gd name="T22" fmla="*/ 9 w 20"/>
                <a:gd name="T23" fmla="*/ 18 h 44"/>
                <a:gd name="T24" fmla="*/ 10 w 20"/>
                <a:gd name="T25" fmla="*/ 18 h 44"/>
                <a:gd name="T26" fmla="*/ 12 w 20"/>
                <a:gd name="T27" fmla="*/ 17 h 44"/>
                <a:gd name="T28" fmla="*/ 13 w 20"/>
                <a:gd name="T29" fmla="*/ 17 h 44"/>
                <a:gd name="T30" fmla="*/ 13 w 20"/>
                <a:gd name="T31" fmla="*/ 17 h 44"/>
                <a:gd name="T32" fmla="*/ 12 w 20"/>
                <a:gd name="T33" fmla="*/ 26 h 44"/>
                <a:gd name="T34" fmla="*/ 10 w 20"/>
                <a:gd name="T35" fmla="*/ 28 h 44"/>
                <a:gd name="T36" fmla="*/ 10 w 20"/>
                <a:gd name="T37" fmla="*/ 33 h 44"/>
                <a:gd name="T38" fmla="*/ 10 w 20"/>
                <a:gd name="T39" fmla="*/ 33 h 44"/>
                <a:gd name="T40" fmla="*/ 13 w 20"/>
                <a:gd name="T41" fmla="*/ 30 h 44"/>
                <a:gd name="T42" fmla="*/ 14 w 20"/>
                <a:gd name="T43" fmla="*/ 27 h 44"/>
                <a:gd name="T44" fmla="*/ 14 w 20"/>
                <a:gd name="T45" fmla="*/ 27 h 44"/>
                <a:gd name="T46" fmla="*/ 17 w 20"/>
                <a:gd name="T47" fmla="*/ 28 h 44"/>
                <a:gd name="T48" fmla="*/ 17 w 20"/>
                <a:gd name="T49" fmla="*/ 31 h 44"/>
                <a:gd name="T50" fmla="*/ 17 w 20"/>
                <a:gd name="T51" fmla="*/ 34 h 44"/>
                <a:gd name="T52" fmla="*/ 20 w 20"/>
                <a:gd name="T53" fmla="*/ 38 h 44"/>
                <a:gd name="T54" fmla="*/ 20 w 20"/>
                <a:gd name="T55" fmla="*/ 38 h 44"/>
                <a:gd name="T56" fmla="*/ 19 w 20"/>
                <a:gd name="T57" fmla="*/ 40 h 44"/>
                <a:gd name="T58" fmla="*/ 16 w 20"/>
                <a:gd name="T59" fmla="*/ 38 h 44"/>
                <a:gd name="T60" fmla="*/ 12 w 20"/>
                <a:gd name="T61" fmla="*/ 34 h 44"/>
                <a:gd name="T62" fmla="*/ 12 w 20"/>
                <a:gd name="T63" fmla="*/ 34 h 44"/>
                <a:gd name="T64" fmla="*/ 9 w 20"/>
                <a:gd name="T65" fmla="*/ 38 h 44"/>
                <a:gd name="T66" fmla="*/ 7 w 20"/>
                <a:gd name="T67" fmla="*/ 41 h 44"/>
                <a:gd name="T68" fmla="*/ 6 w 20"/>
                <a:gd name="T69" fmla="*/ 44 h 44"/>
                <a:gd name="T70" fmla="*/ 6 w 20"/>
                <a:gd name="T71" fmla="*/ 44 h 44"/>
                <a:gd name="T72" fmla="*/ 4 w 20"/>
                <a:gd name="T73" fmla="*/ 41 h 44"/>
                <a:gd name="T74" fmla="*/ 3 w 20"/>
                <a:gd name="T75" fmla="*/ 40 h 44"/>
                <a:gd name="T76" fmla="*/ 2 w 20"/>
                <a:gd name="T77" fmla="*/ 40 h 44"/>
                <a:gd name="T78" fmla="*/ 2 w 20"/>
                <a:gd name="T79" fmla="*/ 40 h 44"/>
                <a:gd name="T80" fmla="*/ 3 w 20"/>
                <a:gd name="T81" fmla="*/ 24 h 44"/>
                <a:gd name="T82" fmla="*/ 2 w 20"/>
                <a:gd name="T83" fmla="*/ 18 h 44"/>
                <a:gd name="T84" fmla="*/ 0 w 20"/>
                <a:gd name="T85" fmla="*/ 1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 h="44">
                  <a:moveTo>
                    <a:pt x="0" y="13"/>
                  </a:moveTo>
                  <a:lnTo>
                    <a:pt x="0" y="13"/>
                  </a:lnTo>
                  <a:lnTo>
                    <a:pt x="0" y="10"/>
                  </a:lnTo>
                  <a:lnTo>
                    <a:pt x="2" y="7"/>
                  </a:lnTo>
                  <a:lnTo>
                    <a:pt x="4" y="4"/>
                  </a:lnTo>
                  <a:lnTo>
                    <a:pt x="4" y="0"/>
                  </a:lnTo>
                  <a:lnTo>
                    <a:pt x="4" y="0"/>
                  </a:lnTo>
                  <a:lnTo>
                    <a:pt x="7" y="8"/>
                  </a:lnTo>
                  <a:lnTo>
                    <a:pt x="7" y="14"/>
                  </a:lnTo>
                  <a:lnTo>
                    <a:pt x="6" y="18"/>
                  </a:lnTo>
                  <a:lnTo>
                    <a:pt x="6" y="18"/>
                  </a:lnTo>
                  <a:lnTo>
                    <a:pt x="9" y="18"/>
                  </a:lnTo>
                  <a:lnTo>
                    <a:pt x="10" y="18"/>
                  </a:lnTo>
                  <a:lnTo>
                    <a:pt x="12" y="17"/>
                  </a:lnTo>
                  <a:lnTo>
                    <a:pt x="13" y="17"/>
                  </a:lnTo>
                  <a:lnTo>
                    <a:pt x="13" y="17"/>
                  </a:lnTo>
                  <a:lnTo>
                    <a:pt x="12" y="26"/>
                  </a:lnTo>
                  <a:lnTo>
                    <a:pt x="10" y="28"/>
                  </a:lnTo>
                  <a:lnTo>
                    <a:pt x="10" y="33"/>
                  </a:lnTo>
                  <a:lnTo>
                    <a:pt x="10" y="33"/>
                  </a:lnTo>
                  <a:lnTo>
                    <a:pt x="13" y="30"/>
                  </a:lnTo>
                  <a:lnTo>
                    <a:pt x="14" y="27"/>
                  </a:lnTo>
                  <a:lnTo>
                    <a:pt x="14" y="27"/>
                  </a:lnTo>
                  <a:lnTo>
                    <a:pt x="17" y="28"/>
                  </a:lnTo>
                  <a:lnTo>
                    <a:pt x="17" y="31"/>
                  </a:lnTo>
                  <a:lnTo>
                    <a:pt x="17" y="34"/>
                  </a:lnTo>
                  <a:lnTo>
                    <a:pt x="20" y="38"/>
                  </a:lnTo>
                  <a:lnTo>
                    <a:pt x="20" y="38"/>
                  </a:lnTo>
                  <a:lnTo>
                    <a:pt x="19" y="40"/>
                  </a:lnTo>
                  <a:lnTo>
                    <a:pt x="16" y="38"/>
                  </a:lnTo>
                  <a:lnTo>
                    <a:pt x="12" y="34"/>
                  </a:lnTo>
                  <a:lnTo>
                    <a:pt x="12" y="34"/>
                  </a:lnTo>
                  <a:lnTo>
                    <a:pt x="9" y="38"/>
                  </a:lnTo>
                  <a:lnTo>
                    <a:pt x="7" y="41"/>
                  </a:lnTo>
                  <a:lnTo>
                    <a:pt x="6" y="44"/>
                  </a:lnTo>
                  <a:lnTo>
                    <a:pt x="6" y="44"/>
                  </a:lnTo>
                  <a:lnTo>
                    <a:pt x="4" y="41"/>
                  </a:lnTo>
                  <a:lnTo>
                    <a:pt x="3" y="40"/>
                  </a:lnTo>
                  <a:lnTo>
                    <a:pt x="2" y="40"/>
                  </a:lnTo>
                  <a:lnTo>
                    <a:pt x="2" y="40"/>
                  </a:lnTo>
                  <a:lnTo>
                    <a:pt x="3" y="24"/>
                  </a:lnTo>
                  <a:lnTo>
                    <a:pt x="2" y="18"/>
                  </a:lnTo>
                  <a:lnTo>
                    <a:pt x="0"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 name="Freeform 6"/>
            <p:cNvSpPr/>
            <p:nvPr/>
          </p:nvSpPr>
          <p:spPr bwMode="auto">
            <a:xfrm>
              <a:off x="1912255" y="2922170"/>
              <a:ext cx="61435" cy="141299"/>
            </a:xfrm>
            <a:custGeom>
              <a:avLst/>
              <a:gdLst>
                <a:gd name="T0" fmla="*/ 0 w 20"/>
                <a:gd name="T1" fmla="*/ 13 h 44"/>
                <a:gd name="T2" fmla="*/ 0 w 20"/>
                <a:gd name="T3" fmla="*/ 13 h 44"/>
                <a:gd name="T4" fmla="*/ 0 w 20"/>
                <a:gd name="T5" fmla="*/ 10 h 44"/>
                <a:gd name="T6" fmla="*/ 2 w 20"/>
                <a:gd name="T7" fmla="*/ 7 h 44"/>
                <a:gd name="T8" fmla="*/ 4 w 20"/>
                <a:gd name="T9" fmla="*/ 4 h 44"/>
                <a:gd name="T10" fmla="*/ 4 w 20"/>
                <a:gd name="T11" fmla="*/ 0 h 44"/>
                <a:gd name="T12" fmla="*/ 4 w 20"/>
                <a:gd name="T13" fmla="*/ 0 h 44"/>
                <a:gd name="T14" fmla="*/ 7 w 20"/>
                <a:gd name="T15" fmla="*/ 8 h 44"/>
                <a:gd name="T16" fmla="*/ 7 w 20"/>
                <a:gd name="T17" fmla="*/ 14 h 44"/>
                <a:gd name="T18" fmla="*/ 6 w 20"/>
                <a:gd name="T19" fmla="*/ 18 h 44"/>
                <a:gd name="T20" fmla="*/ 6 w 20"/>
                <a:gd name="T21" fmla="*/ 18 h 44"/>
                <a:gd name="T22" fmla="*/ 9 w 20"/>
                <a:gd name="T23" fmla="*/ 18 h 44"/>
                <a:gd name="T24" fmla="*/ 10 w 20"/>
                <a:gd name="T25" fmla="*/ 18 h 44"/>
                <a:gd name="T26" fmla="*/ 12 w 20"/>
                <a:gd name="T27" fmla="*/ 17 h 44"/>
                <a:gd name="T28" fmla="*/ 13 w 20"/>
                <a:gd name="T29" fmla="*/ 17 h 44"/>
                <a:gd name="T30" fmla="*/ 13 w 20"/>
                <a:gd name="T31" fmla="*/ 17 h 44"/>
                <a:gd name="T32" fmla="*/ 12 w 20"/>
                <a:gd name="T33" fmla="*/ 26 h 44"/>
                <a:gd name="T34" fmla="*/ 10 w 20"/>
                <a:gd name="T35" fmla="*/ 28 h 44"/>
                <a:gd name="T36" fmla="*/ 10 w 20"/>
                <a:gd name="T37" fmla="*/ 33 h 44"/>
                <a:gd name="T38" fmla="*/ 10 w 20"/>
                <a:gd name="T39" fmla="*/ 33 h 44"/>
                <a:gd name="T40" fmla="*/ 13 w 20"/>
                <a:gd name="T41" fmla="*/ 30 h 44"/>
                <a:gd name="T42" fmla="*/ 14 w 20"/>
                <a:gd name="T43" fmla="*/ 27 h 44"/>
                <a:gd name="T44" fmla="*/ 14 w 20"/>
                <a:gd name="T45" fmla="*/ 27 h 44"/>
                <a:gd name="T46" fmla="*/ 17 w 20"/>
                <a:gd name="T47" fmla="*/ 28 h 44"/>
                <a:gd name="T48" fmla="*/ 17 w 20"/>
                <a:gd name="T49" fmla="*/ 31 h 44"/>
                <a:gd name="T50" fmla="*/ 17 w 20"/>
                <a:gd name="T51" fmla="*/ 34 h 44"/>
                <a:gd name="T52" fmla="*/ 20 w 20"/>
                <a:gd name="T53" fmla="*/ 38 h 44"/>
                <a:gd name="T54" fmla="*/ 20 w 20"/>
                <a:gd name="T55" fmla="*/ 38 h 44"/>
                <a:gd name="T56" fmla="*/ 19 w 20"/>
                <a:gd name="T57" fmla="*/ 40 h 44"/>
                <a:gd name="T58" fmla="*/ 16 w 20"/>
                <a:gd name="T59" fmla="*/ 38 h 44"/>
                <a:gd name="T60" fmla="*/ 12 w 20"/>
                <a:gd name="T61" fmla="*/ 34 h 44"/>
                <a:gd name="T62" fmla="*/ 12 w 20"/>
                <a:gd name="T63" fmla="*/ 34 h 44"/>
                <a:gd name="T64" fmla="*/ 9 w 20"/>
                <a:gd name="T65" fmla="*/ 38 h 44"/>
                <a:gd name="T66" fmla="*/ 7 w 20"/>
                <a:gd name="T67" fmla="*/ 41 h 44"/>
                <a:gd name="T68" fmla="*/ 6 w 20"/>
                <a:gd name="T69" fmla="*/ 44 h 44"/>
                <a:gd name="T70" fmla="*/ 6 w 20"/>
                <a:gd name="T71" fmla="*/ 44 h 44"/>
                <a:gd name="T72" fmla="*/ 4 w 20"/>
                <a:gd name="T73" fmla="*/ 41 h 44"/>
                <a:gd name="T74" fmla="*/ 3 w 20"/>
                <a:gd name="T75" fmla="*/ 40 h 44"/>
                <a:gd name="T76" fmla="*/ 2 w 20"/>
                <a:gd name="T77" fmla="*/ 40 h 44"/>
                <a:gd name="T78" fmla="*/ 2 w 20"/>
                <a:gd name="T79" fmla="*/ 40 h 44"/>
                <a:gd name="T80" fmla="*/ 3 w 20"/>
                <a:gd name="T81" fmla="*/ 24 h 44"/>
                <a:gd name="T82" fmla="*/ 2 w 20"/>
                <a:gd name="T83" fmla="*/ 18 h 44"/>
                <a:gd name="T84" fmla="*/ 0 w 20"/>
                <a:gd name="T85" fmla="*/ 1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 h="44">
                  <a:moveTo>
                    <a:pt x="0" y="13"/>
                  </a:moveTo>
                  <a:lnTo>
                    <a:pt x="0" y="13"/>
                  </a:lnTo>
                  <a:lnTo>
                    <a:pt x="0" y="10"/>
                  </a:lnTo>
                  <a:lnTo>
                    <a:pt x="2" y="7"/>
                  </a:lnTo>
                  <a:lnTo>
                    <a:pt x="4" y="4"/>
                  </a:lnTo>
                  <a:lnTo>
                    <a:pt x="4" y="0"/>
                  </a:lnTo>
                  <a:lnTo>
                    <a:pt x="4" y="0"/>
                  </a:lnTo>
                  <a:lnTo>
                    <a:pt x="7" y="8"/>
                  </a:lnTo>
                  <a:lnTo>
                    <a:pt x="7" y="14"/>
                  </a:lnTo>
                  <a:lnTo>
                    <a:pt x="6" y="18"/>
                  </a:lnTo>
                  <a:lnTo>
                    <a:pt x="6" y="18"/>
                  </a:lnTo>
                  <a:lnTo>
                    <a:pt x="9" y="18"/>
                  </a:lnTo>
                  <a:lnTo>
                    <a:pt x="10" y="18"/>
                  </a:lnTo>
                  <a:lnTo>
                    <a:pt x="12" y="17"/>
                  </a:lnTo>
                  <a:lnTo>
                    <a:pt x="13" y="17"/>
                  </a:lnTo>
                  <a:lnTo>
                    <a:pt x="13" y="17"/>
                  </a:lnTo>
                  <a:lnTo>
                    <a:pt x="12" y="26"/>
                  </a:lnTo>
                  <a:lnTo>
                    <a:pt x="10" y="28"/>
                  </a:lnTo>
                  <a:lnTo>
                    <a:pt x="10" y="33"/>
                  </a:lnTo>
                  <a:lnTo>
                    <a:pt x="10" y="33"/>
                  </a:lnTo>
                  <a:lnTo>
                    <a:pt x="13" y="30"/>
                  </a:lnTo>
                  <a:lnTo>
                    <a:pt x="14" y="27"/>
                  </a:lnTo>
                  <a:lnTo>
                    <a:pt x="14" y="27"/>
                  </a:lnTo>
                  <a:lnTo>
                    <a:pt x="17" y="28"/>
                  </a:lnTo>
                  <a:lnTo>
                    <a:pt x="17" y="31"/>
                  </a:lnTo>
                  <a:lnTo>
                    <a:pt x="17" y="34"/>
                  </a:lnTo>
                  <a:lnTo>
                    <a:pt x="20" y="38"/>
                  </a:lnTo>
                  <a:lnTo>
                    <a:pt x="20" y="38"/>
                  </a:lnTo>
                  <a:lnTo>
                    <a:pt x="19" y="40"/>
                  </a:lnTo>
                  <a:lnTo>
                    <a:pt x="16" y="38"/>
                  </a:lnTo>
                  <a:lnTo>
                    <a:pt x="12" y="34"/>
                  </a:lnTo>
                  <a:lnTo>
                    <a:pt x="12" y="34"/>
                  </a:lnTo>
                  <a:lnTo>
                    <a:pt x="9" y="38"/>
                  </a:lnTo>
                  <a:lnTo>
                    <a:pt x="7" y="41"/>
                  </a:lnTo>
                  <a:lnTo>
                    <a:pt x="6" y="44"/>
                  </a:lnTo>
                  <a:lnTo>
                    <a:pt x="6" y="44"/>
                  </a:lnTo>
                  <a:lnTo>
                    <a:pt x="4" y="41"/>
                  </a:lnTo>
                  <a:lnTo>
                    <a:pt x="3" y="40"/>
                  </a:lnTo>
                  <a:lnTo>
                    <a:pt x="2" y="40"/>
                  </a:lnTo>
                  <a:lnTo>
                    <a:pt x="2" y="40"/>
                  </a:lnTo>
                  <a:lnTo>
                    <a:pt x="3" y="24"/>
                  </a:lnTo>
                  <a:lnTo>
                    <a:pt x="2" y="18"/>
                  </a:lnTo>
                  <a:lnTo>
                    <a:pt x="0" y="1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 name="Freeform 7"/>
            <p:cNvSpPr/>
            <p:nvPr/>
          </p:nvSpPr>
          <p:spPr bwMode="auto">
            <a:xfrm>
              <a:off x="3988765" y="2885309"/>
              <a:ext cx="12287" cy="6142"/>
            </a:xfrm>
            <a:custGeom>
              <a:avLst/>
              <a:gdLst>
                <a:gd name="T0" fmla="*/ 0 w 5"/>
                <a:gd name="T1" fmla="*/ 2 h 3"/>
                <a:gd name="T2" fmla="*/ 0 w 5"/>
                <a:gd name="T3" fmla="*/ 2 h 3"/>
                <a:gd name="T4" fmla="*/ 2 w 5"/>
                <a:gd name="T5" fmla="*/ 0 h 3"/>
                <a:gd name="T6" fmla="*/ 3 w 5"/>
                <a:gd name="T7" fmla="*/ 0 h 3"/>
                <a:gd name="T8" fmla="*/ 5 w 5"/>
                <a:gd name="T9" fmla="*/ 2 h 3"/>
                <a:gd name="T10" fmla="*/ 3 w 5"/>
                <a:gd name="T11" fmla="*/ 3 h 3"/>
                <a:gd name="T12" fmla="*/ 3 w 5"/>
                <a:gd name="T13" fmla="*/ 3 h 3"/>
                <a:gd name="T14" fmla="*/ 3 w 5"/>
                <a:gd name="T15" fmla="*/ 2 h 3"/>
                <a:gd name="T16" fmla="*/ 2 w 5"/>
                <a:gd name="T17" fmla="*/ 2 h 3"/>
                <a:gd name="T18" fmla="*/ 0 w 5"/>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2"/>
                  </a:moveTo>
                  <a:lnTo>
                    <a:pt x="0" y="2"/>
                  </a:lnTo>
                  <a:lnTo>
                    <a:pt x="2" y="0"/>
                  </a:lnTo>
                  <a:lnTo>
                    <a:pt x="3" y="0"/>
                  </a:lnTo>
                  <a:lnTo>
                    <a:pt x="5" y="2"/>
                  </a:lnTo>
                  <a:lnTo>
                    <a:pt x="3" y="3"/>
                  </a:lnTo>
                  <a:lnTo>
                    <a:pt x="3" y="3"/>
                  </a:lnTo>
                  <a:lnTo>
                    <a:pt x="3" y="2"/>
                  </a:lnTo>
                  <a:lnTo>
                    <a:pt x="2" y="2"/>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 name="Freeform 8"/>
            <p:cNvSpPr/>
            <p:nvPr/>
          </p:nvSpPr>
          <p:spPr bwMode="auto">
            <a:xfrm>
              <a:off x="3988765" y="2885309"/>
              <a:ext cx="12287" cy="6142"/>
            </a:xfrm>
            <a:custGeom>
              <a:avLst/>
              <a:gdLst>
                <a:gd name="T0" fmla="*/ 0 w 5"/>
                <a:gd name="T1" fmla="*/ 2 h 3"/>
                <a:gd name="T2" fmla="*/ 0 w 5"/>
                <a:gd name="T3" fmla="*/ 2 h 3"/>
                <a:gd name="T4" fmla="*/ 2 w 5"/>
                <a:gd name="T5" fmla="*/ 0 h 3"/>
                <a:gd name="T6" fmla="*/ 3 w 5"/>
                <a:gd name="T7" fmla="*/ 0 h 3"/>
                <a:gd name="T8" fmla="*/ 5 w 5"/>
                <a:gd name="T9" fmla="*/ 2 h 3"/>
                <a:gd name="T10" fmla="*/ 3 w 5"/>
                <a:gd name="T11" fmla="*/ 3 h 3"/>
                <a:gd name="T12" fmla="*/ 3 w 5"/>
                <a:gd name="T13" fmla="*/ 3 h 3"/>
                <a:gd name="T14" fmla="*/ 3 w 5"/>
                <a:gd name="T15" fmla="*/ 2 h 3"/>
                <a:gd name="T16" fmla="*/ 2 w 5"/>
                <a:gd name="T17" fmla="*/ 2 h 3"/>
                <a:gd name="T18" fmla="*/ 0 w 5"/>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2"/>
                  </a:moveTo>
                  <a:lnTo>
                    <a:pt x="0" y="2"/>
                  </a:lnTo>
                  <a:lnTo>
                    <a:pt x="2" y="0"/>
                  </a:lnTo>
                  <a:lnTo>
                    <a:pt x="3" y="0"/>
                  </a:lnTo>
                  <a:lnTo>
                    <a:pt x="5" y="2"/>
                  </a:lnTo>
                  <a:lnTo>
                    <a:pt x="3" y="3"/>
                  </a:lnTo>
                  <a:lnTo>
                    <a:pt x="3" y="3"/>
                  </a:lnTo>
                  <a:lnTo>
                    <a:pt x="3" y="2"/>
                  </a:lnTo>
                  <a:lnTo>
                    <a:pt x="2" y="2"/>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 name="Freeform 9"/>
            <p:cNvSpPr/>
            <p:nvPr/>
          </p:nvSpPr>
          <p:spPr bwMode="auto">
            <a:xfrm>
              <a:off x="4001052" y="2891454"/>
              <a:ext cx="36861" cy="18429"/>
            </a:xfrm>
            <a:custGeom>
              <a:avLst/>
              <a:gdLst>
                <a:gd name="T0" fmla="*/ 0 w 11"/>
                <a:gd name="T1" fmla="*/ 0 h 6"/>
                <a:gd name="T2" fmla="*/ 0 w 11"/>
                <a:gd name="T3" fmla="*/ 0 h 6"/>
                <a:gd name="T4" fmla="*/ 4 w 11"/>
                <a:gd name="T5" fmla="*/ 0 h 6"/>
                <a:gd name="T6" fmla="*/ 6 w 11"/>
                <a:gd name="T7" fmla="*/ 0 h 6"/>
                <a:gd name="T8" fmla="*/ 11 w 11"/>
                <a:gd name="T9" fmla="*/ 4 h 6"/>
                <a:gd name="T10" fmla="*/ 11 w 11"/>
                <a:gd name="T11" fmla="*/ 4 h 6"/>
                <a:gd name="T12" fmla="*/ 7 w 11"/>
                <a:gd name="T13" fmla="*/ 6 h 6"/>
                <a:gd name="T14" fmla="*/ 4 w 11"/>
                <a:gd name="T15" fmla="*/ 4 h 6"/>
                <a:gd name="T16" fmla="*/ 0 w 11"/>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6">
                  <a:moveTo>
                    <a:pt x="0" y="0"/>
                  </a:moveTo>
                  <a:lnTo>
                    <a:pt x="0" y="0"/>
                  </a:lnTo>
                  <a:lnTo>
                    <a:pt x="4" y="0"/>
                  </a:lnTo>
                  <a:lnTo>
                    <a:pt x="6" y="0"/>
                  </a:lnTo>
                  <a:lnTo>
                    <a:pt x="11" y="4"/>
                  </a:lnTo>
                  <a:lnTo>
                    <a:pt x="11" y="4"/>
                  </a:lnTo>
                  <a:lnTo>
                    <a:pt x="7" y="6"/>
                  </a:lnTo>
                  <a:lnTo>
                    <a:pt x="4" y="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 name="Freeform 10"/>
            <p:cNvSpPr/>
            <p:nvPr/>
          </p:nvSpPr>
          <p:spPr bwMode="auto">
            <a:xfrm>
              <a:off x="4001052" y="2891454"/>
              <a:ext cx="36861" cy="18429"/>
            </a:xfrm>
            <a:custGeom>
              <a:avLst/>
              <a:gdLst>
                <a:gd name="T0" fmla="*/ 0 w 11"/>
                <a:gd name="T1" fmla="*/ 0 h 6"/>
                <a:gd name="T2" fmla="*/ 0 w 11"/>
                <a:gd name="T3" fmla="*/ 0 h 6"/>
                <a:gd name="T4" fmla="*/ 4 w 11"/>
                <a:gd name="T5" fmla="*/ 0 h 6"/>
                <a:gd name="T6" fmla="*/ 6 w 11"/>
                <a:gd name="T7" fmla="*/ 0 h 6"/>
                <a:gd name="T8" fmla="*/ 11 w 11"/>
                <a:gd name="T9" fmla="*/ 4 h 6"/>
                <a:gd name="T10" fmla="*/ 11 w 11"/>
                <a:gd name="T11" fmla="*/ 4 h 6"/>
                <a:gd name="T12" fmla="*/ 7 w 11"/>
                <a:gd name="T13" fmla="*/ 6 h 6"/>
                <a:gd name="T14" fmla="*/ 4 w 11"/>
                <a:gd name="T15" fmla="*/ 4 h 6"/>
                <a:gd name="T16" fmla="*/ 0 w 11"/>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6">
                  <a:moveTo>
                    <a:pt x="0" y="0"/>
                  </a:moveTo>
                  <a:lnTo>
                    <a:pt x="0" y="0"/>
                  </a:lnTo>
                  <a:lnTo>
                    <a:pt x="4" y="0"/>
                  </a:lnTo>
                  <a:lnTo>
                    <a:pt x="6" y="0"/>
                  </a:lnTo>
                  <a:lnTo>
                    <a:pt x="11" y="4"/>
                  </a:lnTo>
                  <a:lnTo>
                    <a:pt x="11" y="4"/>
                  </a:lnTo>
                  <a:lnTo>
                    <a:pt x="7" y="6"/>
                  </a:lnTo>
                  <a:lnTo>
                    <a:pt x="4" y="4"/>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 name="Freeform 11"/>
            <p:cNvSpPr/>
            <p:nvPr/>
          </p:nvSpPr>
          <p:spPr bwMode="auto">
            <a:xfrm>
              <a:off x="3964192" y="2983605"/>
              <a:ext cx="6145" cy="18429"/>
            </a:xfrm>
            <a:custGeom>
              <a:avLst/>
              <a:gdLst>
                <a:gd name="T0" fmla="*/ 2 w 3"/>
                <a:gd name="T1" fmla="*/ 0 h 6"/>
                <a:gd name="T2" fmla="*/ 2 w 3"/>
                <a:gd name="T3" fmla="*/ 0 h 6"/>
                <a:gd name="T4" fmla="*/ 2 w 3"/>
                <a:gd name="T5" fmla="*/ 0 h 6"/>
                <a:gd name="T6" fmla="*/ 2 w 3"/>
                <a:gd name="T7" fmla="*/ 1 h 6"/>
                <a:gd name="T8" fmla="*/ 2 w 3"/>
                <a:gd name="T9" fmla="*/ 4 h 6"/>
                <a:gd name="T10" fmla="*/ 2 w 3"/>
                <a:gd name="T11" fmla="*/ 6 h 6"/>
                <a:gd name="T12" fmla="*/ 3 w 3"/>
                <a:gd name="T13" fmla="*/ 6 h 6"/>
                <a:gd name="T14" fmla="*/ 3 w 3"/>
                <a:gd name="T15" fmla="*/ 6 h 6"/>
                <a:gd name="T16" fmla="*/ 0 w 3"/>
                <a:gd name="T17" fmla="*/ 6 h 6"/>
                <a:gd name="T18" fmla="*/ 0 w 3"/>
                <a:gd name="T19" fmla="*/ 4 h 6"/>
                <a:gd name="T20" fmla="*/ 2 w 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2" y="0"/>
                  </a:moveTo>
                  <a:lnTo>
                    <a:pt x="2" y="0"/>
                  </a:lnTo>
                  <a:lnTo>
                    <a:pt x="2" y="0"/>
                  </a:lnTo>
                  <a:lnTo>
                    <a:pt x="2" y="1"/>
                  </a:lnTo>
                  <a:lnTo>
                    <a:pt x="2" y="4"/>
                  </a:lnTo>
                  <a:lnTo>
                    <a:pt x="2" y="6"/>
                  </a:lnTo>
                  <a:lnTo>
                    <a:pt x="3" y="6"/>
                  </a:lnTo>
                  <a:lnTo>
                    <a:pt x="3" y="6"/>
                  </a:lnTo>
                  <a:lnTo>
                    <a:pt x="0" y="6"/>
                  </a:lnTo>
                  <a:lnTo>
                    <a:pt x="0" y="4"/>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 name="Freeform 12"/>
            <p:cNvSpPr/>
            <p:nvPr/>
          </p:nvSpPr>
          <p:spPr bwMode="auto">
            <a:xfrm>
              <a:off x="3964192" y="2983605"/>
              <a:ext cx="6145" cy="18429"/>
            </a:xfrm>
            <a:custGeom>
              <a:avLst/>
              <a:gdLst>
                <a:gd name="T0" fmla="*/ 2 w 3"/>
                <a:gd name="T1" fmla="*/ 0 h 6"/>
                <a:gd name="T2" fmla="*/ 2 w 3"/>
                <a:gd name="T3" fmla="*/ 0 h 6"/>
                <a:gd name="T4" fmla="*/ 2 w 3"/>
                <a:gd name="T5" fmla="*/ 0 h 6"/>
                <a:gd name="T6" fmla="*/ 2 w 3"/>
                <a:gd name="T7" fmla="*/ 1 h 6"/>
                <a:gd name="T8" fmla="*/ 2 w 3"/>
                <a:gd name="T9" fmla="*/ 4 h 6"/>
                <a:gd name="T10" fmla="*/ 2 w 3"/>
                <a:gd name="T11" fmla="*/ 6 h 6"/>
                <a:gd name="T12" fmla="*/ 3 w 3"/>
                <a:gd name="T13" fmla="*/ 6 h 6"/>
                <a:gd name="T14" fmla="*/ 3 w 3"/>
                <a:gd name="T15" fmla="*/ 6 h 6"/>
                <a:gd name="T16" fmla="*/ 0 w 3"/>
                <a:gd name="T17" fmla="*/ 6 h 6"/>
                <a:gd name="T18" fmla="*/ 0 w 3"/>
                <a:gd name="T19" fmla="*/ 4 h 6"/>
                <a:gd name="T20" fmla="*/ 2 w 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2" y="0"/>
                  </a:moveTo>
                  <a:lnTo>
                    <a:pt x="2" y="0"/>
                  </a:lnTo>
                  <a:lnTo>
                    <a:pt x="2" y="0"/>
                  </a:lnTo>
                  <a:lnTo>
                    <a:pt x="2" y="1"/>
                  </a:lnTo>
                  <a:lnTo>
                    <a:pt x="2" y="4"/>
                  </a:lnTo>
                  <a:lnTo>
                    <a:pt x="2" y="6"/>
                  </a:lnTo>
                  <a:lnTo>
                    <a:pt x="3" y="6"/>
                  </a:lnTo>
                  <a:lnTo>
                    <a:pt x="3" y="6"/>
                  </a:lnTo>
                  <a:lnTo>
                    <a:pt x="0" y="6"/>
                  </a:lnTo>
                  <a:lnTo>
                    <a:pt x="0" y="4"/>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 name="Freeform 13"/>
            <p:cNvSpPr/>
            <p:nvPr/>
          </p:nvSpPr>
          <p:spPr bwMode="auto">
            <a:xfrm>
              <a:off x="3970338" y="3002038"/>
              <a:ext cx="18433" cy="12287"/>
            </a:xfrm>
            <a:custGeom>
              <a:avLst/>
              <a:gdLst>
                <a:gd name="T0" fmla="*/ 0 w 5"/>
                <a:gd name="T1" fmla="*/ 3 h 6"/>
                <a:gd name="T2" fmla="*/ 0 w 5"/>
                <a:gd name="T3" fmla="*/ 3 h 6"/>
                <a:gd name="T4" fmla="*/ 2 w 5"/>
                <a:gd name="T5" fmla="*/ 2 h 6"/>
                <a:gd name="T6" fmla="*/ 5 w 5"/>
                <a:gd name="T7" fmla="*/ 0 h 6"/>
                <a:gd name="T8" fmla="*/ 5 w 5"/>
                <a:gd name="T9" fmla="*/ 0 h 6"/>
                <a:gd name="T10" fmla="*/ 4 w 5"/>
                <a:gd name="T11" fmla="*/ 3 h 6"/>
                <a:gd name="T12" fmla="*/ 1 w 5"/>
                <a:gd name="T13" fmla="*/ 6 h 6"/>
                <a:gd name="T14" fmla="*/ 1 w 5"/>
                <a:gd name="T15" fmla="*/ 6 h 6"/>
                <a:gd name="T16" fmla="*/ 1 w 5"/>
                <a:gd name="T17" fmla="*/ 4 h 6"/>
                <a:gd name="T18" fmla="*/ 0 w 5"/>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3"/>
                  </a:moveTo>
                  <a:lnTo>
                    <a:pt x="0" y="3"/>
                  </a:lnTo>
                  <a:lnTo>
                    <a:pt x="2" y="2"/>
                  </a:lnTo>
                  <a:lnTo>
                    <a:pt x="5" y="0"/>
                  </a:lnTo>
                  <a:lnTo>
                    <a:pt x="5" y="0"/>
                  </a:lnTo>
                  <a:lnTo>
                    <a:pt x="4" y="3"/>
                  </a:lnTo>
                  <a:lnTo>
                    <a:pt x="1" y="6"/>
                  </a:lnTo>
                  <a:lnTo>
                    <a:pt x="1" y="6"/>
                  </a:lnTo>
                  <a:lnTo>
                    <a:pt x="1" y="4"/>
                  </a:lnTo>
                  <a:lnTo>
                    <a:pt x="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 name="Freeform 14"/>
            <p:cNvSpPr/>
            <p:nvPr/>
          </p:nvSpPr>
          <p:spPr bwMode="auto">
            <a:xfrm>
              <a:off x="3970338" y="3002038"/>
              <a:ext cx="18433" cy="12287"/>
            </a:xfrm>
            <a:custGeom>
              <a:avLst/>
              <a:gdLst>
                <a:gd name="T0" fmla="*/ 0 w 5"/>
                <a:gd name="T1" fmla="*/ 3 h 6"/>
                <a:gd name="T2" fmla="*/ 0 w 5"/>
                <a:gd name="T3" fmla="*/ 3 h 6"/>
                <a:gd name="T4" fmla="*/ 2 w 5"/>
                <a:gd name="T5" fmla="*/ 2 h 6"/>
                <a:gd name="T6" fmla="*/ 5 w 5"/>
                <a:gd name="T7" fmla="*/ 0 h 6"/>
                <a:gd name="T8" fmla="*/ 5 w 5"/>
                <a:gd name="T9" fmla="*/ 0 h 6"/>
                <a:gd name="T10" fmla="*/ 4 w 5"/>
                <a:gd name="T11" fmla="*/ 3 h 6"/>
                <a:gd name="T12" fmla="*/ 1 w 5"/>
                <a:gd name="T13" fmla="*/ 6 h 6"/>
                <a:gd name="T14" fmla="*/ 1 w 5"/>
                <a:gd name="T15" fmla="*/ 6 h 6"/>
                <a:gd name="T16" fmla="*/ 1 w 5"/>
                <a:gd name="T17" fmla="*/ 4 h 6"/>
                <a:gd name="T18" fmla="*/ 0 w 5"/>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3"/>
                  </a:moveTo>
                  <a:lnTo>
                    <a:pt x="0" y="3"/>
                  </a:lnTo>
                  <a:lnTo>
                    <a:pt x="2" y="2"/>
                  </a:lnTo>
                  <a:lnTo>
                    <a:pt x="5" y="0"/>
                  </a:lnTo>
                  <a:lnTo>
                    <a:pt x="5" y="0"/>
                  </a:lnTo>
                  <a:lnTo>
                    <a:pt x="4" y="3"/>
                  </a:lnTo>
                  <a:lnTo>
                    <a:pt x="1" y="6"/>
                  </a:lnTo>
                  <a:lnTo>
                    <a:pt x="1" y="6"/>
                  </a:lnTo>
                  <a:lnTo>
                    <a:pt x="1" y="4"/>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 name="Freeform 15"/>
            <p:cNvSpPr/>
            <p:nvPr/>
          </p:nvSpPr>
          <p:spPr bwMode="auto">
            <a:xfrm>
              <a:off x="4050202" y="2909883"/>
              <a:ext cx="30720" cy="30716"/>
            </a:xfrm>
            <a:custGeom>
              <a:avLst/>
              <a:gdLst>
                <a:gd name="T0" fmla="*/ 3 w 8"/>
                <a:gd name="T1" fmla="*/ 0 h 10"/>
                <a:gd name="T2" fmla="*/ 3 w 8"/>
                <a:gd name="T3" fmla="*/ 0 h 10"/>
                <a:gd name="T4" fmla="*/ 3 w 8"/>
                <a:gd name="T5" fmla="*/ 4 h 10"/>
                <a:gd name="T6" fmla="*/ 4 w 8"/>
                <a:gd name="T7" fmla="*/ 5 h 10"/>
                <a:gd name="T8" fmla="*/ 4 w 8"/>
                <a:gd name="T9" fmla="*/ 5 h 10"/>
                <a:gd name="T10" fmla="*/ 8 w 8"/>
                <a:gd name="T11" fmla="*/ 10 h 10"/>
                <a:gd name="T12" fmla="*/ 8 w 8"/>
                <a:gd name="T13" fmla="*/ 10 h 10"/>
                <a:gd name="T14" fmla="*/ 4 w 8"/>
                <a:gd name="T15" fmla="*/ 10 h 10"/>
                <a:gd name="T16" fmla="*/ 1 w 8"/>
                <a:gd name="T17" fmla="*/ 8 h 10"/>
                <a:gd name="T18" fmla="*/ 1 w 8"/>
                <a:gd name="T19" fmla="*/ 8 h 10"/>
                <a:gd name="T20" fmla="*/ 0 w 8"/>
                <a:gd name="T21" fmla="*/ 8 h 10"/>
                <a:gd name="T22" fmla="*/ 0 w 8"/>
                <a:gd name="T23" fmla="*/ 5 h 10"/>
                <a:gd name="T24" fmla="*/ 3 w 8"/>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0">
                  <a:moveTo>
                    <a:pt x="3" y="0"/>
                  </a:moveTo>
                  <a:lnTo>
                    <a:pt x="3" y="0"/>
                  </a:lnTo>
                  <a:lnTo>
                    <a:pt x="3" y="4"/>
                  </a:lnTo>
                  <a:lnTo>
                    <a:pt x="4" y="5"/>
                  </a:lnTo>
                  <a:lnTo>
                    <a:pt x="4" y="5"/>
                  </a:lnTo>
                  <a:lnTo>
                    <a:pt x="8" y="10"/>
                  </a:lnTo>
                  <a:lnTo>
                    <a:pt x="8" y="10"/>
                  </a:lnTo>
                  <a:lnTo>
                    <a:pt x="4" y="10"/>
                  </a:lnTo>
                  <a:lnTo>
                    <a:pt x="1" y="8"/>
                  </a:lnTo>
                  <a:lnTo>
                    <a:pt x="1" y="8"/>
                  </a:lnTo>
                  <a:lnTo>
                    <a:pt x="0" y="8"/>
                  </a:lnTo>
                  <a:lnTo>
                    <a:pt x="0" y="5"/>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 name="Freeform 16"/>
            <p:cNvSpPr/>
            <p:nvPr/>
          </p:nvSpPr>
          <p:spPr bwMode="auto">
            <a:xfrm>
              <a:off x="4050202" y="2909883"/>
              <a:ext cx="30720" cy="30716"/>
            </a:xfrm>
            <a:custGeom>
              <a:avLst/>
              <a:gdLst>
                <a:gd name="T0" fmla="*/ 3 w 8"/>
                <a:gd name="T1" fmla="*/ 0 h 10"/>
                <a:gd name="T2" fmla="*/ 3 w 8"/>
                <a:gd name="T3" fmla="*/ 0 h 10"/>
                <a:gd name="T4" fmla="*/ 3 w 8"/>
                <a:gd name="T5" fmla="*/ 4 h 10"/>
                <a:gd name="T6" fmla="*/ 4 w 8"/>
                <a:gd name="T7" fmla="*/ 5 h 10"/>
                <a:gd name="T8" fmla="*/ 4 w 8"/>
                <a:gd name="T9" fmla="*/ 5 h 10"/>
                <a:gd name="T10" fmla="*/ 8 w 8"/>
                <a:gd name="T11" fmla="*/ 10 h 10"/>
                <a:gd name="T12" fmla="*/ 8 w 8"/>
                <a:gd name="T13" fmla="*/ 10 h 10"/>
                <a:gd name="T14" fmla="*/ 4 w 8"/>
                <a:gd name="T15" fmla="*/ 10 h 10"/>
                <a:gd name="T16" fmla="*/ 1 w 8"/>
                <a:gd name="T17" fmla="*/ 8 h 10"/>
                <a:gd name="T18" fmla="*/ 1 w 8"/>
                <a:gd name="T19" fmla="*/ 8 h 10"/>
                <a:gd name="T20" fmla="*/ 0 w 8"/>
                <a:gd name="T21" fmla="*/ 8 h 10"/>
                <a:gd name="T22" fmla="*/ 0 w 8"/>
                <a:gd name="T23" fmla="*/ 5 h 10"/>
                <a:gd name="T24" fmla="*/ 3 w 8"/>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0">
                  <a:moveTo>
                    <a:pt x="3" y="0"/>
                  </a:moveTo>
                  <a:lnTo>
                    <a:pt x="3" y="0"/>
                  </a:lnTo>
                  <a:lnTo>
                    <a:pt x="3" y="4"/>
                  </a:lnTo>
                  <a:lnTo>
                    <a:pt x="4" y="5"/>
                  </a:lnTo>
                  <a:lnTo>
                    <a:pt x="4" y="5"/>
                  </a:lnTo>
                  <a:lnTo>
                    <a:pt x="8" y="10"/>
                  </a:lnTo>
                  <a:lnTo>
                    <a:pt x="8" y="10"/>
                  </a:lnTo>
                  <a:lnTo>
                    <a:pt x="4" y="10"/>
                  </a:lnTo>
                  <a:lnTo>
                    <a:pt x="1" y="8"/>
                  </a:lnTo>
                  <a:lnTo>
                    <a:pt x="1" y="8"/>
                  </a:lnTo>
                  <a:lnTo>
                    <a:pt x="0" y="8"/>
                  </a:lnTo>
                  <a:lnTo>
                    <a:pt x="0" y="5"/>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 name="Rectangle 17"/>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9" name="Rectangle 18"/>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0" name="Freeform 19"/>
            <p:cNvSpPr/>
            <p:nvPr/>
          </p:nvSpPr>
          <p:spPr bwMode="auto">
            <a:xfrm>
              <a:off x="4228366" y="2830020"/>
              <a:ext cx="24574" cy="12287"/>
            </a:xfrm>
            <a:custGeom>
              <a:avLst/>
              <a:gdLst>
                <a:gd name="T0" fmla="*/ 0 w 8"/>
                <a:gd name="T1" fmla="*/ 1 h 4"/>
                <a:gd name="T2" fmla="*/ 0 w 8"/>
                <a:gd name="T3" fmla="*/ 1 h 4"/>
                <a:gd name="T4" fmla="*/ 4 w 8"/>
                <a:gd name="T5" fmla="*/ 0 h 4"/>
                <a:gd name="T6" fmla="*/ 5 w 8"/>
                <a:gd name="T7" fmla="*/ 0 h 4"/>
                <a:gd name="T8" fmla="*/ 8 w 8"/>
                <a:gd name="T9" fmla="*/ 1 h 4"/>
                <a:gd name="T10" fmla="*/ 8 w 8"/>
                <a:gd name="T11" fmla="*/ 4 h 4"/>
                <a:gd name="T12" fmla="*/ 8 w 8"/>
                <a:gd name="T13" fmla="*/ 4 h 4"/>
                <a:gd name="T14" fmla="*/ 5 w 8"/>
                <a:gd name="T15" fmla="*/ 4 h 4"/>
                <a:gd name="T16" fmla="*/ 4 w 8"/>
                <a:gd name="T17" fmla="*/ 2 h 4"/>
                <a:gd name="T18" fmla="*/ 3 w 8"/>
                <a:gd name="T19" fmla="*/ 1 h 4"/>
                <a:gd name="T20" fmla="*/ 0 w 8"/>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4">
                  <a:moveTo>
                    <a:pt x="0" y="1"/>
                  </a:moveTo>
                  <a:lnTo>
                    <a:pt x="0" y="1"/>
                  </a:lnTo>
                  <a:lnTo>
                    <a:pt x="4" y="0"/>
                  </a:lnTo>
                  <a:lnTo>
                    <a:pt x="5" y="0"/>
                  </a:lnTo>
                  <a:lnTo>
                    <a:pt x="8" y="1"/>
                  </a:lnTo>
                  <a:lnTo>
                    <a:pt x="8" y="4"/>
                  </a:lnTo>
                  <a:lnTo>
                    <a:pt x="8" y="4"/>
                  </a:lnTo>
                  <a:lnTo>
                    <a:pt x="5" y="4"/>
                  </a:lnTo>
                  <a:lnTo>
                    <a:pt x="4" y="2"/>
                  </a:lnTo>
                  <a:lnTo>
                    <a:pt x="3" y="1"/>
                  </a:lnTo>
                  <a:lnTo>
                    <a:pt x="0"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 name="Freeform 20"/>
            <p:cNvSpPr/>
            <p:nvPr/>
          </p:nvSpPr>
          <p:spPr bwMode="auto">
            <a:xfrm>
              <a:off x="4228366" y="2830020"/>
              <a:ext cx="24574" cy="12287"/>
            </a:xfrm>
            <a:custGeom>
              <a:avLst/>
              <a:gdLst>
                <a:gd name="T0" fmla="*/ 0 w 8"/>
                <a:gd name="T1" fmla="*/ 1 h 4"/>
                <a:gd name="T2" fmla="*/ 0 w 8"/>
                <a:gd name="T3" fmla="*/ 1 h 4"/>
                <a:gd name="T4" fmla="*/ 4 w 8"/>
                <a:gd name="T5" fmla="*/ 0 h 4"/>
                <a:gd name="T6" fmla="*/ 5 w 8"/>
                <a:gd name="T7" fmla="*/ 0 h 4"/>
                <a:gd name="T8" fmla="*/ 8 w 8"/>
                <a:gd name="T9" fmla="*/ 1 h 4"/>
                <a:gd name="T10" fmla="*/ 8 w 8"/>
                <a:gd name="T11" fmla="*/ 4 h 4"/>
                <a:gd name="T12" fmla="*/ 8 w 8"/>
                <a:gd name="T13" fmla="*/ 4 h 4"/>
                <a:gd name="T14" fmla="*/ 5 w 8"/>
                <a:gd name="T15" fmla="*/ 4 h 4"/>
                <a:gd name="T16" fmla="*/ 4 w 8"/>
                <a:gd name="T17" fmla="*/ 2 h 4"/>
                <a:gd name="T18" fmla="*/ 3 w 8"/>
                <a:gd name="T19" fmla="*/ 1 h 4"/>
                <a:gd name="T20" fmla="*/ 0 w 8"/>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4">
                  <a:moveTo>
                    <a:pt x="0" y="1"/>
                  </a:moveTo>
                  <a:lnTo>
                    <a:pt x="0" y="1"/>
                  </a:lnTo>
                  <a:lnTo>
                    <a:pt x="4" y="0"/>
                  </a:lnTo>
                  <a:lnTo>
                    <a:pt x="5" y="0"/>
                  </a:lnTo>
                  <a:lnTo>
                    <a:pt x="8" y="1"/>
                  </a:lnTo>
                  <a:lnTo>
                    <a:pt x="8" y="4"/>
                  </a:lnTo>
                  <a:lnTo>
                    <a:pt x="8" y="4"/>
                  </a:lnTo>
                  <a:lnTo>
                    <a:pt x="5" y="4"/>
                  </a:lnTo>
                  <a:lnTo>
                    <a:pt x="4" y="2"/>
                  </a:lnTo>
                  <a:lnTo>
                    <a:pt x="3" y="1"/>
                  </a:lnTo>
                  <a:lnTo>
                    <a:pt x="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 name="Freeform 21"/>
            <p:cNvSpPr/>
            <p:nvPr/>
          </p:nvSpPr>
          <p:spPr bwMode="auto">
            <a:xfrm>
              <a:off x="4136211" y="2916028"/>
              <a:ext cx="18433" cy="18429"/>
            </a:xfrm>
            <a:custGeom>
              <a:avLst/>
              <a:gdLst>
                <a:gd name="T0" fmla="*/ 1 w 5"/>
                <a:gd name="T1" fmla="*/ 2 h 6"/>
                <a:gd name="T2" fmla="*/ 1 w 5"/>
                <a:gd name="T3" fmla="*/ 2 h 6"/>
                <a:gd name="T4" fmla="*/ 4 w 5"/>
                <a:gd name="T5" fmla="*/ 2 h 6"/>
                <a:gd name="T6" fmla="*/ 4 w 5"/>
                <a:gd name="T7" fmla="*/ 0 h 6"/>
                <a:gd name="T8" fmla="*/ 4 w 5"/>
                <a:gd name="T9" fmla="*/ 0 h 6"/>
                <a:gd name="T10" fmla="*/ 5 w 5"/>
                <a:gd name="T11" fmla="*/ 0 h 6"/>
                <a:gd name="T12" fmla="*/ 5 w 5"/>
                <a:gd name="T13" fmla="*/ 2 h 6"/>
                <a:gd name="T14" fmla="*/ 3 w 5"/>
                <a:gd name="T15" fmla="*/ 6 h 6"/>
                <a:gd name="T16" fmla="*/ 3 w 5"/>
                <a:gd name="T17" fmla="*/ 6 h 6"/>
                <a:gd name="T18" fmla="*/ 1 w 5"/>
                <a:gd name="T19" fmla="*/ 6 h 6"/>
                <a:gd name="T20" fmla="*/ 0 w 5"/>
                <a:gd name="T21" fmla="*/ 4 h 6"/>
                <a:gd name="T22" fmla="*/ 0 w 5"/>
                <a:gd name="T23" fmla="*/ 4 h 6"/>
                <a:gd name="T24" fmla="*/ 1 w 5"/>
                <a:gd name="T2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1" y="2"/>
                  </a:moveTo>
                  <a:lnTo>
                    <a:pt x="1" y="2"/>
                  </a:lnTo>
                  <a:lnTo>
                    <a:pt x="4" y="2"/>
                  </a:lnTo>
                  <a:lnTo>
                    <a:pt x="4" y="0"/>
                  </a:lnTo>
                  <a:lnTo>
                    <a:pt x="4" y="0"/>
                  </a:lnTo>
                  <a:lnTo>
                    <a:pt x="5" y="0"/>
                  </a:lnTo>
                  <a:lnTo>
                    <a:pt x="5" y="2"/>
                  </a:lnTo>
                  <a:lnTo>
                    <a:pt x="3" y="6"/>
                  </a:lnTo>
                  <a:lnTo>
                    <a:pt x="3" y="6"/>
                  </a:lnTo>
                  <a:lnTo>
                    <a:pt x="1" y="6"/>
                  </a:lnTo>
                  <a:lnTo>
                    <a:pt x="0" y="4"/>
                  </a:lnTo>
                  <a:lnTo>
                    <a:pt x="0" y="4"/>
                  </a:lnTo>
                  <a:lnTo>
                    <a:pt x="1"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 name="Freeform 22"/>
            <p:cNvSpPr/>
            <p:nvPr/>
          </p:nvSpPr>
          <p:spPr bwMode="auto">
            <a:xfrm>
              <a:off x="4136211" y="2916028"/>
              <a:ext cx="18433" cy="18429"/>
            </a:xfrm>
            <a:custGeom>
              <a:avLst/>
              <a:gdLst>
                <a:gd name="T0" fmla="*/ 1 w 5"/>
                <a:gd name="T1" fmla="*/ 2 h 6"/>
                <a:gd name="T2" fmla="*/ 1 w 5"/>
                <a:gd name="T3" fmla="*/ 2 h 6"/>
                <a:gd name="T4" fmla="*/ 4 w 5"/>
                <a:gd name="T5" fmla="*/ 2 h 6"/>
                <a:gd name="T6" fmla="*/ 4 w 5"/>
                <a:gd name="T7" fmla="*/ 0 h 6"/>
                <a:gd name="T8" fmla="*/ 4 w 5"/>
                <a:gd name="T9" fmla="*/ 0 h 6"/>
                <a:gd name="T10" fmla="*/ 5 w 5"/>
                <a:gd name="T11" fmla="*/ 0 h 6"/>
                <a:gd name="T12" fmla="*/ 5 w 5"/>
                <a:gd name="T13" fmla="*/ 2 h 6"/>
                <a:gd name="T14" fmla="*/ 3 w 5"/>
                <a:gd name="T15" fmla="*/ 6 h 6"/>
                <a:gd name="T16" fmla="*/ 3 w 5"/>
                <a:gd name="T17" fmla="*/ 6 h 6"/>
                <a:gd name="T18" fmla="*/ 1 w 5"/>
                <a:gd name="T19" fmla="*/ 6 h 6"/>
                <a:gd name="T20" fmla="*/ 0 w 5"/>
                <a:gd name="T21" fmla="*/ 4 h 6"/>
                <a:gd name="T22" fmla="*/ 0 w 5"/>
                <a:gd name="T23" fmla="*/ 4 h 6"/>
                <a:gd name="T24" fmla="*/ 1 w 5"/>
                <a:gd name="T2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1" y="2"/>
                  </a:moveTo>
                  <a:lnTo>
                    <a:pt x="1" y="2"/>
                  </a:lnTo>
                  <a:lnTo>
                    <a:pt x="4" y="2"/>
                  </a:lnTo>
                  <a:lnTo>
                    <a:pt x="4" y="0"/>
                  </a:lnTo>
                  <a:lnTo>
                    <a:pt x="4" y="0"/>
                  </a:lnTo>
                  <a:lnTo>
                    <a:pt x="5" y="0"/>
                  </a:lnTo>
                  <a:lnTo>
                    <a:pt x="5" y="2"/>
                  </a:lnTo>
                  <a:lnTo>
                    <a:pt x="3" y="6"/>
                  </a:lnTo>
                  <a:lnTo>
                    <a:pt x="3" y="6"/>
                  </a:lnTo>
                  <a:lnTo>
                    <a:pt x="1" y="6"/>
                  </a:lnTo>
                  <a:lnTo>
                    <a:pt x="0" y="4"/>
                  </a:lnTo>
                  <a:lnTo>
                    <a:pt x="0" y="4"/>
                  </a:lnTo>
                  <a:lnTo>
                    <a:pt x="1"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 name="Freeform 23"/>
            <p:cNvSpPr/>
            <p:nvPr/>
          </p:nvSpPr>
          <p:spPr bwMode="auto">
            <a:xfrm>
              <a:off x="4302089" y="2830020"/>
              <a:ext cx="12287" cy="18429"/>
            </a:xfrm>
            <a:custGeom>
              <a:avLst/>
              <a:gdLst>
                <a:gd name="T0" fmla="*/ 0 w 4"/>
                <a:gd name="T1" fmla="*/ 0 h 5"/>
                <a:gd name="T2" fmla="*/ 0 w 4"/>
                <a:gd name="T3" fmla="*/ 0 h 5"/>
                <a:gd name="T4" fmla="*/ 1 w 4"/>
                <a:gd name="T5" fmla="*/ 0 h 5"/>
                <a:gd name="T6" fmla="*/ 3 w 4"/>
                <a:gd name="T7" fmla="*/ 0 h 5"/>
                <a:gd name="T8" fmla="*/ 3 w 4"/>
                <a:gd name="T9" fmla="*/ 0 h 5"/>
                <a:gd name="T10" fmla="*/ 4 w 4"/>
                <a:gd name="T11" fmla="*/ 2 h 5"/>
                <a:gd name="T12" fmla="*/ 3 w 4"/>
                <a:gd name="T13" fmla="*/ 4 h 5"/>
                <a:gd name="T14" fmla="*/ 3 w 4"/>
                <a:gd name="T15" fmla="*/ 4 h 5"/>
                <a:gd name="T16" fmla="*/ 3 w 4"/>
                <a:gd name="T17" fmla="*/ 4 h 5"/>
                <a:gd name="T18" fmla="*/ 1 w 4"/>
                <a:gd name="T19" fmla="*/ 4 h 5"/>
                <a:gd name="T20" fmla="*/ 1 w 4"/>
                <a:gd name="T21" fmla="*/ 4 h 5"/>
                <a:gd name="T22" fmla="*/ 1 w 4"/>
                <a:gd name="T23" fmla="*/ 4 h 5"/>
                <a:gd name="T24" fmla="*/ 0 w 4"/>
                <a:gd name="T25" fmla="*/ 5 h 5"/>
                <a:gd name="T26" fmla="*/ 0 w 4"/>
                <a:gd name="T27" fmla="*/ 5 h 5"/>
                <a:gd name="T28" fmla="*/ 1 w 4"/>
                <a:gd name="T29" fmla="*/ 2 h 5"/>
                <a:gd name="T30" fmla="*/ 1 w 4"/>
                <a:gd name="T31" fmla="*/ 1 h 5"/>
                <a:gd name="T32" fmla="*/ 0 w 4"/>
                <a:gd name="T3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5">
                  <a:moveTo>
                    <a:pt x="0" y="0"/>
                  </a:moveTo>
                  <a:lnTo>
                    <a:pt x="0" y="0"/>
                  </a:lnTo>
                  <a:lnTo>
                    <a:pt x="1" y="0"/>
                  </a:lnTo>
                  <a:lnTo>
                    <a:pt x="3" y="0"/>
                  </a:lnTo>
                  <a:lnTo>
                    <a:pt x="3" y="0"/>
                  </a:lnTo>
                  <a:lnTo>
                    <a:pt x="4" y="2"/>
                  </a:lnTo>
                  <a:lnTo>
                    <a:pt x="3" y="4"/>
                  </a:lnTo>
                  <a:lnTo>
                    <a:pt x="3" y="4"/>
                  </a:lnTo>
                  <a:lnTo>
                    <a:pt x="3" y="4"/>
                  </a:lnTo>
                  <a:lnTo>
                    <a:pt x="1" y="4"/>
                  </a:lnTo>
                  <a:lnTo>
                    <a:pt x="1" y="4"/>
                  </a:lnTo>
                  <a:lnTo>
                    <a:pt x="1" y="4"/>
                  </a:lnTo>
                  <a:lnTo>
                    <a:pt x="0" y="5"/>
                  </a:lnTo>
                  <a:lnTo>
                    <a:pt x="0" y="5"/>
                  </a:lnTo>
                  <a:lnTo>
                    <a:pt x="1" y="2"/>
                  </a:lnTo>
                  <a:lnTo>
                    <a:pt x="1"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 name="Freeform 24"/>
            <p:cNvSpPr/>
            <p:nvPr/>
          </p:nvSpPr>
          <p:spPr bwMode="auto">
            <a:xfrm>
              <a:off x="4302089" y="2830020"/>
              <a:ext cx="12287" cy="18429"/>
            </a:xfrm>
            <a:custGeom>
              <a:avLst/>
              <a:gdLst>
                <a:gd name="T0" fmla="*/ 0 w 4"/>
                <a:gd name="T1" fmla="*/ 0 h 5"/>
                <a:gd name="T2" fmla="*/ 0 w 4"/>
                <a:gd name="T3" fmla="*/ 0 h 5"/>
                <a:gd name="T4" fmla="*/ 1 w 4"/>
                <a:gd name="T5" fmla="*/ 0 h 5"/>
                <a:gd name="T6" fmla="*/ 3 w 4"/>
                <a:gd name="T7" fmla="*/ 0 h 5"/>
                <a:gd name="T8" fmla="*/ 3 w 4"/>
                <a:gd name="T9" fmla="*/ 0 h 5"/>
                <a:gd name="T10" fmla="*/ 4 w 4"/>
                <a:gd name="T11" fmla="*/ 2 h 5"/>
                <a:gd name="T12" fmla="*/ 3 w 4"/>
                <a:gd name="T13" fmla="*/ 4 h 5"/>
                <a:gd name="T14" fmla="*/ 3 w 4"/>
                <a:gd name="T15" fmla="*/ 4 h 5"/>
                <a:gd name="T16" fmla="*/ 3 w 4"/>
                <a:gd name="T17" fmla="*/ 4 h 5"/>
                <a:gd name="T18" fmla="*/ 1 w 4"/>
                <a:gd name="T19" fmla="*/ 4 h 5"/>
                <a:gd name="T20" fmla="*/ 1 w 4"/>
                <a:gd name="T21" fmla="*/ 4 h 5"/>
                <a:gd name="T22" fmla="*/ 1 w 4"/>
                <a:gd name="T23" fmla="*/ 4 h 5"/>
                <a:gd name="T24" fmla="*/ 0 w 4"/>
                <a:gd name="T25" fmla="*/ 5 h 5"/>
                <a:gd name="T26" fmla="*/ 0 w 4"/>
                <a:gd name="T27" fmla="*/ 5 h 5"/>
                <a:gd name="T28" fmla="*/ 1 w 4"/>
                <a:gd name="T29" fmla="*/ 2 h 5"/>
                <a:gd name="T30" fmla="*/ 1 w 4"/>
                <a:gd name="T31" fmla="*/ 1 h 5"/>
                <a:gd name="T32" fmla="*/ 0 w 4"/>
                <a:gd name="T3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5">
                  <a:moveTo>
                    <a:pt x="0" y="0"/>
                  </a:moveTo>
                  <a:lnTo>
                    <a:pt x="0" y="0"/>
                  </a:lnTo>
                  <a:lnTo>
                    <a:pt x="1" y="0"/>
                  </a:lnTo>
                  <a:lnTo>
                    <a:pt x="3" y="0"/>
                  </a:lnTo>
                  <a:lnTo>
                    <a:pt x="3" y="0"/>
                  </a:lnTo>
                  <a:lnTo>
                    <a:pt x="4" y="2"/>
                  </a:lnTo>
                  <a:lnTo>
                    <a:pt x="3" y="4"/>
                  </a:lnTo>
                  <a:lnTo>
                    <a:pt x="3" y="4"/>
                  </a:lnTo>
                  <a:lnTo>
                    <a:pt x="3" y="4"/>
                  </a:lnTo>
                  <a:lnTo>
                    <a:pt x="1" y="4"/>
                  </a:lnTo>
                  <a:lnTo>
                    <a:pt x="1" y="4"/>
                  </a:lnTo>
                  <a:lnTo>
                    <a:pt x="1" y="4"/>
                  </a:lnTo>
                  <a:lnTo>
                    <a:pt x="0" y="5"/>
                  </a:lnTo>
                  <a:lnTo>
                    <a:pt x="0" y="5"/>
                  </a:lnTo>
                  <a:lnTo>
                    <a:pt x="1" y="2"/>
                  </a:lnTo>
                  <a:lnTo>
                    <a:pt x="1"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 name="Freeform 25"/>
            <p:cNvSpPr/>
            <p:nvPr/>
          </p:nvSpPr>
          <p:spPr bwMode="auto">
            <a:xfrm>
              <a:off x="3927331" y="3223205"/>
              <a:ext cx="12287" cy="12287"/>
            </a:xfrm>
            <a:custGeom>
              <a:avLst/>
              <a:gdLst>
                <a:gd name="T0" fmla="*/ 5 w 5"/>
                <a:gd name="T1" fmla="*/ 0 h 4"/>
                <a:gd name="T2" fmla="*/ 5 w 5"/>
                <a:gd name="T3" fmla="*/ 0 h 4"/>
                <a:gd name="T4" fmla="*/ 3 w 5"/>
                <a:gd name="T5" fmla="*/ 3 h 4"/>
                <a:gd name="T6" fmla="*/ 2 w 5"/>
                <a:gd name="T7" fmla="*/ 4 h 4"/>
                <a:gd name="T8" fmla="*/ 2 w 5"/>
                <a:gd name="T9" fmla="*/ 4 h 4"/>
                <a:gd name="T10" fmla="*/ 0 w 5"/>
                <a:gd name="T11" fmla="*/ 4 h 4"/>
                <a:gd name="T12" fmla="*/ 0 w 5"/>
                <a:gd name="T13" fmla="*/ 4 h 4"/>
                <a:gd name="T14" fmla="*/ 5 w 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5" y="0"/>
                  </a:moveTo>
                  <a:lnTo>
                    <a:pt x="5" y="0"/>
                  </a:lnTo>
                  <a:lnTo>
                    <a:pt x="3" y="3"/>
                  </a:lnTo>
                  <a:lnTo>
                    <a:pt x="2" y="4"/>
                  </a:lnTo>
                  <a:lnTo>
                    <a:pt x="2" y="4"/>
                  </a:lnTo>
                  <a:lnTo>
                    <a:pt x="0" y="4"/>
                  </a:lnTo>
                  <a:lnTo>
                    <a:pt x="0" y="4"/>
                  </a:lnTo>
                  <a:lnTo>
                    <a:pt x="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7" name="Freeform 26"/>
            <p:cNvSpPr/>
            <p:nvPr/>
          </p:nvSpPr>
          <p:spPr bwMode="auto">
            <a:xfrm>
              <a:off x="3927331" y="3223205"/>
              <a:ext cx="12287" cy="12287"/>
            </a:xfrm>
            <a:custGeom>
              <a:avLst/>
              <a:gdLst>
                <a:gd name="T0" fmla="*/ 5 w 5"/>
                <a:gd name="T1" fmla="*/ 0 h 4"/>
                <a:gd name="T2" fmla="*/ 5 w 5"/>
                <a:gd name="T3" fmla="*/ 0 h 4"/>
                <a:gd name="T4" fmla="*/ 3 w 5"/>
                <a:gd name="T5" fmla="*/ 3 h 4"/>
                <a:gd name="T6" fmla="*/ 2 w 5"/>
                <a:gd name="T7" fmla="*/ 4 h 4"/>
                <a:gd name="T8" fmla="*/ 2 w 5"/>
                <a:gd name="T9" fmla="*/ 4 h 4"/>
                <a:gd name="T10" fmla="*/ 0 w 5"/>
                <a:gd name="T11" fmla="*/ 4 h 4"/>
                <a:gd name="T12" fmla="*/ 0 w 5"/>
                <a:gd name="T13" fmla="*/ 4 h 4"/>
                <a:gd name="T14" fmla="*/ 5 w 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5" y="0"/>
                  </a:moveTo>
                  <a:lnTo>
                    <a:pt x="5" y="0"/>
                  </a:lnTo>
                  <a:lnTo>
                    <a:pt x="3" y="3"/>
                  </a:lnTo>
                  <a:lnTo>
                    <a:pt x="2" y="4"/>
                  </a:lnTo>
                  <a:lnTo>
                    <a:pt x="2" y="4"/>
                  </a:lnTo>
                  <a:lnTo>
                    <a:pt x="0" y="4"/>
                  </a:lnTo>
                  <a:lnTo>
                    <a:pt x="0" y="4"/>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 name="Freeform 27"/>
            <p:cNvSpPr/>
            <p:nvPr/>
          </p:nvSpPr>
          <p:spPr bwMode="auto">
            <a:xfrm>
              <a:off x="4517109" y="2983605"/>
              <a:ext cx="18433" cy="18429"/>
            </a:xfrm>
            <a:custGeom>
              <a:avLst/>
              <a:gdLst>
                <a:gd name="T0" fmla="*/ 0 w 7"/>
                <a:gd name="T1" fmla="*/ 0 h 6"/>
                <a:gd name="T2" fmla="*/ 0 w 7"/>
                <a:gd name="T3" fmla="*/ 0 h 6"/>
                <a:gd name="T4" fmla="*/ 4 w 7"/>
                <a:gd name="T5" fmla="*/ 0 h 6"/>
                <a:gd name="T6" fmla="*/ 6 w 7"/>
                <a:gd name="T7" fmla="*/ 1 h 6"/>
                <a:gd name="T8" fmla="*/ 6 w 7"/>
                <a:gd name="T9" fmla="*/ 1 h 6"/>
                <a:gd name="T10" fmla="*/ 7 w 7"/>
                <a:gd name="T11" fmla="*/ 6 h 6"/>
                <a:gd name="T12" fmla="*/ 7 w 7"/>
                <a:gd name="T13" fmla="*/ 6 h 6"/>
                <a:gd name="T14" fmla="*/ 6 w 7"/>
                <a:gd name="T15" fmla="*/ 4 h 6"/>
                <a:gd name="T16" fmla="*/ 4 w 7"/>
                <a:gd name="T17" fmla="*/ 3 h 6"/>
                <a:gd name="T18" fmla="*/ 0 w 7"/>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0" y="0"/>
                  </a:moveTo>
                  <a:lnTo>
                    <a:pt x="0" y="0"/>
                  </a:lnTo>
                  <a:lnTo>
                    <a:pt x="4" y="0"/>
                  </a:lnTo>
                  <a:lnTo>
                    <a:pt x="6" y="1"/>
                  </a:lnTo>
                  <a:lnTo>
                    <a:pt x="6" y="1"/>
                  </a:lnTo>
                  <a:lnTo>
                    <a:pt x="7" y="6"/>
                  </a:lnTo>
                  <a:lnTo>
                    <a:pt x="7" y="6"/>
                  </a:lnTo>
                  <a:lnTo>
                    <a:pt x="6" y="4"/>
                  </a:lnTo>
                  <a:lnTo>
                    <a:pt x="4" y="3"/>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 name="Freeform 28"/>
            <p:cNvSpPr/>
            <p:nvPr/>
          </p:nvSpPr>
          <p:spPr bwMode="auto">
            <a:xfrm>
              <a:off x="4517109" y="2983605"/>
              <a:ext cx="18433" cy="18429"/>
            </a:xfrm>
            <a:custGeom>
              <a:avLst/>
              <a:gdLst>
                <a:gd name="T0" fmla="*/ 0 w 7"/>
                <a:gd name="T1" fmla="*/ 0 h 6"/>
                <a:gd name="T2" fmla="*/ 0 w 7"/>
                <a:gd name="T3" fmla="*/ 0 h 6"/>
                <a:gd name="T4" fmla="*/ 4 w 7"/>
                <a:gd name="T5" fmla="*/ 0 h 6"/>
                <a:gd name="T6" fmla="*/ 6 w 7"/>
                <a:gd name="T7" fmla="*/ 1 h 6"/>
                <a:gd name="T8" fmla="*/ 6 w 7"/>
                <a:gd name="T9" fmla="*/ 1 h 6"/>
                <a:gd name="T10" fmla="*/ 7 w 7"/>
                <a:gd name="T11" fmla="*/ 6 h 6"/>
                <a:gd name="T12" fmla="*/ 7 w 7"/>
                <a:gd name="T13" fmla="*/ 6 h 6"/>
                <a:gd name="T14" fmla="*/ 6 w 7"/>
                <a:gd name="T15" fmla="*/ 4 h 6"/>
                <a:gd name="T16" fmla="*/ 4 w 7"/>
                <a:gd name="T17" fmla="*/ 3 h 6"/>
                <a:gd name="T18" fmla="*/ 0 w 7"/>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0" y="0"/>
                  </a:moveTo>
                  <a:lnTo>
                    <a:pt x="0" y="0"/>
                  </a:lnTo>
                  <a:lnTo>
                    <a:pt x="4" y="0"/>
                  </a:lnTo>
                  <a:lnTo>
                    <a:pt x="6" y="1"/>
                  </a:lnTo>
                  <a:lnTo>
                    <a:pt x="6" y="1"/>
                  </a:lnTo>
                  <a:lnTo>
                    <a:pt x="7" y="6"/>
                  </a:lnTo>
                  <a:lnTo>
                    <a:pt x="7" y="6"/>
                  </a:lnTo>
                  <a:lnTo>
                    <a:pt x="6" y="4"/>
                  </a:lnTo>
                  <a:lnTo>
                    <a:pt x="4"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0" name="Freeform 29"/>
            <p:cNvSpPr/>
            <p:nvPr/>
          </p:nvSpPr>
          <p:spPr bwMode="auto">
            <a:xfrm>
              <a:off x="4535542" y="3020466"/>
              <a:ext cx="24574" cy="24574"/>
            </a:xfrm>
            <a:custGeom>
              <a:avLst/>
              <a:gdLst>
                <a:gd name="T0" fmla="*/ 0 w 8"/>
                <a:gd name="T1" fmla="*/ 0 h 9"/>
                <a:gd name="T2" fmla="*/ 0 w 8"/>
                <a:gd name="T3" fmla="*/ 0 h 9"/>
                <a:gd name="T4" fmla="*/ 2 w 8"/>
                <a:gd name="T5" fmla="*/ 0 h 9"/>
                <a:gd name="T6" fmla="*/ 2 w 8"/>
                <a:gd name="T7" fmla="*/ 0 h 9"/>
                <a:gd name="T8" fmla="*/ 4 w 8"/>
                <a:gd name="T9" fmla="*/ 3 h 9"/>
                <a:gd name="T10" fmla="*/ 4 w 8"/>
                <a:gd name="T11" fmla="*/ 3 h 9"/>
                <a:gd name="T12" fmla="*/ 5 w 8"/>
                <a:gd name="T13" fmla="*/ 7 h 9"/>
                <a:gd name="T14" fmla="*/ 5 w 8"/>
                <a:gd name="T15" fmla="*/ 7 h 9"/>
                <a:gd name="T16" fmla="*/ 8 w 8"/>
                <a:gd name="T17" fmla="*/ 9 h 9"/>
                <a:gd name="T18" fmla="*/ 8 w 8"/>
                <a:gd name="T19" fmla="*/ 9 h 9"/>
                <a:gd name="T20" fmla="*/ 5 w 8"/>
                <a:gd name="T21" fmla="*/ 9 h 9"/>
                <a:gd name="T22" fmla="*/ 2 w 8"/>
                <a:gd name="T23" fmla="*/ 6 h 9"/>
                <a:gd name="T24" fmla="*/ 0 w 8"/>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9">
                  <a:moveTo>
                    <a:pt x="0" y="0"/>
                  </a:moveTo>
                  <a:lnTo>
                    <a:pt x="0" y="0"/>
                  </a:lnTo>
                  <a:lnTo>
                    <a:pt x="2" y="0"/>
                  </a:lnTo>
                  <a:lnTo>
                    <a:pt x="2" y="0"/>
                  </a:lnTo>
                  <a:lnTo>
                    <a:pt x="4" y="3"/>
                  </a:lnTo>
                  <a:lnTo>
                    <a:pt x="4" y="3"/>
                  </a:lnTo>
                  <a:lnTo>
                    <a:pt x="5" y="7"/>
                  </a:lnTo>
                  <a:lnTo>
                    <a:pt x="5" y="7"/>
                  </a:lnTo>
                  <a:lnTo>
                    <a:pt x="8" y="9"/>
                  </a:lnTo>
                  <a:lnTo>
                    <a:pt x="8" y="9"/>
                  </a:lnTo>
                  <a:lnTo>
                    <a:pt x="5" y="9"/>
                  </a:lnTo>
                  <a:lnTo>
                    <a:pt x="2" y="6"/>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1" name="Freeform 30"/>
            <p:cNvSpPr/>
            <p:nvPr/>
          </p:nvSpPr>
          <p:spPr bwMode="auto">
            <a:xfrm>
              <a:off x="4535542" y="3020466"/>
              <a:ext cx="24574" cy="24574"/>
            </a:xfrm>
            <a:custGeom>
              <a:avLst/>
              <a:gdLst>
                <a:gd name="T0" fmla="*/ 0 w 8"/>
                <a:gd name="T1" fmla="*/ 0 h 9"/>
                <a:gd name="T2" fmla="*/ 0 w 8"/>
                <a:gd name="T3" fmla="*/ 0 h 9"/>
                <a:gd name="T4" fmla="*/ 2 w 8"/>
                <a:gd name="T5" fmla="*/ 0 h 9"/>
                <a:gd name="T6" fmla="*/ 2 w 8"/>
                <a:gd name="T7" fmla="*/ 0 h 9"/>
                <a:gd name="T8" fmla="*/ 4 w 8"/>
                <a:gd name="T9" fmla="*/ 3 h 9"/>
                <a:gd name="T10" fmla="*/ 4 w 8"/>
                <a:gd name="T11" fmla="*/ 3 h 9"/>
                <a:gd name="T12" fmla="*/ 5 w 8"/>
                <a:gd name="T13" fmla="*/ 7 h 9"/>
                <a:gd name="T14" fmla="*/ 5 w 8"/>
                <a:gd name="T15" fmla="*/ 7 h 9"/>
                <a:gd name="T16" fmla="*/ 8 w 8"/>
                <a:gd name="T17" fmla="*/ 9 h 9"/>
                <a:gd name="T18" fmla="*/ 8 w 8"/>
                <a:gd name="T19" fmla="*/ 9 h 9"/>
                <a:gd name="T20" fmla="*/ 5 w 8"/>
                <a:gd name="T21" fmla="*/ 9 h 9"/>
                <a:gd name="T22" fmla="*/ 2 w 8"/>
                <a:gd name="T23" fmla="*/ 6 h 9"/>
                <a:gd name="T24" fmla="*/ 0 w 8"/>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9">
                  <a:moveTo>
                    <a:pt x="0" y="0"/>
                  </a:moveTo>
                  <a:lnTo>
                    <a:pt x="0" y="0"/>
                  </a:lnTo>
                  <a:lnTo>
                    <a:pt x="2" y="0"/>
                  </a:lnTo>
                  <a:lnTo>
                    <a:pt x="2" y="0"/>
                  </a:lnTo>
                  <a:lnTo>
                    <a:pt x="4" y="3"/>
                  </a:lnTo>
                  <a:lnTo>
                    <a:pt x="4" y="3"/>
                  </a:lnTo>
                  <a:lnTo>
                    <a:pt x="5" y="7"/>
                  </a:lnTo>
                  <a:lnTo>
                    <a:pt x="5" y="7"/>
                  </a:lnTo>
                  <a:lnTo>
                    <a:pt x="8" y="9"/>
                  </a:lnTo>
                  <a:lnTo>
                    <a:pt x="8" y="9"/>
                  </a:lnTo>
                  <a:lnTo>
                    <a:pt x="5" y="9"/>
                  </a:lnTo>
                  <a:lnTo>
                    <a:pt x="2" y="6"/>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2" name="Freeform 31"/>
            <p:cNvSpPr/>
            <p:nvPr/>
          </p:nvSpPr>
          <p:spPr bwMode="auto">
            <a:xfrm>
              <a:off x="3915043" y="3309214"/>
              <a:ext cx="18433" cy="12287"/>
            </a:xfrm>
            <a:custGeom>
              <a:avLst/>
              <a:gdLst>
                <a:gd name="T0" fmla="*/ 5 w 6"/>
                <a:gd name="T1" fmla="*/ 0 h 2"/>
                <a:gd name="T2" fmla="*/ 5 w 6"/>
                <a:gd name="T3" fmla="*/ 0 h 2"/>
                <a:gd name="T4" fmla="*/ 6 w 6"/>
                <a:gd name="T5" fmla="*/ 0 h 2"/>
                <a:gd name="T6" fmla="*/ 6 w 6"/>
                <a:gd name="T7" fmla="*/ 1 h 2"/>
                <a:gd name="T8" fmla="*/ 5 w 6"/>
                <a:gd name="T9" fmla="*/ 1 h 2"/>
                <a:gd name="T10" fmla="*/ 0 w 6"/>
                <a:gd name="T11" fmla="*/ 2 h 2"/>
                <a:gd name="T12" fmla="*/ 0 w 6"/>
                <a:gd name="T13" fmla="*/ 2 h 2"/>
                <a:gd name="T14" fmla="*/ 2 w 6"/>
                <a:gd name="T15" fmla="*/ 2 h 2"/>
                <a:gd name="T16" fmla="*/ 3 w 6"/>
                <a:gd name="T17" fmla="*/ 1 h 2"/>
                <a:gd name="T18" fmla="*/ 5 w 6"/>
                <a:gd name="T19" fmla="*/ 0 h 2"/>
                <a:gd name="T20" fmla="*/ 5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5" y="0"/>
                  </a:moveTo>
                  <a:lnTo>
                    <a:pt x="5" y="0"/>
                  </a:lnTo>
                  <a:lnTo>
                    <a:pt x="6" y="0"/>
                  </a:lnTo>
                  <a:lnTo>
                    <a:pt x="6" y="1"/>
                  </a:lnTo>
                  <a:lnTo>
                    <a:pt x="5" y="1"/>
                  </a:lnTo>
                  <a:lnTo>
                    <a:pt x="0" y="2"/>
                  </a:lnTo>
                  <a:lnTo>
                    <a:pt x="0" y="2"/>
                  </a:lnTo>
                  <a:lnTo>
                    <a:pt x="2" y="2"/>
                  </a:lnTo>
                  <a:lnTo>
                    <a:pt x="3" y="1"/>
                  </a:lnTo>
                  <a:lnTo>
                    <a:pt x="5" y="0"/>
                  </a:lnTo>
                  <a:lnTo>
                    <a:pt x="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3" name="Freeform 32"/>
            <p:cNvSpPr/>
            <p:nvPr/>
          </p:nvSpPr>
          <p:spPr bwMode="auto">
            <a:xfrm>
              <a:off x="3915043" y="3309214"/>
              <a:ext cx="18433" cy="12287"/>
            </a:xfrm>
            <a:custGeom>
              <a:avLst/>
              <a:gdLst>
                <a:gd name="T0" fmla="*/ 5 w 6"/>
                <a:gd name="T1" fmla="*/ 0 h 2"/>
                <a:gd name="T2" fmla="*/ 5 w 6"/>
                <a:gd name="T3" fmla="*/ 0 h 2"/>
                <a:gd name="T4" fmla="*/ 6 w 6"/>
                <a:gd name="T5" fmla="*/ 0 h 2"/>
                <a:gd name="T6" fmla="*/ 6 w 6"/>
                <a:gd name="T7" fmla="*/ 1 h 2"/>
                <a:gd name="T8" fmla="*/ 5 w 6"/>
                <a:gd name="T9" fmla="*/ 1 h 2"/>
                <a:gd name="T10" fmla="*/ 0 w 6"/>
                <a:gd name="T11" fmla="*/ 2 h 2"/>
                <a:gd name="T12" fmla="*/ 0 w 6"/>
                <a:gd name="T13" fmla="*/ 2 h 2"/>
                <a:gd name="T14" fmla="*/ 2 w 6"/>
                <a:gd name="T15" fmla="*/ 2 h 2"/>
                <a:gd name="T16" fmla="*/ 3 w 6"/>
                <a:gd name="T17" fmla="*/ 1 h 2"/>
                <a:gd name="T18" fmla="*/ 5 w 6"/>
                <a:gd name="T19" fmla="*/ 0 h 2"/>
                <a:gd name="T20" fmla="*/ 5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5" y="0"/>
                  </a:moveTo>
                  <a:lnTo>
                    <a:pt x="5" y="0"/>
                  </a:lnTo>
                  <a:lnTo>
                    <a:pt x="6" y="0"/>
                  </a:lnTo>
                  <a:lnTo>
                    <a:pt x="6" y="1"/>
                  </a:lnTo>
                  <a:lnTo>
                    <a:pt x="5" y="1"/>
                  </a:lnTo>
                  <a:lnTo>
                    <a:pt x="0" y="2"/>
                  </a:lnTo>
                  <a:lnTo>
                    <a:pt x="0" y="2"/>
                  </a:lnTo>
                  <a:lnTo>
                    <a:pt x="2" y="2"/>
                  </a:lnTo>
                  <a:lnTo>
                    <a:pt x="3" y="1"/>
                  </a:lnTo>
                  <a:lnTo>
                    <a:pt x="5" y="0"/>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4" name="Freeform 33"/>
            <p:cNvSpPr/>
            <p:nvPr/>
          </p:nvSpPr>
          <p:spPr bwMode="auto">
            <a:xfrm>
              <a:off x="4523255" y="3094189"/>
              <a:ext cx="24574" cy="18429"/>
            </a:xfrm>
            <a:custGeom>
              <a:avLst/>
              <a:gdLst>
                <a:gd name="T0" fmla="*/ 2 w 9"/>
                <a:gd name="T1" fmla="*/ 0 h 5"/>
                <a:gd name="T2" fmla="*/ 2 w 9"/>
                <a:gd name="T3" fmla="*/ 0 h 5"/>
                <a:gd name="T4" fmla="*/ 5 w 9"/>
                <a:gd name="T5" fmla="*/ 0 h 5"/>
                <a:gd name="T6" fmla="*/ 7 w 9"/>
                <a:gd name="T7" fmla="*/ 1 h 5"/>
                <a:gd name="T8" fmla="*/ 7 w 9"/>
                <a:gd name="T9" fmla="*/ 1 h 5"/>
                <a:gd name="T10" fmla="*/ 7 w 9"/>
                <a:gd name="T11" fmla="*/ 2 h 5"/>
                <a:gd name="T12" fmla="*/ 7 w 9"/>
                <a:gd name="T13" fmla="*/ 2 h 5"/>
                <a:gd name="T14" fmla="*/ 7 w 9"/>
                <a:gd name="T15" fmla="*/ 2 h 5"/>
                <a:gd name="T16" fmla="*/ 7 w 9"/>
                <a:gd name="T17" fmla="*/ 2 h 5"/>
                <a:gd name="T18" fmla="*/ 7 w 9"/>
                <a:gd name="T19" fmla="*/ 1 h 5"/>
                <a:gd name="T20" fmla="*/ 7 w 9"/>
                <a:gd name="T21" fmla="*/ 1 h 5"/>
                <a:gd name="T22" fmla="*/ 7 w 9"/>
                <a:gd name="T23" fmla="*/ 1 h 5"/>
                <a:gd name="T24" fmla="*/ 7 w 9"/>
                <a:gd name="T25" fmla="*/ 1 h 5"/>
                <a:gd name="T26" fmla="*/ 7 w 9"/>
                <a:gd name="T27" fmla="*/ 1 h 5"/>
                <a:gd name="T28" fmla="*/ 7 w 9"/>
                <a:gd name="T29" fmla="*/ 2 h 5"/>
                <a:gd name="T30" fmla="*/ 7 w 9"/>
                <a:gd name="T31" fmla="*/ 2 h 5"/>
                <a:gd name="T32" fmla="*/ 9 w 9"/>
                <a:gd name="T33" fmla="*/ 5 h 5"/>
                <a:gd name="T34" fmla="*/ 9 w 9"/>
                <a:gd name="T35" fmla="*/ 5 h 5"/>
                <a:gd name="T36" fmla="*/ 7 w 9"/>
                <a:gd name="T37" fmla="*/ 5 h 5"/>
                <a:gd name="T38" fmla="*/ 5 w 9"/>
                <a:gd name="T39" fmla="*/ 4 h 5"/>
                <a:gd name="T40" fmla="*/ 3 w 9"/>
                <a:gd name="T41" fmla="*/ 2 h 5"/>
                <a:gd name="T42" fmla="*/ 2 w 9"/>
                <a:gd name="T43" fmla="*/ 4 h 5"/>
                <a:gd name="T44" fmla="*/ 2 w 9"/>
                <a:gd name="T45" fmla="*/ 4 h 5"/>
                <a:gd name="T46" fmla="*/ 0 w 9"/>
                <a:gd name="T47" fmla="*/ 4 h 5"/>
                <a:gd name="T48" fmla="*/ 0 w 9"/>
                <a:gd name="T49" fmla="*/ 4 h 5"/>
                <a:gd name="T50" fmla="*/ 0 w 9"/>
                <a:gd name="T51" fmla="*/ 4 h 5"/>
                <a:gd name="T52" fmla="*/ 0 w 9"/>
                <a:gd name="T53" fmla="*/ 4 h 5"/>
                <a:gd name="T54" fmla="*/ 0 w 9"/>
                <a:gd name="T55" fmla="*/ 4 h 5"/>
                <a:gd name="T56" fmla="*/ 0 w 9"/>
                <a:gd name="T57" fmla="*/ 4 h 5"/>
                <a:gd name="T58" fmla="*/ 0 w 9"/>
                <a:gd name="T59" fmla="*/ 4 h 5"/>
                <a:gd name="T60" fmla="*/ 0 w 9"/>
                <a:gd name="T61" fmla="*/ 5 h 5"/>
                <a:gd name="T62" fmla="*/ 0 w 9"/>
                <a:gd name="T63" fmla="*/ 5 h 5"/>
                <a:gd name="T64" fmla="*/ 0 w 9"/>
                <a:gd name="T65" fmla="*/ 5 h 5"/>
                <a:gd name="T66" fmla="*/ 0 w 9"/>
                <a:gd name="T67" fmla="*/ 5 h 5"/>
                <a:gd name="T68" fmla="*/ 0 w 9"/>
                <a:gd name="T69" fmla="*/ 4 h 5"/>
                <a:gd name="T70" fmla="*/ 0 w 9"/>
                <a:gd name="T71" fmla="*/ 4 h 5"/>
                <a:gd name="T72" fmla="*/ 2 w 9"/>
                <a:gd name="T73" fmla="*/ 4 h 5"/>
                <a:gd name="T74" fmla="*/ 2 w 9"/>
                <a:gd name="T75" fmla="*/ 4 h 5"/>
                <a:gd name="T76" fmla="*/ 2 w 9"/>
                <a:gd name="T77" fmla="*/ 1 h 5"/>
                <a:gd name="T78" fmla="*/ 2 w 9"/>
                <a:gd name="T7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 h="5">
                  <a:moveTo>
                    <a:pt x="2" y="0"/>
                  </a:moveTo>
                  <a:lnTo>
                    <a:pt x="2" y="0"/>
                  </a:lnTo>
                  <a:lnTo>
                    <a:pt x="5" y="0"/>
                  </a:lnTo>
                  <a:lnTo>
                    <a:pt x="7" y="1"/>
                  </a:lnTo>
                  <a:lnTo>
                    <a:pt x="7" y="1"/>
                  </a:lnTo>
                  <a:lnTo>
                    <a:pt x="7" y="2"/>
                  </a:lnTo>
                  <a:lnTo>
                    <a:pt x="7" y="2"/>
                  </a:lnTo>
                  <a:lnTo>
                    <a:pt x="7" y="2"/>
                  </a:lnTo>
                  <a:lnTo>
                    <a:pt x="7" y="2"/>
                  </a:lnTo>
                  <a:lnTo>
                    <a:pt x="7" y="1"/>
                  </a:lnTo>
                  <a:lnTo>
                    <a:pt x="7" y="1"/>
                  </a:lnTo>
                  <a:lnTo>
                    <a:pt x="7" y="1"/>
                  </a:lnTo>
                  <a:lnTo>
                    <a:pt x="7" y="1"/>
                  </a:lnTo>
                  <a:lnTo>
                    <a:pt x="7" y="1"/>
                  </a:lnTo>
                  <a:lnTo>
                    <a:pt x="7" y="2"/>
                  </a:lnTo>
                  <a:lnTo>
                    <a:pt x="7" y="2"/>
                  </a:lnTo>
                  <a:lnTo>
                    <a:pt x="9" y="5"/>
                  </a:lnTo>
                  <a:lnTo>
                    <a:pt x="9" y="5"/>
                  </a:lnTo>
                  <a:lnTo>
                    <a:pt x="7" y="5"/>
                  </a:lnTo>
                  <a:lnTo>
                    <a:pt x="5" y="4"/>
                  </a:lnTo>
                  <a:lnTo>
                    <a:pt x="3" y="2"/>
                  </a:lnTo>
                  <a:lnTo>
                    <a:pt x="2" y="4"/>
                  </a:lnTo>
                  <a:lnTo>
                    <a:pt x="2" y="4"/>
                  </a:lnTo>
                  <a:lnTo>
                    <a:pt x="0" y="4"/>
                  </a:lnTo>
                  <a:lnTo>
                    <a:pt x="0" y="4"/>
                  </a:lnTo>
                  <a:lnTo>
                    <a:pt x="0" y="4"/>
                  </a:lnTo>
                  <a:lnTo>
                    <a:pt x="0" y="4"/>
                  </a:lnTo>
                  <a:lnTo>
                    <a:pt x="0" y="4"/>
                  </a:lnTo>
                  <a:lnTo>
                    <a:pt x="0" y="4"/>
                  </a:lnTo>
                  <a:lnTo>
                    <a:pt x="0" y="4"/>
                  </a:lnTo>
                  <a:lnTo>
                    <a:pt x="0" y="5"/>
                  </a:lnTo>
                  <a:lnTo>
                    <a:pt x="0" y="5"/>
                  </a:lnTo>
                  <a:lnTo>
                    <a:pt x="0" y="5"/>
                  </a:lnTo>
                  <a:lnTo>
                    <a:pt x="0" y="5"/>
                  </a:lnTo>
                  <a:lnTo>
                    <a:pt x="0" y="4"/>
                  </a:lnTo>
                  <a:lnTo>
                    <a:pt x="0" y="4"/>
                  </a:lnTo>
                  <a:lnTo>
                    <a:pt x="2" y="4"/>
                  </a:lnTo>
                  <a:lnTo>
                    <a:pt x="2" y="4"/>
                  </a:lnTo>
                  <a:lnTo>
                    <a:pt x="2" y="1"/>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 name="Freeform 34"/>
            <p:cNvSpPr/>
            <p:nvPr/>
          </p:nvSpPr>
          <p:spPr bwMode="auto">
            <a:xfrm>
              <a:off x="4523255" y="3094189"/>
              <a:ext cx="24574" cy="18429"/>
            </a:xfrm>
            <a:custGeom>
              <a:avLst/>
              <a:gdLst>
                <a:gd name="T0" fmla="*/ 2 w 9"/>
                <a:gd name="T1" fmla="*/ 0 h 5"/>
                <a:gd name="T2" fmla="*/ 2 w 9"/>
                <a:gd name="T3" fmla="*/ 0 h 5"/>
                <a:gd name="T4" fmla="*/ 5 w 9"/>
                <a:gd name="T5" fmla="*/ 0 h 5"/>
                <a:gd name="T6" fmla="*/ 7 w 9"/>
                <a:gd name="T7" fmla="*/ 1 h 5"/>
                <a:gd name="T8" fmla="*/ 7 w 9"/>
                <a:gd name="T9" fmla="*/ 1 h 5"/>
                <a:gd name="T10" fmla="*/ 7 w 9"/>
                <a:gd name="T11" fmla="*/ 2 h 5"/>
                <a:gd name="T12" fmla="*/ 7 w 9"/>
                <a:gd name="T13" fmla="*/ 2 h 5"/>
                <a:gd name="T14" fmla="*/ 7 w 9"/>
                <a:gd name="T15" fmla="*/ 2 h 5"/>
                <a:gd name="T16" fmla="*/ 7 w 9"/>
                <a:gd name="T17" fmla="*/ 2 h 5"/>
                <a:gd name="T18" fmla="*/ 7 w 9"/>
                <a:gd name="T19" fmla="*/ 1 h 5"/>
                <a:gd name="T20" fmla="*/ 7 w 9"/>
                <a:gd name="T21" fmla="*/ 1 h 5"/>
                <a:gd name="T22" fmla="*/ 7 w 9"/>
                <a:gd name="T23" fmla="*/ 1 h 5"/>
                <a:gd name="T24" fmla="*/ 7 w 9"/>
                <a:gd name="T25" fmla="*/ 1 h 5"/>
                <a:gd name="T26" fmla="*/ 7 w 9"/>
                <a:gd name="T27" fmla="*/ 1 h 5"/>
                <a:gd name="T28" fmla="*/ 7 w 9"/>
                <a:gd name="T29" fmla="*/ 2 h 5"/>
                <a:gd name="T30" fmla="*/ 7 w 9"/>
                <a:gd name="T31" fmla="*/ 2 h 5"/>
                <a:gd name="T32" fmla="*/ 9 w 9"/>
                <a:gd name="T33" fmla="*/ 5 h 5"/>
                <a:gd name="T34" fmla="*/ 9 w 9"/>
                <a:gd name="T35" fmla="*/ 5 h 5"/>
                <a:gd name="T36" fmla="*/ 7 w 9"/>
                <a:gd name="T37" fmla="*/ 5 h 5"/>
                <a:gd name="T38" fmla="*/ 5 w 9"/>
                <a:gd name="T39" fmla="*/ 4 h 5"/>
                <a:gd name="T40" fmla="*/ 3 w 9"/>
                <a:gd name="T41" fmla="*/ 2 h 5"/>
                <a:gd name="T42" fmla="*/ 2 w 9"/>
                <a:gd name="T43" fmla="*/ 4 h 5"/>
                <a:gd name="T44" fmla="*/ 2 w 9"/>
                <a:gd name="T45" fmla="*/ 4 h 5"/>
                <a:gd name="T46" fmla="*/ 0 w 9"/>
                <a:gd name="T47" fmla="*/ 4 h 5"/>
                <a:gd name="T48" fmla="*/ 0 w 9"/>
                <a:gd name="T49" fmla="*/ 4 h 5"/>
                <a:gd name="T50" fmla="*/ 0 w 9"/>
                <a:gd name="T51" fmla="*/ 4 h 5"/>
                <a:gd name="T52" fmla="*/ 0 w 9"/>
                <a:gd name="T53" fmla="*/ 4 h 5"/>
                <a:gd name="T54" fmla="*/ 0 w 9"/>
                <a:gd name="T55" fmla="*/ 4 h 5"/>
                <a:gd name="T56" fmla="*/ 0 w 9"/>
                <a:gd name="T57" fmla="*/ 4 h 5"/>
                <a:gd name="T58" fmla="*/ 0 w 9"/>
                <a:gd name="T59" fmla="*/ 4 h 5"/>
                <a:gd name="T60" fmla="*/ 0 w 9"/>
                <a:gd name="T61" fmla="*/ 5 h 5"/>
                <a:gd name="T62" fmla="*/ 0 w 9"/>
                <a:gd name="T63" fmla="*/ 5 h 5"/>
                <a:gd name="T64" fmla="*/ 0 w 9"/>
                <a:gd name="T65" fmla="*/ 5 h 5"/>
                <a:gd name="T66" fmla="*/ 0 w 9"/>
                <a:gd name="T67" fmla="*/ 5 h 5"/>
                <a:gd name="T68" fmla="*/ 0 w 9"/>
                <a:gd name="T69" fmla="*/ 4 h 5"/>
                <a:gd name="T70" fmla="*/ 0 w 9"/>
                <a:gd name="T71" fmla="*/ 4 h 5"/>
                <a:gd name="T72" fmla="*/ 2 w 9"/>
                <a:gd name="T73" fmla="*/ 4 h 5"/>
                <a:gd name="T74" fmla="*/ 2 w 9"/>
                <a:gd name="T75" fmla="*/ 4 h 5"/>
                <a:gd name="T76" fmla="*/ 2 w 9"/>
                <a:gd name="T77" fmla="*/ 1 h 5"/>
                <a:gd name="T78" fmla="*/ 2 w 9"/>
                <a:gd name="T7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 h="5">
                  <a:moveTo>
                    <a:pt x="2" y="0"/>
                  </a:moveTo>
                  <a:lnTo>
                    <a:pt x="2" y="0"/>
                  </a:lnTo>
                  <a:lnTo>
                    <a:pt x="5" y="0"/>
                  </a:lnTo>
                  <a:lnTo>
                    <a:pt x="7" y="1"/>
                  </a:lnTo>
                  <a:lnTo>
                    <a:pt x="7" y="1"/>
                  </a:lnTo>
                  <a:lnTo>
                    <a:pt x="7" y="2"/>
                  </a:lnTo>
                  <a:lnTo>
                    <a:pt x="7" y="2"/>
                  </a:lnTo>
                  <a:lnTo>
                    <a:pt x="7" y="2"/>
                  </a:lnTo>
                  <a:lnTo>
                    <a:pt x="7" y="2"/>
                  </a:lnTo>
                  <a:lnTo>
                    <a:pt x="7" y="1"/>
                  </a:lnTo>
                  <a:lnTo>
                    <a:pt x="7" y="1"/>
                  </a:lnTo>
                  <a:lnTo>
                    <a:pt x="7" y="1"/>
                  </a:lnTo>
                  <a:lnTo>
                    <a:pt x="7" y="1"/>
                  </a:lnTo>
                  <a:lnTo>
                    <a:pt x="7" y="1"/>
                  </a:lnTo>
                  <a:lnTo>
                    <a:pt x="7" y="2"/>
                  </a:lnTo>
                  <a:lnTo>
                    <a:pt x="7" y="2"/>
                  </a:lnTo>
                  <a:lnTo>
                    <a:pt x="9" y="5"/>
                  </a:lnTo>
                  <a:lnTo>
                    <a:pt x="9" y="5"/>
                  </a:lnTo>
                  <a:lnTo>
                    <a:pt x="7" y="5"/>
                  </a:lnTo>
                  <a:lnTo>
                    <a:pt x="5" y="4"/>
                  </a:lnTo>
                  <a:lnTo>
                    <a:pt x="3" y="2"/>
                  </a:lnTo>
                  <a:lnTo>
                    <a:pt x="2" y="4"/>
                  </a:lnTo>
                  <a:lnTo>
                    <a:pt x="2" y="4"/>
                  </a:lnTo>
                  <a:lnTo>
                    <a:pt x="0" y="4"/>
                  </a:lnTo>
                  <a:lnTo>
                    <a:pt x="0" y="4"/>
                  </a:lnTo>
                  <a:lnTo>
                    <a:pt x="0" y="4"/>
                  </a:lnTo>
                  <a:lnTo>
                    <a:pt x="0" y="4"/>
                  </a:lnTo>
                  <a:lnTo>
                    <a:pt x="0" y="4"/>
                  </a:lnTo>
                  <a:lnTo>
                    <a:pt x="0" y="4"/>
                  </a:lnTo>
                  <a:lnTo>
                    <a:pt x="0" y="4"/>
                  </a:lnTo>
                  <a:lnTo>
                    <a:pt x="0" y="5"/>
                  </a:lnTo>
                  <a:lnTo>
                    <a:pt x="0" y="5"/>
                  </a:lnTo>
                  <a:lnTo>
                    <a:pt x="0" y="5"/>
                  </a:lnTo>
                  <a:lnTo>
                    <a:pt x="0" y="5"/>
                  </a:lnTo>
                  <a:lnTo>
                    <a:pt x="0" y="4"/>
                  </a:lnTo>
                  <a:lnTo>
                    <a:pt x="0" y="4"/>
                  </a:lnTo>
                  <a:lnTo>
                    <a:pt x="2" y="4"/>
                  </a:lnTo>
                  <a:lnTo>
                    <a:pt x="2" y="4"/>
                  </a:lnTo>
                  <a:lnTo>
                    <a:pt x="2" y="1"/>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 name="Freeform 35"/>
            <p:cNvSpPr/>
            <p:nvPr/>
          </p:nvSpPr>
          <p:spPr bwMode="auto">
            <a:xfrm>
              <a:off x="4541683" y="3118763"/>
              <a:ext cx="18433" cy="18429"/>
            </a:xfrm>
            <a:custGeom>
              <a:avLst/>
              <a:gdLst>
                <a:gd name="T0" fmla="*/ 6 w 6"/>
                <a:gd name="T1" fmla="*/ 5 h 7"/>
                <a:gd name="T2" fmla="*/ 6 w 6"/>
                <a:gd name="T3" fmla="*/ 5 h 7"/>
                <a:gd name="T4" fmla="*/ 5 w 6"/>
                <a:gd name="T5" fmla="*/ 7 h 7"/>
                <a:gd name="T6" fmla="*/ 3 w 6"/>
                <a:gd name="T7" fmla="*/ 7 h 7"/>
                <a:gd name="T8" fmla="*/ 0 w 6"/>
                <a:gd name="T9" fmla="*/ 7 h 7"/>
                <a:gd name="T10" fmla="*/ 0 w 6"/>
                <a:gd name="T11" fmla="*/ 7 h 7"/>
                <a:gd name="T12" fmla="*/ 0 w 6"/>
                <a:gd name="T13" fmla="*/ 3 h 7"/>
                <a:gd name="T14" fmla="*/ 0 w 6"/>
                <a:gd name="T15" fmla="*/ 1 h 7"/>
                <a:gd name="T16" fmla="*/ 3 w 6"/>
                <a:gd name="T17" fmla="*/ 0 h 7"/>
                <a:gd name="T18" fmla="*/ 3 w 6"/>
                <a:gd name="T19" fmla="*/ 0 h 7"/>
                <a:gd name="T20" fmla="*/ 2 w 6"/>
                <a:gd name="T21" fmla="*/ 1 h 7"/>
                <a:gd name="T22" fmla="*/ 2 w 6"/>
                <a:gd name="T23" fmla="*/ 4 h 7"/>
                <a:gd name="T24" fmla="*/ 2 w 6"/>
                <a:gd name="T25" fmla="*/ 4 h 7"/>
                <a:gd name="T26" fmla="*/ 5 w 6"/>
                <a:gd name="T27" fmla="*/ 4 h 7"/>
                <a:gd name="T28" fmla="*/ 6 w 6"/>
                <a:gd name="T29" fmla="*/ 4 h 7"/>
                <a:gd name="T30" fmla="*/ 6 w 6"/>
                <a:gd name="T3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7">
                  <a:moveTo>
                    <a:pt x="6" y="5"/>
                  </a:moveTo>
                  <a:lnTo>
                    <a:pt x="6" y="5"/>
                  </a:lnTo>
                  <a:lnTo>
                    <a:pt x="5" y="7"/>
                  </a:lnTo>
                  <a:lnTo>
                    <a:pt x="3" y="7"/>
                  </a:lnTo>
                  <a:lnTo>
                    <a:pt x="0" y="7"/>
                  </a:lnTo>
                  <a:lnTo>
                    <a:pt x="0" y="7"/>
                  </a:lnTo>
                  <a:lnTo>
                    <a:pt x="0" y="3"/>
                  </a:lnTo>
                  <a:lnTo>
                    <a:pt x="0" y="1"/>
                  </a:lnTo>
                  <a:lnTo>
                    <a:pt x="3" y="0"/>
                  </a:lnTo>
                  <a:lnTo>
                    <a:pt x="3" y="0"/>
                  </a:lnTo>
                  <a:lnTo>
                    <a:pt x="2" y="1"/>
                  </a:lnTo>
                  <a:lnTo>
                    <a:pt x="2" y="4"/>
                  </a:lnTo>
                  <a:lnTo>
                    <a:pt x="2" y="4"/>
                  </a:lnTo>
                  <a:lnTo>
                    <a:pt x="5" y="4"/>
                  </a:lnTo>
                  <a:lnTo>
                    <a:pt x="6" y="4"/>
                  </a:lnTo>
                  <a:lnTo>
                    <a:pt x="6"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 name="Freeform 36"/>
            <p:cNvSpPr/>
            <p:nvPr/>
          </p:nvSpPr>
          <p:spPr bwMode="auto">
            <a:xfrm>
              <a:off x="4541683" y="3118763"/>
              <a:ext cx="18433" cy="18429"/>
            </a:xfrm>
            <a:custGeom>
              <a:avLst/>
              <a:gdLst>
                <a:gd name="T0" fmla="*/ 6 w 6"/>
                <a:gd name="T1" fmla="*/ 5 h 7"/>
                <a:gd name="T2" fmla="*/ 6 w 6"/>
                <a:gd name="T3" fmla="*/ 5 h 7"/>
                <a:gd name="T4" fmla="*/ 5 w 6"/>
                <a:gd name="T5" fmla="*/ 7 h 7"/>
                <a:gd name="T6" fmla="*/ 3 w 6"/>
                <a:gd name="T7" fmla="*/ 7 h 7"/>
                <a:gd name="T8" fmla="*/ 0 w 6"/>
                <a:gd name="T9" fmla="*/ 7 h 7"/>
                <a:gd name="T10" fmla="*/ 0 w 6"/>
                <a:gd name="T11" fmla="*/ 7 h 7"/>
                <a:gd name="T12" fmla="*/ 0 w 6"/>
                <a:gd name="T13" fmla="*/ 3 h 7"/>
                <a:gd name="T14" fmla="*/ 0 w 6"/>
                <a:gd name="T15" fmla="*/ 1 h 7"/>
                <a:gd name="T16" fmla="*/ 3 w 6"/>
                <a:gd name="T17" fmla="*/ 0 h 7"/>
                <a:gd name="T18" fmla="*/ 3 w 6"/>
                <a:gd name="T19" fmla="*/ 0 h 7"/>
                <a:gd name="T20" fmla="*/ 2 w 6"/>
                <a:gd name="T21" fmla="*/ 1 h 7"/>
                <a:gd name="T22" fmla="*/ 2 w 6"/>
                <a:gd name="T23" fmla="*/ 4 h 7"/>
                <a:gd name="T24" fmla="*/ 2 w 6"/>
                <a:gd name="T25" fmla="*/ 4 h 7"/>
                <a:gd name="T26" fmla="*/ 5 w 6"/>
                <a:gd name="T27" fmla="*/ 4 h 7"/>
                <a:gd name="T28" fmla="*/ 6 w 6"/>
                <a:gd name="T29" fmla="*/ 4 h 7"/>
                <a:gd name="T30" fmla="*/ 6 w 6"/>
                <a:gd name="T3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7">
                  <a:moveTo>
                    <a:pt x="6" y="5"/>
                  </a:moveTo>
                  <a:lnTo>
                    <a:pt x="6" y="5"/>
                  </a:lnTo>
                  <a:lnTo>
                    <a:pt x="5" y="7"/>
                  </a:lnTo>
                  <a:lnTo>
                    <a:pt x="3" y="7"/>
                  </a:lnTo>
                  <a:lnTo>
                    <a:pt x="0" y="7"/>
                  </a:lnTo>
                  <a:lnTo>
                    <a:pt x="0" y="7"/>
                  </a:lnTo>
                  <a:lnTo>
                    <a:pt x="0" y="3"/>
                  </a:lnTo>
                  <a:lnTo>
                    <a:pt x="0" y="1"/>
                  </a:lnTo>
                  <a:lnTo>
                    <a:pt x="3" y="0"/>
                  </a:lnTo>
                  <a:lnTo>
                    <a:pt x="3" y="0"/>
                  </a:lnTo>
                  <a:lnTo>
                    <a:pt x="2" y="1"/>
                  </a:lnTo>
                  <a:lnTo>
                    <a:pt x="2" y="4"/>
                  </a:lnTo>
                  <a:lnTo>
                    <a:pt x="2" y="4"/>
                  </a:lnTo>
                  <a:lnTo>
                    <a:pt x="5" y="4"/>
                  </a:lnTo>
                  <a:lnTo>
                    <a:pt x="6" y="4"/>
                  </a:lnTo>
                  <a:lnTo>
                    <a:pt x="6"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8" name="Freeform 37"/>
            <p:cNvSpPr/>
            <p:nvPr/>
          </p:nvSpPr>
          <p:spPr bwMode="auto">
            <a:xfrm>
              <a:off x="4553970" y="3131050"/>
              <a:ext cx="18433" cy="24574"/>
            </a:xfrm>
            <a:custGeom>
              <a:avLst/>
              <a:gdLst>
                <a:gd name="T0" fmla="*/ 3 w 5"/>
                <a:gd name="T1" fmla="*/ 0 h 9"/>
                <a:gd name="T2" fmla="*/ 3 w 5"/>
                <a:gd name="T3" fmla="*/ 0 h 9"/>
                <a:gd name="T4" fmla="*/ 4 w 5"/>
                <a:gd name="T5" fmla="*/ 0 h 9"/>
                <a:gd name="T6" fmla="*/ 4 w 5"/>
                <a:gd name="T7" fmla="*/ 1 h 9"/>
                <a:gd name="T8" fmla="*/ 4 w 5"/>
                <a:gd name="T9" fmla="*/ 4 h 9"/>
                <a:gd name="T10" fmla="*/ 4 w 5"/>
                <a:gd name="T11" fmla="*/ 4 h 9"/>
                <a:gd name="T12" fmla="*/ 4 w 5"/>
                <a:gd name="T13" fmla="*/ 7 h 9"/>
                <a:gd name="T14" fmla="*/ 4 w 5"/>
                <a:gd name="T15" fmla="*/ 7 h 9"/>
                <a:gd name="T16" fmla="*/ 4 w 5"/>
                <a:gd name="T17" fmla="*/ 9 h 9"/>
                <a:gd name="T18" fmla="*/ 4 w 5"/>
                <a:gd name="T19" fmla="*/ 9 h 9"/>
                <a:gd name="T20" fmla="*/ 5 w 5"/>
                <a:gd name="T21" fmla="*/ 9 h 9"/>
                <a:gd name="T22" fmla="*/ 5 w 5"/>
                <a:gd name="T23" fmla="*/ 9 h 9"/>
                <a:gd name="T24" fmla="*/ 3 w 5"/>
                <a:gd name="T25" fmla="*/ 9 h 9"/>
                <a:gd name="T26" fmla="*/ 3 w 5"/>
                <a:gd name="T27" fmla="*/ 9 h 9"/>
                <a:gd name="T28" fmla="*/ 1 w 5"/>
                <a:gd name="T29" fmla="*/ 9 h 9"/>
                <a:gd name="T30" fmla="*/ 1 w 5"/>
                <a:gd name="T31" fmla="*/ 9 h 9"/>
                <a:gd name="T32" fmla="*/ 0 w 5"/>
                <a:gd name="T33" fmla="*/ 6 h 9"/>
                <a:gd name="T34" fmla="*/ 0 w 5"/>
                <a:gd name="T35" fmla="*/ 6 h 9"/>
                <a:gd name="T36" fmla="*/ 0 w 5"/>
                <a:gd name="T37" fmla="*/ 3 h 9"/>
                <a:gd name="T38" fmla="*/ 3 w 5"/>
                <a:gd name="T3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9">
                  <a:moveTo>
                    <a:pt x="3" y="0"/>
                  </a:moveTo>
                  <a:lnTo>
                    <a:pt x="3" y="0"/>
                  </a:lnTo>
                  <a:lnTo>
                    <a:pt x="4" y="0"/>
                  </a:lnTo>
                  <a:lnTo>
                    <a:pt x="4" y="1"/>
                  </a:lnTo>
                  <a:lnTo>
                    <a:pt x="4" y="4"/>
                  </a:lnTo>
                  <a:lnTo>
                    <a:pt x="4" y="4"/>
                  </a:lnTo>
                  <a:lnTo>
                    <a:pt x="4" y="7"/>
                  </a:lnTo>
                  <a:lnTo>
                    <a:pt x="4" y="7"/>
                  </a:lnTo>
                  <a:lnTo>
                    <a:pt x="4" y="9"/>
                  </a:lnTo>
                  <a:lnTo>
                    <a:pt x="4" y="9"/>
                  </a:lnTo>
                  <a:lnTo>
                    <a:pt x="5" y="9"/>
                  </a:lnTo>
                  <a:lnTo>
                    <a:pt x="5" y="9"/>
                  </a:lnTo>
                  <a:lnTo>
                    <a:pt x="3" y="9"/>
                  </a:lnTo>
                  <a:lnTo>
                    <a:pt x="3" y="9"/>
                  </a:lnTo>
                  <a:lnTo>
                    <a:pt x="1" y="9"/>
                  </a:lnTo>
                  <a:lnTo>
                    <a:pt x="1" y="9"/>
                  </a:lnTo>
                  <a:lnTo>
                    <a:pt x="0" y="6"/>
                  </a:lnTo>
                  <a:lnTo>
                    <a:pt x="0" y="6"/>
                  </a:lnTo>
                  <a:lnTo>
                    <a:pt x="0" y="3"/>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 name="Freeform 38"/>
            <p:cNvSpPr/>
            <p:nvPr/>
          </p:nvSpPr>
          <p:spPr bwMode="auto">
            <a:xfrm>
              <a:off x="4553970" y="3131050"/>
              <a:ext cx="18433" cy="24574"/>
            </a:xfrm>
            <a:custGeom>
              <a:avLst/>
              <a:gdLst>
                <a:gd name="T0" fmla="*/ 3 w 5"/>
                <a:gd name="T1" fmla="*/ 0 h 9"/>
                <a:gd name="T2" fmla="*/ 3 w 5"/>
                <a:gd name="T3" fmla="*/ 0 h 9"/>
                <a:gd name="T4" fmla="*/ 4 w 5"/>
                <a:gd name="T5" fmla="*/ 0 h 9"/>
                <a:gd name="T6" fmla="*/ 4 w 5"/>
                <a:gd name="T7" fmla="*/ 1 h 9"/>
                <a:gd name="T8" fmla="*/ 4 w 5"/>
                <a:gd name="T9" fmla="*/ 4 h 9"/>
                <a:gd name="T10" fmla="*/ 4 w 5"/>
                <a:gd name="T11" fmla="*/ 4 h 9"/>
                <a:gd name="T12" fmla="*/ 4 w 5"/>
                <a:gd name="T13" fmla="*/ 7 h 9"/>
                <a:gd name="T14" fmla="*/ 4 w 5"/>
                <a:gd name="T15" fmla="*/ 7 h 9"/>
                <a:gd name="T16" fmla="*/ 4 w 5"/>
                <a:gd name="T17" fmla="*/ 9 h 9"/>
                <a:gd name="T18" fmla="*/ 4 w 5"/>
                <a:gd name="T19" fmla="*/ 9 h 9"/>
                <a:gd name="T20" fmla="*/ 5 w 5"/>
                <a:gd name="T21" fmla="*/ 9 h 9"/>
                <a:gd name="T22" fmla="*/ 5 w 5"/>
                <a:gd name="T23" fmla="*/ 9 h 9"/>
                <a:gd name="T24" fmla="*/ 3 w 5"/>
                <a:gd name="T25" fmla="*/ 9 h 9"/>
                <a:gd name="T26" fmla="*/ 3 w 5"/>
                <a:gd name="T27" fmla="*/ 9 h 9"/>
                <a:gd name="T28" fmla="*/ 1 w 5"/>
                <a:gd name="T29" fmla="*/ 9 h 9"/>
                <a:gd name="T30" fmla="*/ 1 w 5"/>
                <a:gd name="T31" fmla="*/ 9 h 9"/>
                <a:gd name="T32" fmla="*/ 0 w 5"/>
                <a:gd name="T33" fmla="*/ 6 h 9"/>
                <a:gd name="T34" fmla="*/ 0 w 5"/>
                <a:gd name="T35" fmla="*/ 6 h 9"/>
                <a:gd name="T36" fmla="*/ 0 w 5"/>
                <a:gd name="T37" fmla="*/ 3 h 9"/>
                <a:gd name="T38" fmla="*/ 3 w 5"/>
                <a:gd name="T3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9">
                  <a:moveTo>
                    <a:pt x="3" y="0"/>
                  </a:moveTo>
                  <a:lnTo>
                    <a:pt x="3" y="0"/>
                  </a:lnTo>
                  <a:lnTo>
                    <a:pt x="4" y="0"/>
                  </a:lnTo>
                  <a:lnTo>
                    <a:pt x="4" y="1"/>
                  </a:lnTo>
                  <a:lnTo>
                    <a:pt x="4" y="4"/>
                  </a:lnTo>
                  <a:lnTo>
                    <a:pt x="4" y="4"/>
                  </a:lnTo>
                  <a:lnTo>
                    <a:pt x="4" y="7"/>
                  </a:lnTo>
                  <a:lnTo>
                    <a:pt x="4" y="7"/>
                  </a:lnTo>
                  <a:lnTo>
                    <a:pt x="4" y="9"/>
                  </a:lnTo>
                  <a:lnTo>
                    <a:pt x="4" y="9"/>
                  </a:lnTo>
                  <a:lnTo>
                    <a:pt x="5" y="9"/>
                  </a:lnTo>
                  <a:lnTo>
                    <a:pt x="5" y="9"/>
                  </a:lnTo>
                  <a:lnTo>
                    <a:pt x="3" y="9"/>
                  </a:lnTo>
                  <a:lnTo>
                    <a:pt x="3" y="9"/>
                  </a:lnTo>
                  <a:lnTo>
                    <a:pt x="1" y="9"/>
                  </a:lnTo>
                  <a:lnTo>
                    <a:pt x="1" y="9"/>
                  </a:lnTo>
                  <a:lnTo>
                    <a:pt x="0" y="6"/>
                  </a:lnTo>
                  <a:lnTo>
                    <a:pt x="0" y="6"/>
                  </a:lnTo>
                  <a:lnTo>
                    <a:pt x="0" y="3"/>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0" name="Freeform 39"/>
            <p:cNvSpPr/>
            <p:nvPr/>
          </p:nvSpPr>
          <p:spPr bwMode="auto">
            <a:xfrm>
              <a:off x="5352629" y="2952889"/>
              <a:ext cx="12287" cy="24574"/>
            </a:xfrm>
            <a:custGeom>
              <a:avLst/>
              <a:gdLst>
                <a:gd name="T0" fmla="*/ 0 w 5"/>
                <a:gd name="T1" fmla="*/ 2 h 9"/>
                <a:gd name="T2" fmla="*/ 0 w 5"/>
                <a:gd name="T3" fmla="*/ 2 h 9"/>
                <a:gd name="T4" fmla="*/ 2 w 5"/>
                <a:gd name="T5" fmla="*/ 0 h 9"/>
                <a:gd name="T6" fmla="*/ 3 w 5"/>
                <a:gd name="T7" fmla="*/ 2 h 9"/>
                <a:gd name="T8" fmla="*/ 5 w 5"/>
                <a:gd name="T9" fmla="*/ 5 h 9"/>
                <a:gd name="T10" fmla="*/ 5 w 5"/>
                <a:gd name="T11" fmla="*/ 8 h 9"/>
                <a:gd name="T12" fmla="*/ 3 w 5"/>
                <a:gd name="T13" fmla="*/ 9 h 9"/>
                <a:gd name="T14" fmla="*/ 3 w 5"/>
                <a:gd name="T15" fmla="*/ 9 h 9"/>
                <a:gd name="T16" fmla="*/ 0 w 5"/>
                <a:gd name="T17" fmla="*/ 9 h 9"/>
                <a:gd name="T18" fmla="*/ 0 w 5"/>
                <a:gd name="T19" fmla="*/ 6 h 9"/>
                <a:gd name="T20" fmla="*/ 2 w 5"/>
                <a:gd name="T21" fmla="*/ 5 h 9"/>
                <a:gd name="T22" fmla="*/ 0 w 5"/>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9">
                  <a:moveTo>
                    <a:pt x="0" y="2"/>
                  </a:moveTo>
                  <a:lnTo>
                    <a:pt x="0" y="2"/>
                  </a:lnTo>
                  <a:lnTo>
                    <a:pt x="2" y="0"/>
                  </a:lnTo>
                  <a:lnTo>
                    <a:pt x="3" y="2"/>
                  </a:lnTo>
                  <a:lnTo>
                    <a:pt x="5" y="5"/>
                  </a:lnTo>
                  <a:lnTo>
                    <a:pt x="5" y="8"/>
                  </a:lnTo>
                  <a:lnTo>
                    <a:pt x="3" y="9"/>
                  </a:lnTo>
                  <a:lnTo>
                    <a:pt x="3" y="9"/>
                  </a:lnTo>
                  <a:lnTo>
                    <a:pt x="0" y="9"/>
                  </a:lnTo>
                  <a:lnTo>
                    <a:pt x="0" y="6"/>
                  </a:lnTo>
                  <a:lnTo>
                    <a:pt x="2" y="5"/>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 name="Freeform 40"/>
            <p:cNvSpPr/>
            <p:nvPr/>
          </p:nvSpPr>
          <p:spPr bwMode="auto">
            <a:xfrm>
              <a:off x="5352629" y="2952889"/>
              <a:ext cx="12287" cy="24574"/>
            </a:xfrm>
            <a:custGeom>
              <a:avLst/>
              <a:gdLst>
                <a:gd name="T0" fmla="*/ 0 w 5"/>
                <a:gd name="T1" fmla="*/ 2 h 9"/>
                <a:gd name="T2" fmla="*/ 0 w 5"/>
                <a:gd name="T3" fmla="*/ 2 h 9"/>
                <a:gd name="T4" fmla="*/ 2 w 5"/>
                <a:gd name="T5" fmla="*/ 0 h 9"/>
                <a:gd name="T6" fmla="*/ 3 w 5"/>
                <a:gd name="T7" fmla="*/ 2 h 9"/>
                <a:gd name="T8" fmla="*/ 5 w 5"/>
                <a:gd name="T9" fmla="*/ 5 h 9"/>
                <a:gd name="T10" fmla="*/ 5 w 5"/>
                <a:gd name="T11" fmla="*/ 8 h 9"/>
                <a:gd name="T12" fmla="*/ 3 w 5"/>
                <a:gd name="T13" fmla="*/ 9 h 9"/>
                <a:gd name="T14" fmla="*/ 3 w 5"/>
                <a:gd name="T15" fmla="*/ 9 h 9"/>
                <a:gd name="T16" fmla="*/ 0 w 5"/>
                <a:gd name="T17" fmla="*/ 9 h 9"/>
                <a:gd name="T18" fmla="*/ 0 w 5"/>
                <a:gd name="T19" fmla="*/ 6 h 9"/>
                <a:gd name="T20" fmla="*/ 2 w 5"/>
                <a:gd name="T21" fmla="*/ 5 h 9"/>
                <a:gd name="T22" fmla="*/ 0 w 5"/>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9">
                  <a:moveTo>
                    <a:pt x="0" y="2"/>
                  </a:moveTo>
                  <a:lnTo>
                    <a:pt x="0" y="2"/>
                  </a:lnTo>
                  <a:lnTo>
                    <a:pt x="2" y="0"/>
                  </a:lnTo>
                  <a:lnTo>
                    <a:pt x="3" y="2"/>
                  </a:lnTo>
                  <a:lnTo>
                    <a:pt x="5" y="5"/>
                  </a:lnTo>
                  <a:lnTo>
                    <a:pt x="5" y="8"/>
                  </a:lnTo>
                  <a:lnTo>
                    <a:pt x="3" y="9"/>
                  </a:lnTo>
                  <a:lnTo>
                    <a:pt x="3" y="9"/>
                  </a:lnTo>
                  <a:lnTo>
                    <a:pt x="0" y="9"/>
                  </a:lnTo>
                  <a:lnTo>
                    <a:pt x="0" y="6"/>
                  </a:lnTo>
                  <a:lnTo>
                    <a:pt x="2" y="5"/>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 name="Freeform 41"/>
            <p:cNvSpPr/>
            <p:nvPr/>
          </p:nvSpPr>
          <p:spPr bwMode="auto">
            <a:xfrm>
              <a:off x="4996304" y="3143337"/>
              <a:ext cx="12287" cy="18429"/>
            </a:xfrm>
            <a:custGeom>
              <a:avLst/>
              <a:gdLst>
                <a:gd name="T0" fmla="*/ 0 w 5"/>
                <a:gd name="T1" fmla="*/ 0 h 6"/>
                <a:gd name="T2" fmla="*/ 0 w 5"/>
                <a:gd name="T3" fmla="*/ 0 h 6"/>
                <a:gd name="T4" fmla="*/ 3 w 5"/>
                <a:gd name="T5" fmla="*/ 0 h 6"/>
                <a:gd name="T6" fmla="*/ 3 w 5"/>
                <a:gd name="T7" fmla="*/ 0 h 6"/>
                <a:gd name="T8" fmla="*/ 5 w 5"/>
                <a:gd name="T9" fmla="*/ 3 h 6"/>
                <a:gd name="T10" fmla="*/ 3 w 5"/>
                <a:gd name="T11" fmla="*/ 6 h 6"/>
                <a:gd name="T12" fmla="*/ 0 w 5"/>
                <a:gd name="T13" fmla="*/ 6 h 6"/>
                <a:gd name="T14" fmla="*/ 0 w 5"/>
                <a:gd name="T15" fmla="*/ 6 h 6"/>
                <a:gd name="T16" fmla="*/ 2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0" y="0"/>
                  </a:lnTo>
                  <a:lnTo>
                    <a:pt x="3" y="0"/>
                  </a:lnTo>
                  <a:lnTo>
                    <a:pt x="3" y="0"/>
                  </a:lnTo>
                  <a:lnTo>
                    <a:pt x="5" y="3"/>
                  </a:lnTo>
                  <a:lnTo>
                    <a:pt x="3" y="6"/>
                  </a:lnTo>
                  <a:lnTo>
                    <a:pt x="0" y="6"/>
                  </a:lnTo>
                  <a:lnTo>
                    <a:pt x="0" y="6"/>
                  </a:lnTo>
                  <a:lnTo>
                    <a:pt x="2" y="5"/>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 name="Freeform 42"/>
            <p:cNvSpPr/>
            <p:nvPr/>
          </p:nvSpPr>
          <p:spPr bwMode="auto">
            <a:xfrm>
              <a:off x="4996304" y="3143337"/>
              <a:ext cx="12287" cy="18429"/>
            </a:xfrm>
            <a:custGeom>
              <a:avLst/>
              <a:gdLst>
                <a:gd name="T0" fmla="*/ 0 w 5"/>
                <a:gd name="T1" fmla="*/ 0 h 6"/>
                <a:gd name="T2" fmla="*/ 0 w 5"/>
                <a:gd name="T3" fmla="*/ 0 h 6"/>
                <a:gd name="T4" fmla="*/ 3 w 5"/>
                <a:gd name="T5" fmla="*/ 0 h 6"/>
                <a:gd name="T6" fmla="*/ 3 w 5"/>
                <a:gd name="T7" fmla="*/ 0 h 6"/>
                <a:gd name="T8" fmla="*/ 5 w 5"/>
                <a:gd name="T9" fmla="*/ 3 h 6"/>
                <a:gd name="T10" fmla="*/ 3 w 5"/>
                <a:gd name="T11" fmla="*/ 6 h 6"/>
                <a:gd name="T12" fmla="*/ 0 w 5"/>
                <a:gd name="T13" fmla="*/ 6 h 6"/>
                <a:gd name="T14" fmla="*/ 0 w 5"/>
                <a:gd name="T15" fmla="*/ 6 h 6"/>
                <a:gd name="T16" fmla="*/ 2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0" y="0"/>
                  </a:lnTo>
                  <a:lnTo>
                    <a:pt x="3" y="0"/>
                  </a:lnTo>
                  <a:lnTo>
                    <a:pt x="3" y="0"/>
                  </a:lnTo>
                  <a:lnTo>
                    <a:pt x="5" y="3"/>
                  </a:lnTo>
                  <a:lnTo>
                    <a:pt x="3" y="6"/>
                  </a:lnTo>
                  <a:lnTo>
                    <a:pt x="0" y="6"/>
                  </a:lnTo>
                  <a:lnTo>
                    <a:pt x="0" y="6"/>
                  </a:lnTo>
                  <a:lnTo>
                    <a:pt x="2" y="5"/>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 name="Freeform 43"/>
            <p:cNvSpPr/>
            <p:nvPr/>
          </p:nvSpPr>
          <p:spPr bwMode="auto">
            <a:xfrm>
              <a:off x="5229758" y="3180198"/>
              <a:ext cx="12287" cy="24574"/>
            </a:xfrm>
            <a:custGeom>
              <a:avLst/>
              <a:gdLst>
                <a:gd name="T0" fmla="*/ 0 w 5"/>
                <a:gd name="T1" fmla="*/ 0 h 8"/>
                <a:gd name="T2" fmla="*/ 0 w 5"/>
                <a:gd name="T3" fmla="*/ 0 h 8"/>
                <a:gd name="T4" fmla="*/ 3 w 5"/>
                <a:gd name="T5" fmla="*/ 1 h 8"/>
                <a:gd name="T6" fmla="*/ 5 w 5"/>
                <a:gd name="T7" fmla="*/ 3 h 8"/>
                <a:gd name="T8" fmla="*/ 5 w 5"/>
                <a:gd name="T9" fmla="*/ 5 h 8"/>
                <a:gd name="T10" fmla="*/ 3 w 5"/>
                <a:gd name="T11" fmla="*/ 8 h 8"/>
                <a:gd name="T12" fmla="*/ 3 w 5"/>
                <a:gd name="T13" fmla="*/ 8 h 8"/>
                <a:gd name="T14" fmla="*/ 2 w 5"/>
                <a:gd name="T15" fmla="*/ 7 h 8"/>
                <a:gd name="T16" fmla="*/ 2 w 5"/>
                <a:gd name="T17" fmla="*/ 5 h 8"/>
                <a:gd name="T18" fmla="*/ 0 w 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0"/>
                  </a:moveTo>
                  <a:lnTo>
                    <a:pt x="0" y="0"/>
                  </a:lnTo>
                  <a:lnTo>
                    <a:pt x="3" y="1"/>
                  </a:lnTo>
                  <a:lnTo>
                    <a:pt x="5" y="3"/>
                  </a:lnTo>
                  <a:lnTo>
                    <a:pt x="5" y="5"/>
                  </a:lnTo>
                  <a:lnTo>
                    <a:pt x="3" y="8"/>
                  </a:lnTo>
                  <a:lnTo>
                    <a:pt x="3" y="8"/>
                  </a:lnTo>
                  <a:lnTo>
                    <a:pt x="2" y="7"/>
                  </a:lnTo>
                  <a:lnTo>
                    <a:pt x="2" y="5"/>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 name="Freeform 44"/>
            <p:cNvSpPr/>
            <p:nvPr/>
          </p:nvSpPr>
          <p:spPr bwMode="auto">
            <a:xfrm>
              <a:off x="5229758" y="3180198"/>
              <a:ext cx="12287" cy="24574"/>
            </a:xfrm>
            <a:custGeom>
              <a:avLst/>
              <a:gdLst>
                <a:gd name="T0" fmla="*/ 0 w 5"/>
                <a:gd name="T1" fmla="*/ 0 h 8"/>
                <a:gd name="T2" fmla="*/ 0 w 5"/>
                <a:gd name="T3" fmla="*/ 0 h 8"/>
                <a:gd name="T4" fmla="*/ 3 w 5"/>
                <a:gd name="T5" fmla="*/ 1 h 8"/>
                <a:gd name="T6" fmla="*/ 5 w 5"/>
                <a:gd name="T7" fmla="*/ 3 h 8"/>
                <a:gd name="T8" fmla="*/ 5 w 5"/>
                <a:gd name="T9" fmla="*/ 5 h 8"/>
                <a:gd name="T10" fmla="*/ 3 w 5"/>
                <a:gd name="T11" fmla="*/ 8 h 8"/>
                <a:gd name="T12" fmla="*/ 3 w 5"/>
                <a:gd name="T13" fmla="*/ 8 h 8"/>
                <a:gd name="T14" fmla="*/ 2 w 5"/>
                <a:gd name="T15" fmla="*/ 7 h 8"/>
                <a:gd name="T16" fmla="*/ 2 w 5"/>
                <a:gd name="T17" fmla="*/ 5 h 8"/>
                <a:gd name="T18" fmla="*/ 0 w 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0"/>
                  </a:moveTo>
                  <a:lnTo>
                    <a:pt x="0" y="0"/>
                  </a:lnTo>
                  <a:lnTo>
                    <a:pt x="3" y="1"/>
                  </a:lnTo>
                  <a:lnTo>
                    <a:pt x="5" y="3"/>
                  </a:lnTo>
                  <a:lnTo>
                    <a:pt x="5" y="5"/>
                  </a:lnTo>
                  <a:lnTo>
                    <a:pt x="3" y="8"/>
                  </a:lnTo>
                  <a:lnTo>
                    <a:pt x="3" y="8"/>
                  </a:lnTo>
                  <a:lnTo>
                    <a:pt x="2" y="7"/>
                  </a:lnTo>
                  <a:lnTo>
                    <a:pt x="2" y="5"/>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 name="Freeform 45"/>
            <p:cNvSpPr/>
            <p:nvPr/>
          </p:nvSpPr>
          <p:spPr bwMode="auto">
            <a:xfrm>
              <a:off x="6065278" y="3137196"/>
              <a:ext cx="24574" cy="30716"/>
            </a:xfrm>
            <a:custGeom>
              <a:avLst/>
              <a:gdLst>
                <a:gd name="T0" fmla="*/ 3 w 7"/>
                <a:gd name="T1" fmla="*/ 0 h 12"/>
                <a:gd name="T2" fmla="*/ 3 w 7"/>
                <a:gd name="T3" fmla="*/ 0 h 12"/>
                <a:gd name="T4" fmla="*/ 5 w 7"/>
                <a:gd name="T5" fmla="*/ 3 h 12"/>
                <a:gd name="T6" fmla="*/ 7 w 7"/>
                <a:gd name="T7" fmla="*/ 9 h 12"/>
                <a:gd name="T8" fmla="*/ 7 w 7"/>
                <a:gd name="T9" fmla="*/ 9 h 12"/>
                <a:gd name="T10" fmla="*/ 4 w 7"/>
                <a:gd name="T11" fmla="*/ 9 h 12"/>
                <a:gd name="T12" fmla="*/ 4 w 7"/>
                <a:gd name="T13" fmla="*/ 10 h 12"/>
                <a:gd name="T14" fmla="*/ 3 w 7"/>
                <a:gd name="T15" fmla="*/ 10 h 12"/>
                <a:gd name="T16" fmla="*/ 0 w 7"/>
                <a:gd name="T17" fmla="*/ 12 h 12"/>
                <a:gd name="T18" fmla="*/ 0 w 7"/>
                <a:gd name="T19" fmla="*/ 12 h 12"/>
                <a:gd name="T20" fmla="*/ 0 w 7"/>
                <a:gd name="T21" fmla="*/ 6 h 12"/>
                <a:gd name="T22" fmla="*/ 0 w 7"/>
                <a:gd name="T23" fmla="*/ 6 h 12"/>
                <a:gd name="T24" fmla="*/ 1 w 7"/>
                <a:gd name="T25" fmla="*/ 6 h 12"/>
                <a:gd name="T26" fmla="*/ 3 w 7"/>
                <a:gd name="T27" fmla="*/ 6 h 12"/>
                <a:gd name="T28" fmla="*/ 3 w 7"/>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2">
                  <a:moveTo>
                    <a:pt x="3" y="0"/>
                  </a:moveTo>
                  <a:lnTo>
                    <a:pt x="3" y="0"/>
                  </a:lnTo>
                  <a:lnTo>
                    <a:pt x="5" y="3"/>
                  </a:lnTo>
                  <a:lnTo>
                    <a:pt x="7" y="9"/>
                  </a:lnTo>
                  <a:lnTo>
                    <a:pt x="7" y="9"/>
                  </a:lnTo>
                  <a:lnTo>
                    <a:pt x="4" y="9"/>
                  </a:lnTo>
                  <a:lnTo>
                    <a:pt x="4" y="10"/>
                  </a:lnTo>
                  <a:lnTo>
                    <a:pt x="3" y="10"/>
                  </a:lnTo>
                  <a:lnTo>
                    <a:pt x="0" y="12"/>
                  </a:lnTo>
                  <a:lnTo>
                    <a:pt x="0" y="12"/>
                  </a:lnTo>
                  <a:lnTo>
                    <a:pt x="0" y="6"/>
                  </a:lnTo>
                  <a:lnTo>
                    <a:pt x="0" y="6"/>
                  </a:lnTo>
                  <a:lnTo>
                    <a:pt x="1" y="6"/>
                  </a:lnTo>
                  <a:lnTo>
                    <a:pt x="3" y="6"/>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7" name="Freeform 46"/>
            <p:cNvSpPr/>
            <p:nvPr/>
          </p:nvSpPr>
          <p:spPr bwMode="auto">
            <a:xfrm>
              <a:off x="6065278" y="3137196"/>
              <a:ext cx="24574" cy="30716"/>
            </a:xfrm>
            <a:custGeom>
              <a:avLst/>
              <a:gdLst>
                <a:gd name="T0" fmla="*/ 3 w 7"/>
                <a:gd name="T1" fmla="*/ 0 h 12"/>
                <a:gd name="T2" fmla="*/ 3 w 7"/>
                <a:gd name="T3" fmla="*/ 0 h 12"/>
                <a:gd name="T4" fmla="*/ 5 w 7"/>
                <a:gd name="T5" fmla="*/ 3 h 12"/>
                <a:gd name="T6" fmla="*/ 7 w 7"/>
                <a:gd name="T7" fmla="*/ 9 h 12"/>
                <a:gd name="T8" fmla="*/ 7 w 7"/>
                <a:gd name="T9" fmla="*/ 9 h 12"/>
                <a:gd name="T10" fmla="*/ 4 w 7"/>
                <a:gd name="T11" fmla="*/ 9 h 12"/>
                <a:gd name="T12" fmla="*/ 4 w 7"/>
                <a:gd name="T13" fmla="*/ 10 h 12"/>
                <a:gd name="T14" fmla="*/ 3 w 7"/>
                <a:gd name="T15" fmla="*/ 10 h 12"/>
                <a:gd name="T16" fmla="*/ 0 w 7"/>
                <a:gd name="T17" fmla="*/ 12 h 12"/>
                <a:gd name="T18" fmla="*/ 0 w 7"/>
                <a:gd name="T19" fmla="*/ 12 h 12"/>
                <a:gd name="T20" fmla="*/ 0 w 7"/>
                <a:gd name="T21" fmla="*/ 6 h 12"/>
                <a:gd name="T22" fmla="*/ 0 w 7"/>
                <a:gd name="T23" fmla="*/ 6 h 12"/>
                <a:gd name="T24" fmla="*/ 1 w 7"/>
                <a:gd name="T25" fmla="*/ 6 h 12"/>
                <a:gd name="T26" fmla="*/ 3 w 7"/>
                <a:gd name="T27" fmla="*/ 6 h 12"/>
                <a:gd name="T28" fmla="*/ 3 w 7"/>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2">
                  <a:moveTo>
                    <a:pt x="3" y="0"/>
                  </a:moveTo>
                  <a:lnTo>
                    <a:pt x="3" y="0"/>
                  </a:lnTo>
                  <a:lnTo>
                    <a:pt x="5" y="3"/>
                  </a:lnTo>
                  <a:lnTo>
                    <a:pt x="7" y="9"/>
                  </a:lnTo>
                  <a:lnTo>
                    <a:pt x="7" y="9"/>
                  </a:lnTo>
                  <a:lnTo>
                    <a:pt x="4" y="9"/>
                  </a:lnTo>
                  <a:lnTo>
                    <a:pt x="4" y="10"/>
                  </a:lnTo>
                  <a:lnTo>
                    <a:pt x="3" y="10"/>
                  </a:lnTo>
                  <a:lnTo>
                    <a:pt x="0" y="12"/>
                  </a:lnTo>
                  <a:lnTo>
                    <a:pt x="0" y="12"/>
                  </a:lnTo>
                  <a:lnTo>
                    <a:pt x="0" y="6"/>
                  </a:lnTo>
                  <a:lnTo>
                    <a:pt x="0" y="6"/>
                  </a:lnTo>
                  <a:lnTo>
                    <a:pt x="1" y="6"/>
                  </a:lnTo>
                  <a:lnTo>
                    <a:pt x="3" y="6"/>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 name="Freeform 47"/>
            <p:cNvSpPr/>
            <p:nvPr/>
          </p:nvSpPr>
          <p:spPr bwMode="auto">
            <a:xfrm>
              <a:off x="4750562" y="3438226"/>
              <a:ext cx="30720" cy="129012"/>
            </a:xfrm>
            <a:custGeom>
              <a:avLst/>
              <a:gdLst>
                <a:gd name="T0" fmla="*/ 7 w 8"/>
                <a:gd name="T1" fmla="*/ 0 h 41"/>
                <a:gd name="T2" fmla="*/ 7 w 8"/>
                <a:gd name="T3" fmla="*/ 0 h 41"/>
                <a:gd name="T4" fmla="*/ 8 w 8"/>
                <a:gd name="T5" fmla="*/ 11 h 41"/>
                <a:gd name="T6" fmla="*/ 8 w 8"/>
                <a:gd name="T7" fmla="*/ 11 h 41"/>
                <a:gd name="T8" fmla="*/ 8 w 8"/>
                <a:gd name="T9" fmla="*/ 21 h 41"/>
                <a:gd name="T10" fmla="*/ 8 w 8"/>
                <a:gd name="T11" fmla="*/ 21 h 41"/>
                <a:gd name="T12" fmla="*/ 7 w 8"/>
                <a:gd name="T13" fmla="*/ 31 h 41"/>
                <a:gd name="T14" fmla="*/ 7 w 8"/>
                <a:gd name="T15" fmla="*/ 31 h 41"/>
                <a:gd name="T16" fmla="*/ 4 w 8"/>
                <a:gd name="T17" fmla="*/ 41 h 41"/>
                <a:gd name="T18" fmla="*/ 4 w 8"/>
                <a:gd name="T19" fmla="*/ 41 h 41"/>
                <a:gd name="T20" fmla="*/ 0 w 8"/>
                <a:gd name="T21" fmla="*/ 37 h 41"/>
                <a:gd name="T22" fmla="*/ 0 w 8"/>
                <a:gd name="T23" fmla="*/ 31 h 41"/>
                <a:gd name="T24" fmla="*/ 0 w 8"/>
                <a:gd name="T25" fmla="*/ 31 h 41"/>
                <a:gd name="T26" fmla="*/ 0 w 8"/>
                <a:gd name="T27" fmla="*/ 26 h 41"/>
                <a:gd name="T28" fmla="*/ 1 w 8"/>
                <a:gd name="T29" fmla="*/ 21 h 41"/>
                <a:gd name="T30" fmla="*/ 1 w 8"/>
                <a:gd name="T31" fmla="*/ 21 h 41"/>
                <a:gd name="T32" fmla="*/ 7 w 8"/>
                <a:gd name="T33" fmla="*/ 11 h 41"/>
                <a:gd name="T34" fmla="*/ 7 w 8"/>
                <a:gd name="T35" fmla="*/ 11 h 41"/>
                <a:gd name="T36" fmla="*/ 7 w 8"/>
                <a:gd name="T37" fmla="*/ 6 h 41"/>
                <a:gd name="T38" fmla="*/ 7 w 8"/>
                <a:gd name="T3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41">
                  <a:moveTo>
                    <a:pt x="7" y="0"/>
                  </a:moveTo>
                  <a:lnTo>
                    <a:pt x="7" y="0"/>
                  </a:lnTo>
                  <a:lnTo>
                    <a:pt x="8" y="11"/>
                  </a:lnTo>
                  <a:lnTo>
                    <a:pt x="8" y="11"/>
                  </a:lnTo>
                  <a:lnTo>
                    <a:pt x="8" y="21"/>
                  </a:lnTo>
                  <a:lnTo>
                    <a:pt x="8" y="21"/>
                  </a:lnTo>
                  <a:lnTo>
                    <a:pt x="7" y="31"/>
                  </a:lnTo>
                  <a:lnTo>
                    <a:pt x="7" y="31"/>
                  </a:lnTo>
                  <a:lnTo>
                    <a:pt x="4" y="41"/>
                  </a:lnTo>
                  <a:lnTo>
                    <a:pt x="4" y="41"/>
                  </a:lnTo>
                  <a:lnTo>
                    <a:pt x="0" y="37"/>
                  </a:lnTo>
                  <a:lnTo>
                    <a:pt x="0" y="31"/>
                  </a:lnTo>
                  <a:lnTo>
                    <a:pt x="0" y="31"/>
                  </a:lnTo>
                  <a:lnTo>
                    <a:pt x="0" y="26"/>
                  </a:lnTo>
                  <a:lnTo>
                    <a:pt x="1" y="21"/>
                  </a:lnTo>
                  <a:lnTo>
                    <a:pt x="1" y="21"/>
                  </a:lnTo>
                  <a:lnTo>
                    <a:pt x="7" y="11"/>
                  </a:lnTo>
                  <a:lnTo>
                    <a:pt x="7" y="11"/>
                  </a:lnTo>
                  <a:lnTo>
                    <a:pt x="7" y="6"/>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 name="Freeform 48"/>
            <p:cNvSpPr/>
            <p:nvPr/>
          </p:nvSpPr>
          <p:spPr bwMode="auto">
            <a:xfrm>
              <a:off x="4750562" y="3438226"/>
              <a:ext cx="30720" cy="129012"/>
            </a:xfrm>
            <a:custGeom>
              <a:avLst/>
              <a:gdLst>
                <a:gd name="T0" fmla="*/ 7 w 8"/>
                <a:gd name="T1" fmla="*/ 0 h 41"/>
                <a:gd name="T2" fmla="*/ 7 w 8"/>
                <a:gd name="T3" fmla="*/ 0 h 41"/>
                <a:gd name="T4" fmla="*/ 8 w 8"/>
                <a:gd name="T5" fmla="*/ 11 h 41"/>
                <a:gd name="T6" fmla="*/ 8 w 8"/>
                <a:gd name="T7" fmla="*/ 11 h 41"/>
                <a:gd name="T8" fmla="*/ 8 w 8"/>
                <a:gd name="T9" fmla="*/ 21 h 41"/>
                <a:gd name="T10" fmla="*/ 8 w 8"/>
                <a:gd name="T11" fmla="*/ 21 h 41"/>
                <a:gd name="T12" fmla="*/ 7 w 8"/>
                <a:gd name="T13" fmla="*/ 31 h 41"/>
                <a:gd name="T14" fmla="*/ 7 w 8"/>
                <a:gd name="T15" fmla="*/ 31 h 41"/>
                <a:gd name="T16" fmla="*/ 4 w 8"/>
                <a:gd name="T17" fmla="*/ 41 h 41"/>
                <a:gd name="T18" fmla="*/ 4 w 8"/>
                <a:gd name="T19" fmla="*/ 41 h 41"/>
                <a:gd name="T20" fmla="*/ 0 w 8"/>
                <a:gd name="T21" fmla="*/ 37 h 41"/>
                <a:gd name="T22" fmla="*/ 0 w 8"/>
                <a:gd name="T23" fmla="*/ 31 h 41"/>
                <a:gd name="T24" fmla="*/ 0 w 8"/>
                <a:gd name="T25" fmla="*/ 31 h 41"/>
                <a:gd name="T26" fmla="*/ 0 w 8"/>
                <a:gd name="T27" fmla="*/ 26 h 41"/>
                <a:gd name="T28" fmla="*/ 1 w 8"/>
                <a:gd name="T29" fmla="*/ 21 h 41"/>
                <a:gd name="T30" fmla="*/ 1 w 8"/>
                <a:gd name="T31" fmla="*/ 21 h 41"/>
                <a:gd name="T32" fmla="*/ 7 w 8"/>
                <a:gd name="T33" fmla="*/ 11 h 41"/>
                <a:gd name="T34" fmla="*/ 7 w 8"/>
                <a:gd name="T35" fmla="*/ 11 h 41"/>
                <a:gd name="T36" fmla="*/ 7 w 8"/>
                <a:gd name="T37" fmla="*/ 6 h 41"/>
                <a:gd name="T38" fmla="*/ 7 w 8"/>
                <a:gd name="T3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41">
                  <a:moveTo>
                    <a:pt x="7" y="0"/>
                  </a:moveTo>
                  <a:lnTo>
                    <a:pt x="7" y="0"/>
                  </a:lnTo>
                  <a:lnTo>
                    <a:pt x="8" y="11"/>
                  </a:lnTo>
                  <a:lnTo>
                    <a:pt x="8" y="11"/>
                  </a:lnTo>
                  <a:lnTo>
                    <a:pt x="8" y="21"/>
                  </a:lnTo>
                  <a:lnTo>
                    <a:pt x="8" y="21"/>
                  </a:lnTo>
                  <a:lnTo>
                    <a:pt x="7" y="31"/>
                  </a:lnTo>
                  <a:lnTo>
                    <a:pt x="7" y="31"/>
                  </a:lnTo>
                  <a:lnTo>
                    <a:pt x="4" y="41"/>
                  </a:lnTo>
                  <a:lnTo>
                    <a:pt x="4" y="41"/>
                  </a:lnTo>
                  <a:lnTo>
                    <a:pt x="0" y="37"/>
                  </a:lnTo>
                  <a:lnTo>
                    <a:pt x="0" y="31"/>
                  </a:lnTo>
                  <a:lnTo>
                    <a:pt x="0" y="31"/>
                  </a:lnTo>
                  <a:lnTo>
                    <a:pt x="0" y="26"/>
                  </a:lnTo>
                  <a:lnTo>
                    <a:pt x="1" y="21"/>
                  </a:lnTo>
                  <a:lnTo>
                    <a:pt x="1" y="21"/>
                  </a:lnTo>
                  <a:lnTo>
                    <a:pt x="7" y="11"/>
                  </a:lnTo>
                  <a:lnTo>
                    <a:pt x="7" y="11"/>
                  </a:lnTo>
                  <a:lnTo>
                    <a:pt x="7" y="6"/>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 name="Freeform 49"/>
            <p:cNvSpPr/>
            <p:nvPr/>
          </p:nvSpPr>
          <p:spPr bwMode="auto">
            <a:xfrm>
              <a:off x="5610657" y="3419797"/>
              <a:ext cx="12287" cy="24574"/>
            </a:xfrm>
            <a:custGeom>
              <a:avLst/>
              <a:gdLst>
                <a:gd name="T0" fmla="*/ 0 w 6"/>
                <a:gd name="T1" fmla="*/ 0 h 7"/>
                <a:gd name="T2" fmla="*/ 0 w 6"/>
                <a:gd name="T3" fmla="*/ 0 h 7"/>
                <a:gd name="T4" fmla="*/ 3 w 6"/>
                <a:gd name="T5" fmla="*/ 0 h 7"/>
                <a:gd name="T6" fmla="*/ 4 w 6"/>
                <a:gd name="T7" fmla="*/ 0 h 7"/>
                <a:gd name="T8" fmla="*/ 6 w 6"/>
                <a:gd name="T9" fmla="*/ 3 h 7"/>
                <a:gd name="T10" fmla="*/ 4 w 6"/>
                <a:gd name="T11" fmla="*/ 7 h 7"/>
                <a:gd name="T12" fmla="*/ 3 w 6"/>
                <a:gd name="T13" fmla="*/ 7 h 7"/>
                <a:gd name="T14" fmla="*/ 1 w 6"/>
                <a:gd name="T15" fmla="*/ 7 h 7"/>
                <a:gd name="T16" fmla="*/ 1 w 6"/>
                <a:gd name="T17" fmla="*/ 7 h 7"/>
                <a:gd name="T18" fmla="*/ 0 w 6"/>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0" y="0"/>
                  </a:moveTo>
                  <a:lnTo>
                    <a:pt x="0" y="0"/>
                  </a:lnTo>
                  <a:lnTo>
                    <a:pt x="3" y="0"/>
                  </a:lnTo>
                  <a:lnTo>
                    <a:pt x="4" y="0"/>
                  </a:lnTo>
                  <a:lnTo>
                    <a:pt x="6" y="3"/>
                  </a:lnTo>
                  <a:lnTo>
                    <a:pt x="4" y="7"/>
                  </a:lnTo>
                  <a:lnTo>
                    <a:pt x="3" y="7"/>
                  </a:lnTo>
                  <a:lnTo>
                    <a:pt x="1" y="7"/>
                  </a:lnTo>
                  <a:lnTo>
                    <a:pt x="1" y="7"/>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1" name="Freeform 50"/>
            <p:cNvSpPr/>
            <p:nvPr/>
          </p:nvSpPr>
          <p:spPr bwMode="auto">
            <a:xfrm>
              <a:off x="5610657" y="3419797"/>
              <a:ext cx="12287" cy="24574"/>
            </a:xfrm>
            <a:custGeom>
              <a:avLst/>
              <a:gdLst>
                <a:gd name="T0" fmla="*/ 0 w 6"/>
                <a:gd name="T1" fmla="*/ 0 h 7"/>
                <a:gd name="T2" fmla="*/ 0 w 6"/>
                <a:gd name="T3" fmla="*/ 0 h 7"/>
                <a:gd name="T4" fmla="*/ 3 w 6"/>
                <a:gd name="T5" fmla="*/ 0 h 7"/>
                <a:gd name="T6" fmla="*/ 4 w 6"/>
                <a:gd name="T7" fmla="*/ 0 h 7"/>
                <a:gd name="T8" fmla="*/ 6 w 6"/>
                <a:gd name="T9" fmla="*/ 3 h 7"/>
                <a:gd name="T10" fmla="*/ 4 w 6"/>
                <a:gd name="T11" fmla="*/ 7 h 7"/>
                <a:gd name="T12" fmla="*/ 3 w 6"/>
                <a:gd name="T13" fmla="*/ 7 h 7"/>
                <a:gd name="T14" fmla="*/ 1 w 6"/>
                <a:gd name="T15" fmla="*/ 7 h 7"/>
                <a:gd name="T16" fmla="*/ 1 w 6"/>
                <a:gd name="T17" fmla="*/ 7 h 7"/>
                <a:gd name="T18" fmla="*/ 0 w 6"/>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0" y="0"/>
                  </a:moveTo>
                  <a:lnTo>
                    <a:pt x="0" y="0"/>
                  </a:lnTo>
                  <a:lnTo>
                    <a:pt x="3" y="0"/>
                  </a:lnTo>
                  <a:lnTo>
                    <a:pt x="4" y="0"/>
                  </a:lnTo>
                  <a:lnTo>
                    <a:pt x="6" y="3"/>
                  </a:lnTo>
                  <a:lnTo>
                    <a:pt x="4" y="7"/>
                  </a:lnTo>
                  <a:lnTo>
                    <a:pt x="3" y="7"/>
                  </a:lnTo>
                  <a:lnTo>
                    <a:pt x="1" y="7"/>
                  </a:lnTo>
                  <a:lnTo>
                    <a:pt x="1" y="7"/>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2" name="Freeform 51"/>
            <p:cNvSpPr/>
            <p:nvPr/>
          </p:nvSpPr>
          <p:spPr bwMode="auto">
            <a:xfrm>
              <a:off x="5813395" y="3450513"/>
              <a:ext cx="12287" cy="43003"/>
            </a:xfrm>
            <a:custGeom>
              <a:avLst/>
              <a:gdLst>
                <a:gd name="T0" fmla="*/ 1 w 4"/>
                <a:gd name="T1" fmla="*/ 0 h 13"/>
                <a:gd name="T2" fmla="*/ 1 w 4"/>
                <a:gd name="T3" fmla="*/ 0 h 13"/>
                <a:gd name="T4" fmla="*/ 4 w 4"/>
                <a:gd name="T5" fmla="*/ 2 h 13"/>
                <a:gd name="T6" fmla="*/ 4 w 4"/>
                <a:gd name="T7" fmla="*/ 6 h 13"/>
                <a:gd name="T8" fmla="*/ 3 w 4"/>
                <a:gd name="T9" fmla="*/ 13 h 13"/>
                <a:gd name="T10" fmla="*/ 3 w 4"/>
                <a:gd name="T11" fmla="*/ 13 h 13"/>
                <a:gd name="T12" fmla="*/ 0 w 4"/>
                <a:gd name="T13" fmla="*/ 10 h 13"/>
                <a:gd name="T14" fmla="*/ 1 w 4"/>
                <a:gd name="T15" fmla="*/ 7 h 13"/>
                <a:gd name="T16" fmla="*/ 1 w 4"/>
                <a:gd name="T17" fmla="*/ 3 h 13"/>
                <a:gd name="T18" fmla="*/ 1 w 4"/>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3">
                  <a:moveTo>
                    <a:pt x="1" y="0"/>
                  </a:moveTo>
                  <a:lnTo>
                    <a:pt x="1" y="0"/>
                  </a:lnTo>
                  <a:lnTo>
                    <a:pt x="4" y="2"/>
                  </a:lnTo>
                  <a:lnTo>
                    <a:pt x="4" y="6"/>
                  </a:lnTo>
                  <a:lnTo>
                    <a:pt x="3" y="13"/>
                  </a:lnTo>
                  <a:lnTo>
                    <a:pt x="3" y="13"/>
                  </a:lnTo>
                  <a:lnTo>
                    <a:pt x="0" y="10"/>
                  </a:lnTo>
                  <a:lnTo>
                    <a:pt x="1" y="7"/>
                  </a:lnTo>
                  <a:lnTo>
                    <a:pt x="1" y="3"/>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3" name="Freeform 52"/>
            <p:cNvSpPr/>
            <p:nvPr/>
          </p:nvSpPr>
          <p:spPr bwMode="auto">
            <a:xfrm>
              <a:off x="5813395" y="3450513"/>
              <a:ext cx="12287" cy="43003"/>
            </a:xfrm>
            <a:custGeom>
              <a:avLst/>
              <a:gdLst>
                <a:gd name="T0" fmla="*/ 1 w 4"/>
                <a:gd name="T1" fmla="*/ 0 h 13"/>
                <a:gd name="T2" fmla="*/ 1 w 4"/>
                <a:gd name="T3" fmla="*/ 0 h 13"/>
                <a:gd name="T4" fmla="*/ 4 w 4"/>
                <a:gd name="T5" fmla="*/ 2 h 13"/>
                <a:gd name="T6" fmla="*/ 4 w 4"/>
                <a:gd name="T7" fmla="*/ 6 h 13"/>
                <a:gd name="T8" fmla="*/ 3 w 4"/>
                <a:gd name="T9" fmla="*/ 13 h 13"/>
                <a:gd name="T10" fmla="*/ 3 w 4"/>
                <a:gd name="T11" fmla="*/ 13 h 13"/>
                <a:gd name="T12" fmla="*/ 0 w 4"/>
                <a:gd name="T13" fmla="*/ 10 h 13"/>
                <a:gd name="T14" fmla="*/ 1 w 4"/>
                <a:gd name="T15" fmla="*/ 7 h 13"/>
                <a:gd name="T16" fmla="*/ 1 w 4"/>
                <a:gd name="T17" fmla="*/ 3 h 13"/>
                <a:gd name="T18" fmla="*/ 1 w 4"/>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3">
                  <a:moveTo>
                    <a:pt x="1" y="0"/>
                  </a:moveTo>
                  <a:lnTo>
                    <a:pt x="1" y="0"/>
                  </a:lnTo>
                  <a:lnTo>
                    <a:pt x="4" y="2"/>
                  </a:lnTo>
                  <a:lnTo>
                    <a:pt x="4" y="6"/>
                  </a:lnTo>
                  <a:lnTo>
                    <a:pt x="3" y="13"/>
                  </a:lnTo>
                  <a:lnTo>
                    <a:pt x="3" y="13"/>
                  </a:lnTo>
                  <a:lnTo>
                    <a:pt x="0" y="10"/>
                  </a:lnTo>
                  <a:lnTo>
                    <a:pt x="1" y="7"/>
                  </a:lnTo>
                  <a:lnTo>
                    <a:pt x="1" y="3"/>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 name="Freeform 53"/>
            <p:cNvSpPr/>
            <p:nvPr/>
          </p:nvSpPr>
          <p:spPr bwMode="auto">
            <a:xfrm>
              <a:off x="5610657" y="3518093"/>
              <a:ext cx="12287" cy="36861"/>
            </a:xfrm>
            <a:custGeom>
              <a:avLst/>
              <a:gdLst>
                <a:gd name="T0" fmla="*/ 2 w 5"/>
                <a:gd name="T1" fmla="*/ 0 h 11"/>
                <a:gd name="T2" fmla="*/ 2 w 5"/>
                <a:gd name="T3" fmla="*/ 0 h 11"/>
                <a:gd name="T4" fmla="*/ 3 w 5"/>
                <a:gd name="T5" fmla="*/ 4 h 11"/>
                <a:gd name="T6" fmla="*/ 5 w 5"/>
                <a:gd name="T7" fmla="*/ 11 h 11"/>
                <a:gd name="T8" fmla="*/ 5 w 5"/>
                <a:gd name="T9" fmla="*/ 11 h 11"/>
                <a:gd name="T10" fmla="*/ 2 w 5"/>
                <a:gd name="T11" fmla="*/ 11 h 11"/>
                <a:gd name="T12" fmla="*/ 2 w 5"/>
                <a:gd name="T13" fmla="*/ 10 h 11"/>
                <a:gd name="T14" fmla="*/ 0 w 5"/>
                <a:gd name="T15" fmla="*/ 7 h 11"/>
                <a:gd name="T16" fmla="*/ 2 w 5"/>
                <a:gd name="T17" fmla="*/ 2 h 11"/>
                <a:gd name="T18" fmla="*/ 2 w 5"/>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1">
                  <a:moveTo>
                    <a:pt x="2" y="0"/>
                  </a:moveTo>
                  <a:lnTo>
                    <a:pt x="2" y="0"/>
                  </a:lnTo>
                  <a:lnTo>
                    <a:pt x="3" y="4"/>
                  </a:lnTo>
                  <a:lnTo>
                    <a:pt x="5" y="11"/>
                  </a:lnTo>
                  <a:lnTo>
                    <a:pt x="5" y="11"/>
                  </a:lnTo>
                  <a:lnTo>
                    <a:pt x="2" y="11"/>
                  </a:lnTo>
                  <a:lnTo>
                    <a:pt x="2" y="10"/>
                  </a:lnTo>
                  <a:lnTo>
                    <a:pt x="0" y="7"/>
                  </a:lnTo>
                  <a:lnTo>
                    <a:pt x="2" y="2"/>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 name="Freeform 54"/>
            <p:cNvSpPr/>
            <p:nvPr/>
          </p:nvSpPr>
          <p:spPr bwMode="auto">
            <a:xfrm>
              <a:off x="5610657" y="3518093"/>
              <a:ext cx="12287" cy="36861"/>
            </a:xfrm>
            <a:custGeom>
              <a:avLst/>
              <a:gdLst>
                <a:gd name="T0" fmla="*/ 2 w 5"/>
                <a:gd name="T1" fmla="*/ 0 h 11"/>
                <a:gd name="T2" fmla="*/ 2 w 5"/>
                <a:gd name="T3" fmla="*/ 0 h 11"/>
                <a:gd name="T4" fmla="*/ 3 w 5"/>
                <a:gd name="T5" fmla="*/ 4 h 11"/>
                <a:gd name="T6" fmla="*/ 5 w 5"/>
                <a:gd name="T7" fmla="*/ 11 h 11"/>
                <a:gd name="T8" fmla="*/ 5 w 5"/>
                <a:gd name="T9" fmla="*/ 11 h 11"/>
                <a:gd name="T10" fmla="*/ 2 w 5"/>
                <a:gd name="T11" fmla="*/ 11 h 11"/>
                <a:gd name="T12" fmla="*/ 2 w 5"/>
                <a:gd name="T13" fmla="*/ 10 h 11"/>
                <a:gd name="T14" fmla="*/ 0 w 5"/>
                <a:gd name="T15" fmla="*/ 7 h 11"/>
                <a:gd name="T16" fmla="*/ 2 w 5"/>
                <a:gd name="T17" fmla="*/ 2 h 11"/>
                <a:gd name="T18" fmla="*/ 2 w 5"/>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1">
                  <a:moveTo>
                    <a:pt x="2" y="0"/>
                  </a:moveTo>
                  <a:lnTo>
                    <a:pt x="2" y="0"/>
                  </a:lnTo>
                  <a:lnTo>
                    <a:pt x="3" y="4"/>
                  </a:lnTo>
                  <a:lnTo>
                    <a:pt x="5" y="11"/>
                  </a:lnTo>
                  <a:lnTo>
                    <a:pt x="5" y="11"/>
                  </a:lnTo>
                  <a:lnTo>
                    <a:pt x="2" y="11"/>
                  </a:lnTo>
                  <a:lnTo>
                    <a:pt x="2" y="10"/>
                  </a:lnTo>
                  <a:lnTo>
                    <a:pt x="0" y="7"/>
                  </a:lnTo>
                  <a:lnTo>
                    <a:pt x="2" y="2"/>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6" name="Freeform 55"/>
            <p:cNvSpPr/>
            <p:nvPr/>
          </p:nvSpPr>
          <p:spPr bwMode="auto">
            <a:xfrm>
              <a:off x="5665950" y="3579529"/>
              <a:ext cx="18433" cy="36861"/>
            </a:xfrm>
            <a:custGeom>
              <a:avLst/>
              <a:gdLst>
                <a:gd name="T0" fmla="*/ 1 w 4"/>
                <a:gd name="T1" fmla="*/ 1 h 11"/>
                <a:gd name="T2" fmla="*/ 1 w 4"/>
                <a:gd name="T3" fmla="*/ 1 h 11"/>
                <a:gd name="T4" fmla="*/ 1 w 4"/>
                <a:gd name="T5" fmla="*/ 0 h 11"/>
                <a:gd name="T6" fmla="*/ 3 w 4"/>
                <a:gd name="T7" fmla="*/ 0 h 11"/>
                <a:gd name="T8" fmla="*/ 4 w 4"/>
                <a:gd name="T9" fmla="*/ 4 h 11"/>
                <a:gd name="T10" fmla="*/ 4 w 4"/>
                <a:gd name="T11" fmla="*/ 4 h 11"/>
                <a:gd name="T12" fmla="*/ 3 w 4"/>
                <a:gd name="T13" fmla="*/ 10 h 11"/>
                <a:gd name="T14" fmla="*/ 3 w 4"/>
                <a:gd name="T15" fmla="*/ 11 h 11"/>
                <a:gd name="T16" fmla="*/ 0 w 4"/>
                <a:gd name="T17" fmla="*/ 10 h 11"/>
                <a:gd name="T18" fmla="*/ 0 w 4"/>
                <a:gd name="T19" fmla="*/ 10 h 11"/>
                <a:gd name="T20" fmla="*/ 0 w 4"/>
                <a:gd name="T21" fmla="*/ 7 h 11"/>
                <a:gd name="T22" fmla="*/ 1 w 4"/>
                <a:gd name="T23" fmla="*/ 5 h 11"/>
                <a:gd name="T24" fmla="*/ 3 w 4"/>
                <a:gd name="T25" fmla="*/ 2 h 11"/>
                <a:gd name="T26" fmla="*/ 1 w 4"/>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11">
                  <a:moveTo>
                    <a:pt x="1" y="1"/>
                  </a:moveTo>
                  <a:lnTo>
                    <a:pt x="1" y="1"/>
                  </a:lnTo>
                  <a:lnTo>
                    <a:pt x="1" y="0"/>
                  </a:lnTo>
                  <a:lnTo>
                    <a:pt x="3" y="0"/>
                  </a:lnTo>
                  <a:lnTo>
                    <a:pt x="4" y="4"/>
                  </a:lnTo>
                  <a:lnTo>
                    <a:pt x="4" y="4"/>
                  </a:lnTo>
                  <a:lnTo>
                    <a:pt x="3" y="10"/>
                  </a:lnTo>
                  <a:lnTo>
                    <a:pt x="3" y="11"/>
                  </a:lnTo>
                  <a:lnTo>
                    <a:pt x="0" y="10"/>
                  </a:lnTo>
                  <a:lnTo>
                    <a:pt x="0" y="10"/>
                  </a:lnTo>
                  <a:lnTo>
                    <a:pt x="0" y="7"/>
                  </a:lnTo>
                  <a:lnTo>
                    <a:pt x="1" y="5"/>
                  </a:lnTo>
                  <a:lnTo>
                    <a:pt x="3" y="2"/>
                  </a:lnTo>
                  <a:lnTo>
                    <a:pt x="1"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 name="Freeform 56"/>
            <p:cNvSpPr/>
            <p:nvPr/>
          </p:nvSpPr>
          <p:spPr bwMode="auto">
            <a:xfrm>
              <a:off x="5665950" y="3579529"/>
              <a:ext cx="18433" cy="36861"/>
            </a:xfrm>
            <a:custGeom>
              <a:avLst/>
              <a:gdLst>
                <a:gd name="T0" fmla="*/ 1 w 4"/>
                <a:gd name="T1" fmla="*/ 1 h 11"/>
                <a:gd name="T2" fmla="*/ 1 w 4"/>
                <a:gd name="T3" fmla="*/ 1 h 11"/>
                <a:gd name="T4" fmla="*/ 1 w 4"/>
                <a:gd name="T5" fmla="*/ 0 h 11"/>
                <a:gd name="T6" fmla="*/ 3 w 4"/>
                <a:gd name="T7" fmla="*/ 0 h 11"/>
                <a:gd name="T8" fmla="*/ 4 w 4"/>
                <a:gd name="T9" fmla="*/ 4 h 11"/>
                <a:gd name="T10" fmla="*/ 4 w 4"/>
                <a:gd name="T11" fmla="*/ 4 h 11"/>
                <a:gd name="T12" fmla="*/ 3 w 4"/>
                <a:gd name="T13" fmla="*/ 10 h 11"/>
                <a:gd name="T14" fmla="*/ 3 w 4"/>
                <a:gd name="T15" fmla="*/ 11 h 11"/>
                <a:gd name="T16" fmla="*/ 0 w 4"/>
                <a:gd name="T17" fmla="*/ 10 h 11"/>
                <a:gd name="T18" fmla="*/ 0 w 4"/>
                <a:gd name="T19" fmla="*/ 10 h 11"/>
                <a:gd name="T20" fmla="*/ 0 w 4"/>
                <a:gd name="T21" fmla="*/ 7 h 11"/>
                <a:gd name="T22" fmla="*/ 1 w 4"/>
                <a:gd name="T23" fmla="*/ 5 h 11"/>
                <a:gd name="T24" fmla="*/ 3 w 4"/>
                <a:gd name="T25" fmla="*/ 2 h 11"/>
                <a:gd name="T26" fmla="*/ 1 w 4"/>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11">
                  <a:moveTo>
                    <a:pt x="1" y="1"/>
                  </a:moveTo>
                  <a:lnTo>
                    <a:pt x="1" y="1"/>
                  </a:lnTo>
                  <a:lnTo>
                    <a:pt x="1" y="0"/>
                  </a:lnTo>
                  <a:lnTo>
                    <a:pt x="3" y="0"/>
                  </a:lnTo>
                  <a:lnTo>
                    <a:pt x="4" y="4"/>
                  </a:lnTo>
                  <a:lnTo>
                    <a:pt x="4" y="4"/>
                  </a:lnTo>
                  <a:lnTo>
                    <a:pt x="3" y="10"/>
                  </a:lnTo>
                  <a:lnTo>
                    <a:pt x="3" y="11"/>
                  </a:lnTo>
                  <a:lnTo>
                    <a:pt x="0" y="10"/>
                  </a:lnTo>
                  <a:lnTo>
                    <a:pt x="0" y="10"/>
                  </a:lnTo>
                  <a:lnTo>
                    <a:pt x="0" y="7"/>
                  </a:lnTo>
                  <a:lnTo>
                    <a:pt x="1" y="5"/>
                  </a:lnTo>
                  <a:lnTo>
                    <a:pt x="3" y="2"/>
                  </a:lnTo>
                  <a:lnTo>
                    <a:pt x="1"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 name="Freeform 57"/>
            <p:cNvSpPr/>
            <p:nvPr/>
          </p:nvSpPr>
          <p:spPr bwMode="auto">
            <a:xfrm>
              <a:off x="5665950" y="3622532"/>
              <a:ext cx="12287" cy="36861"/>
            </a:xfrm>
            <a:custGeom>
              <a:avLst/>
              <a:gdLst>
                <a:gd name="T0" fmla="*/ 1 w 4"/>
                <a:gd name="T1" fmla="*/ 0 h 13"/>
                <a:gd name="T2" fmla="*/ 1 w 4"/>
                <a:gd name="T3" fmla="*/ 0 h 13"/>
                <a:gd name="T4" fmla="*/ 2 w 4"/>
                <a:gd name="T5" fmla="*/ 0 h 13"/>
                <a:gd name="T6" fmla="*/ 4 w 4"/>
                <a:gd name="T7" fmla="*/ 1 h 13"/>
                <a:gd name="T8" fmla="*/ 4 w 4"/>
                <a:gd name="T9" fmla="*/ 7 h 13"/>
                <a:gd name="T10" fmla="*/ 4 w 4"/>
                <a:gd name="T11" fmla="*/ 11 h 13"/>
                <a:gd name="T12" fmla="*/ 2 w 4"/>
                <a:gd name="T13" fmla="*/ 13 h 13"/>
                <a:gd name="T14" fmla="*/ 0 w 4"/>
                <a:gd name="T15" fmla="*/ 13 h 13"/>
                <a:gd name="T16" fmla="*/ 0 w 4"/>
                <a:gd name="T17" fmla="*/ 13 h 13"/>
                <a:gd name="T18" fmla="*/ 1 w 4"/>
                <a:gd name="T19" fmla="*/ 10 h 13"/>
                <a:gd name="T20" fmla="*/ 1 w 4"/>
                <a:gd name="T21" fmla="*/ 7 h 13"/>
                <a:gd name="T22" fmla="*/ 1 w 4"/>
                <a:gd name="T23" fmla="*/ 4 h 13"/>
                <a:gd name="T24" fmla="*/ 1 w 4"/>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3">
                  <a:moveTo>
                    <a:pt x="1" y="0"/>
                  </a:moveTo>
                  <a:lnTo>
                    <a:pt x="1" y="0"/>
                  </a:lnTo>
                  <a:lnTo>
                    <a:pt x="2" y="0"/>
                  </a:lnTo>
                  <a:lnTo>
                    <a:pt x="4" y="1"/>
                  </a:lnTo>
                  <a:lnTo>
                    <a:pt x="4" y="7"/>
                  </a:lnTo>
                  <a:lnTo>
                    <a:pt x="4" y="11"/>
                  </a:lnTo>
                  <a:lnTo>
                    <a:pt x="2" y="13"/>
                  </a:lnTo>
                  <a:lnTo>
                    <a:pt x="0" y="13"/>
                  </a:lnTo>
                  <a:lnTo>
                    <a:pt x="0" y="13"/>
                  </a:lnTo>
                  <a:lnTo>
                    <a:pt x="1" y="10"/>
                  </a:lnTo>
                  <a:lnTo>
                    <a:pt x="1" y="7"/>
                  </a:lnTo>
                  <a:lnTo>
                    <a:pt x="1" y="4"/>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 name="Freeform 58"/>
            <p:cNvSpPr/>
            <p:nvPr/>
          </p:nvSpPr>
          <p:spPr bwMode="auto">
            <a:xfrm>
              <a:off x="5665950" y="3622532"/>
              <a:ext cx="12287" cy="36861"/>
            </a:xfrm>
            <a:custGeom>
              <a:avLst/>
              <a:gdLst>
                <a:gd name="T0" fmla="*/ 1 w 4"/>
                <a:gd name="T1" fmla="*/ 0 h 13"/>
                <a:gd name="T2" fmla="*/ 1 w 4"/>
                <a:gd name="T3" fmla="*/ 0 h 13"/>
                <a:gd name="T4" fmla="*/ 2 w 4"/>
                <a:gd name="T5" fmla="*/ 0 h 13"/>
                <a:gd name="T6" fmla="*/ 4 w 4"/>
                <a:gd name="T7" fmla="*/ 1 h 13"/>
                <a:gd name="T8" fmla="*/ 4 w 4"/>
                <a:gd name="T9" fmla="*/ 7 h 13"/>
                <a:gd name="T10" fmla="*/ 4 w 4"/>
                <a:gd name="T11" fmla="*/ 11 h 13"/>
                <a:gd name="T12" fmla="*/ 2 w 4"/>
                <a:gd name="T13" fmla="*/ 13 h 13"/>
                <a:gd name="T14" fmla="*/ 0 w 4"/>
                <a:gd name="T15" fmla="*/ 13 h 13"/>
                <a:gd name="T16" fmla="*/ 0 w 4"/>
                <a:gd name="T17" fmla="*/ 13 h 13"/>
                <a:gd name="T18" fmla="*/ 1 w 4"/>
                <a:gd name="T19" fmla="*/ 10 h 13"/>
                <a:gd name="T20" fmla="*/ 1 w 4"/>
                <a:gd name="T21" fmla="*/ 7 h 13"/>
                <a:gd name="T22" fmla="*/ 1 w 4"/>
                <a:gd name="T23" fmla="*/ 4 h 13"/>
                <a:gd name="T24" fmla="*/ 1 w 4"/>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3">
                  <a:moveTo>
                    <a:pt x="1" y="0"/>
                  </a:moveTo>
                  <a:lnTo>
                    <a:pt x="1" y="0"/>
                  </a:lnTo>
                  <a:lnTo>
                    <a:pt x="2" y="0"/>
                  </a:lnTo>
                  <a:lnTo>
                    <a:pt x="4" y="1"/>
                  </a:lnTo>
                  <a:lnTo>
                    <a:pt x="4" y="7"/>
                  </a:lnTo>
                  <a:lnTo>
                    <a:pt x="4" y="11"/>
                  </a:lnTo>
                  <a:lnTo>
                    <a:pt x="2" y="13"/>
                  </a:lnTo>
                  <a:lnTo>
                    <a:pt x="0" y="13"/>
                  </a:lnTo>
                  <a:lnTo>
                    <a:pt x="0" y="13"/>
                  </a:lnTo>
                  <a:lnTo>
                    <a:pt x="1" y="10"/>
                  </a:lnTo>
                  <a:lnTo>
                    <a:pt x="1" y="7"/>
                  </a:lnTo>
                  <a:lnTo>
                    <a:pt x="1" y="4"/>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 name="Freeform 59"/>
            <p:cNvSpPr/>
            <p:nvPr/>
          </p:nvSpPr>
          <p:spPr bwMode="auto">
            <a:xfrm>
              <a:off x="4750562" y="3567242"/>
              <a:ext cx="24574" cy="36861"/>
            </a:xfrm>
            <a:custGeom>
              <a:avLst/>
              <a:gdLst>
                <a:gd name="T0" fmla="*/ 2 w 9"/>
                <a:gd name="T1" fmla="*/ 0 h 11"/>
                <a:gd name="T2" fmla="*/ 2 w 9"/>
                <a:gd name="T3" fmla="*/ 0 h 11"/>
                <a:gd name="T4" fmla="*/ 5 w 9"/>
                <a:gd name="T5" fmla="*/ 1 h 11"/>
                <a:gd name="T6" fmla="*/ 6 w 9"/>
                <a:gd name="T7" fmla="*/ 3 h 11"/>
                <a:gd name="T8" fmla="*/ 6 w 9"/>
                <a:gd name="T9" fmla="*/ 5 h 11"/>
                <a:gd name="T10" fmla="*/ 9 w 9"/>
                <a:gd name="T11" fmla="*/ 7 h 11"/>
                <a:gd name="T12" fmla="*/ 9 w 9"/>
                <a:gd name="T13" fmla="*/ 7 h 11"/>
                <a:gd name="T14" fmla="*/ 8 w 9"/>
                <a:gd name="T15" fmla="*/ 10 h 11"/>
                <a:gd name="T16" fmla="*/ 5 w 9"/>
                <a:gd name="T17" fmla="*/ 11 h 11"/>
                <a:gd name="T18" fmla="*/ 2 w 9"/>
                <a:gd name="T19" fmla="*/ 11 h 11"/>
                <a:gd name="T20" fmla="*/ 2 w 9"/>
                <a:gd name="T21" fmla="*/ 11 h 11"/>
                <a:gd name="T22" fmla="*/ 0 w 9"/>
                <a:gd name="T23" fmla="*/ 8 h 11"/>
                <a:gd name="T24" fmla="*/ 2 w 9"/>
                <a:gd name="T25" fmla="*/ 5 h 11"/>
                <a:gd name="T26" fmla="*/ 2 w 9"/>
                <a:gd name="T27" fmla="*/ 3 h 11"/>
                <a:gd name="T28" fmla="*/ 2 w 9"/>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1">
                  <a:moveTo>
                    <a:pt x="2" y="0"/>
                  </a:moveTo>
                  <a:lnTo>
                    <a:pt x="2" y="0"/>
                  </a:lnTo>
                  <a:lnTo>
                    <a:pt x="5" y="1"/>
                  </a:lnTo>
                  <a:lnTo>
                    <a:pt x="6" y="3"/>
                  </a:lnTo>
                  <a:lnTo>
                    <a:pt x="6" y="5"/>
                  </a:lnTo>
                  <a:lnTo>
                    <a:pt x="9" y="7"/>
                  </a:lnTo>
                  <a:lnTo>
                    <a:pt x="9" y="7"/>
                  </a:lnTo>
                  <a:lnTo>
                    <a:pt x="8" y="10"/>
                  </a:lnTo>
                  <a:lnTo>
                    <a:pt x="5" y="11"/>
                  </a:lnTo>
                  <a:lnTo>
                    <a:pt x="2" y="11"/>
                  </a:lnTo>
                  <a:lnTo>
                    <a:pt x="2" y="11"/>
                  </a:lnTo>
                  <a:lnTo>
                    <a:pt x="0" y="8"/>
                  </a:lnTo>
                  <a:lnTo>
                    <a:pt x="2" y="5"/>
                  </a:lnTo>
                  <a:lnTo>
                    <a:pt x="2" y="3"/>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 name="Freeform 60"/>
            <p:cNvSpPr/>
            <p:nvPr/>
          </p:nvSpPr>
          <p:spPr bwMode="auto">
            <a:xfrm>
              <a:off x="4750562" y="3567242"/>
              <a:ext cx="24574" cy="36861"/>
            </a:xfrm>
            <a:custGeom>
              <a:avLst/>
              <a:gdLst>
                <a:gd name="T0" fmla="*/ 2 w 9"/>
                <a:gd name="T1" fmla="*/ 0 h 11"/>
                <a:gd name="T2" fmla="*/ 2 w 9"/>
                <a:gd name="T3" fmla="*/ 0 h 11"/>
                <a:gd name="T4" fmla="*/ 5 w 9"/>
                <a:gd name="T5" fmla="*/ 1 h 11"/>
                <a:gd name="T6" fmla="*/ 6 w 9"/>
                <a:gd name="T7" fmla="*/ 3 h 11"/>
                <a:gd name="T8" fmla="*/ 6 w 9"/>
                <a:gd name="T9" fmla="*/ 5 h 11"/>
                <a:gd name="T10" fmla="*/ 9 w 9"/>
                <a:gd name="T11" fmla="*/ 7 h 11"/>
                <a:gd name="T12" fmla="*/ 9 w 9"/>
                <a:gd name="T13" fmla="*/ 7 h 11"/>
                <a:gd name="T14" fmla="*/ 8 w 9"/>
                <a:gd name="T15" fmla="*/ 10 h 11"/>
                <a:gd name="T16" fmla="*/ 5 w 9"/>
                <a:gd name="T17" fmla="*/ 11 h 11"/>
                <a:gd name="T18" fmla="*/ 2 w 9"/>
                <a:gd name="T19" fmla="*/ 11 h 11"/>
                <a:gd name="T20" fmla="*/ 2 w 9"/>
                <a:gd name="T21" fmla="*/ 11 h 11"/>
                <a:gd name="T22" fmla="*/ 0 w 9"/>
                <a:gd name="T23" fmla="*/ 8 h 11"/>
                <a:gd name="T24" fmla="*/ 2 w 9"/>
                <a:gd name="T25" fmla="*/ 5 h 11"/>
                <a:gd name="T26" fmla="*/ 2 w 9"/>
                <a:gd name="T27" fmla="*/ 3 h 11"/>
                <a:gd name="T28" fmla="*/ 2 w 9"/>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1">
                  <a:moveTo>
                    <a:pt x="2" y="0"/>
                  </a:moveTo>
                  <a:lnTo>
                    <a:pt x="2" y="0"/>
                  </a:lnTo>
                  <a:lnTo>
                    <a:pt x="5" y="1"/>
                  </a:lnTo>
                  <a:lnTo>
                    <a:pt x="6" y="3"/>
                  </a:lnTo>
                  <a:lnTo>
                    <a:pt x="6" y="5"/>
                  </a:lnTo>
                  <a:lnTo>
                    <a:pt x="9" y="7"/>
                  </a:lnTo>
                  <a:lnTo>
                    <a:pt x="9" y="7"/>
                  </a:lnTo>
                  <a:lnTo>
                    <a:pt x="8" y="10"/>
                  </a:lnTo>
                  <a:lnTo>
                    <a:pt x="5" y="11"/>
                  </a:lnTo>
                  <a:lnTo>
                    <a:pt x="2" y="11"/>
                  </a:lnTo>
                  <a:lnTo>
                    <a:pt x="2" y="11"/>
                  </a:lnTo>
                  <a:lnTo>
                    <a:pt x="0" y="8"/>
                  </a:lnTo>
                  <a:lnTo>
                    <a:pt x="2" y="5"/>
                  </a:lnTo>
                  <a:lnTo>
                    <a:pt x="2" y="3"/>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 name="Freeform 61"/>
            <p:cNvSpPr/>
            <p:nvPr/>
          </p:nvSpPr>
          <p:spPr bwMode="auto">
            <a:xfrm>
              <a:off x="4959443" y="3640964"/>
              <a:ext cx="18433" cy="24574"/>
            </a:xfrm>
            <a:custGeom>
              <a:avLst/>
              <a:gdLst>
                <a:gd name="T0" fmla="*/ 3 w 6"/>
                <a:gd name="T1" fmla="*/ 0 h 8"/>
                <a:gd name="T2" fmla="*/ 3 w 6"/>
                <a:gd name="T3" fmla="*/ 0 h 8"/>
                <a:gd name="T4" fmla="*/ 4 w 6"/>
                <a:gd name="T5" fmla="*/ 0 h 8"/>
                <a:gd name="T6" fmla="*/ 6 w 6"/>
                <a:gd name="T7" fmla="*/ 0 h 8"/>
                <a:gd name="T8" fmla="*/ 6 w 6"/>
                <a:gd name="T9" fmla="*/ 1 h 8"/>
                <a:gd name="T10" fmla="*/ 4 w 6"/>
                <a:gd name="T11" fmla="*/ 8 h 8"/>
                <a:gd name="T12" fmla="*/ 4 w 6"/>
                <a:gd name="T13" fmla="*/ 8 h 8"/>
                <a:gd name="T14" fmla="*/ 3 w 6"/>
                <a:gd name="T15" fmla="*/ 8 h 8"/>
                <a:gd name="T16" fmla="*/ 3 w 6"/>
                <a:gd name="T17" fmla="*/ 7 h 8"/>
                <a:gd name="T18" fmla="*/ 3 w 6"/>
                <a:gd name="T19" fmla="*/ 7 h 8"/>
                <a:gd name="T20" fmla="*/ 0 w 6"/>
                <a:gd name="T21" fmla="*/ 7 h 8"/>
                <a:gd name="T22" fmla="*/ 0 w 6"/>
                <a:gd name="T23" fmla="*/ 7 h 8"/>
                <a:gd name="T24" fmla="*/ 1 w 6"/>
                <a:gd name="T25" fmla="*/ 4 h 8"/>
                <a:gd name="T26" fmla="*/ 3 w 6"/>
                <a:gd name="T27" fmla="*/ 2 h 8"/>
                <a:gd name="T28" fmla="*/ 3 w 6"/>
                <a:gd name="T29" fmla="*/ 1 h 8"/>
                <a:gd name="T30" fmla="*/ 3 w 6"/>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8">
                  <a:moveTo>
                    <a:pt x="3" y="0"/>
                  </a:moveTo>
                  <a:lnTo>
                    <a:pt x="3" y="0"/>
                  </a:lnTo>
                  <a:lnTo>
                    <a:pt x="4" y="0"/>
                  </a:lnTo>
                  <a:lnTo>
                    <a:pt x="6" y="0"/>
                  </a:lnTo>
                  <a:lnTo>
                    <a:pt x="6" y="1"/>
                  </a:lnTo>
                  <a:lnTo>
                    <a:pt x="4" y="8"/>
                  </a:lnTo>
                  <a:lnTo>
                    <a:pt x="4" y="8"/>
                  </a:lnTo>
                  <a:lnTo>
                    <a:pt x="3" y="8"/>
                  </a:lnTo>
                  <a:lnTo>
                    <a:pt x="3" y="7"/>
                  </a:lnTo>
                  <a:lnTo>
                    <a:pt x="3" y="7"/>
                  </a:lnTo>
                  <a:lnTo>
                    <a:pt x="0" y="7"/>
                  </a:lnTo>
                  <a:lnTo>
                    <a:pt x="0" y="7"/>
                  </a:lnTo>
                  <a:lnTo>
                    <a:pt x="1" y="4"/>
                  </a:lnTo>
                  <a:lnTo>
                    <a:pt x="3" y="2"/>
                  </a:lnTo>
                  <a:lnTo>
                    <a:pt x="3" y="1"/>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 name="Freeform 62"/>
            <p:cNvSpPr/>
            <p:nvPr/>
          </p:nvSpPr>
          <p:spPr bwMode="auto">
            <a:xfrm>
              <a:off x="4959443" y="3640964"/>
              <a:ext cx="18433" cy="24574"/>
            </a:xfrm>
            <a:custGeom>
              <a:avLst/>
              <a:gdLst>
                <a:gd name="T0" fmla="*/ 3 w 6"/>
                <a:gd name="T1" fmla="*/ 0 h 8"/>
                <a:gd name="T2" fmla="*/ 3 w 6"/>
                <a:gd name="T3" fmla="*/ 0 h 8"/>
                <a:gd name="T4" fmla="*/ 4 w 6"/>
                <a:gd name="T5" fmla="*/ 0 h 8"/>
                <a:gd name="T6" fmla="*/ 6 w 6"/>
                <a:gd name="T7" fmla="*/ 0 h 8"/>
                <a:gd name="T8" fmla="*/ 6 w 6"/>
                <a:gd name="T9" fmla="*/ 1 h 8"/>
                <a:gd name="T10" fmla="*/ 4 w 6"/>
                <a:gd name="T11" fmla="*/ 8 h 8"/>
                <a:gd name="T12" fmla="*/ 4 w 6"/>
                <a:gd name="T13" fmla="*/ 8 h 8"/>
                <a:gd name="T14" fmla="*/ 3 w 6"/>
                <a:gd name="T15" fmla="*/ 8 h 8"/>
                <a:gd name="T16" fmla="*/ 3 w 6"/>
                <a:gd name="T17" fmla="*/ 7 h 8"/>
                <a:gd name="T18" fmla="*/ 3 w 6"/>
                <a:gd name="T19" fmla="*/ 7 h 8"/>
                <a:gd name="T20" fmla="*/ 0 w 6"/>
                <a:gd name="T21" fmla="*/ 7 h 8"/>
                <a:gd name="T22" fmla="*/ 0 w 6"/>
                <a:gd name="T23" fmla="*/ 7 h 8"/>
                <a:gd name="T24" fmla="*/ 1 w 6"/>
                <a:gd name="T25" fmla="*/ 4 h 8"/>
                <a:gd name="T26" fmla="*/ 3 w 6"/>
                <a:gd name="T27" fmla="*/ 2 h 8"/>
                <a:gd name="T28" fmla="*/ 3 w 6"/>
                <a:gd name="T29" fmla="*/ 1 h 8"/>
                <a:gd name="T30" fmla="*/ 3 w 6"/>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8">
                  <a:moveTo>
                    <a:pt x="3" y="0"/>
                  </a:moveTo>
                  <a:lnTo>
                    <a:pt x="3" y="0"/>
                  </a:lnTo>
                  <a:lnTo>
                    <a:pt x="4" y="0"/>
                  </a:lnTo>
                  <a:lnTo>
                    <a:pt x="6" y="0"/>
                  </a:lnTo>
                  <a:lnTo>
                    <a:pt x="6" y="1"/>
                  </a:lnTo>
                  <a:lnTo>
                    <a:pt x="4" y="8"/>
                  </a:lnTo>
                  <a:lnTo>
                    <a:pt x="4" y="8"/>
                  </a:lnTo>
                  <a:lnTo>
                    <a:pt x="3" y="8"/>
                  </a:lnTo>
                  <a:lnTo>
                    <a:pt x="3" y="7"/>
                  </a:lnTo>
                  <a:lnTo>
                    <a:pt x="3" y="7"/>
                  </a:lnTo>
                  <a:lnTo>
                    <a:pt x="0" y="7"/>
                  </a:lnTo>
                  <a:lnTo>
                    <a:pt x="0" y="7"/>
                  </a:lnTo>
                  <a:lnTo>
                    <a:pt x="1" y="4"/>
                  </a:lnTo>
                  <a:lnTo>
                    <a:pt x="3" y="2"/>
                  </a:lnTo>
                  <a:lnTo>
                    <a:pt x="3" y="1"/>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 name="Freeform 63"/>
            <p:cNvSpPr/>
            <p:nvPr/>
          </p:nvSpPr>
          <p:spPr bwMode="auto">
            <a:xfrm>
              <a:off x="4934870" y="3702400"/>
              <a:ext cx="18433" cy="24574"/>
            </a:xfrm>
            <a:custGeom>
              <a:avLst/>
              <a:gdLst>
                <a:gd name="T0" fmla="*/ 0 w 6"/>
                <a:gd name="T1" fmla="*/ 0 h 8"/>
                <a:gd name="T2" fmla="*/ 0 w 6"/>
                <a:gd name="T3" fmla="*/ 0 h 8"/>
                <a:gd name="T4" fmla="*/ 5 w 6"/>
                <a:gd name="T5" fmla="*/ 2 h 8"/>
                <a:gd name="T6" fmla="*/ 6 w 6"/>
                <a:gd name="T7" fmla="*/ 5 h 8"/>
                <a:gd name="T8" fmla="*/ 6 w 6"/>
                <a:gd name="T9" fmla="*/ 8 h 8"/>
                <a:gd name="T10" fmla="*/ 6 w 6"/>
                <a:gd name="T11" fmla="*/ 8 h 8"/>
                <a:gd name="T12" fmla="*/ 3 w 6"/>
                <a:gd name="T13" fmla="*/ 4 h 8"/>
                <a:gd name="T14" fmla="*/ 2 w 6"/>
                <a:gd name="T15" fmla="*/ 1 h 8"/>
                <a:gd name="T16" fmla="*/ 0 w 6"/>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0" y="0"/>
                  </a:moveTo>
                  <a:lnTo>
                    <a:pt x="0" y="0"/>
                  </a:lnTo>
                  <a:lnTo>
                    <a:pt x="5" y="2"/>
                  </a:lnTo>
                  <a:lnTo>
                    <a:pt x="6" y="5"/>
                  </a:lnTo>
                  <a:lnTo>
                    <a:pt x="6" y="8"/>
                  </a:lnTo>
                  <a:lnTo>
                    <a:pt x="6" y="8"/>
                  </a:lnTo>
                  <a:lnTo>
                    <a:pt x="3" y="4"/>
                  </a:lnTo>
                  <a:lnTo>
                    <a:pt x="2"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 name="Freeform 64"/>
            <p:cNvSpPr/>
            <p:nvPr/>
          </p:nvSpPr>
          <p:spPr bwMode="auto">
            <a:xfrm>
              <a:off x="4934870" y="3702400"/>
              <a:ext cx="18433" cy="24574"/>
            </a:xfrm>
            <a:custGeom>
              <a:avLst/>
              <a:gdLst>
                <a:gd name="T0" fmla="*/ 0 w 6"/>
                <a:gd name="T1" fmla="*/ 0 h 8"/>
                <a:gd name="T2" fmla="*/ 0 w 6"/>
                <a:gd name="T3" fmla="*/ 0 h 8"/>
                <a:gd name="T4" fmla="*/ 5 w 6"/>
                <a:gd name="T5" fmla="*/ 2 h 8"/>
                <a:gd name="T6" fmla="*/ 6 w 6"/>
                <a:gd name="T7" fmla="*/ 5 h 8"/>
                <a:gd name="T8" fmla="*/ 6 w 6"/>
                <a:gd name="T9" fmla="*/ 8 h 8"/>
                <a:gd name="T10" fmla="*/ 6 w 6"/>
                <a:gd name="T11" fmla="*/ 8 h 8"/>
                <a:gd name="T12" fmla="*/ 3 w 6"/>
                <a:gd name="T13" fmla="*/ 4 h 8"/>
                <a:gd name="T14" fmla="*/ 2 w 6"/>
                <a:gd name="T15" fmla="*/ 1 h 8"/>
                <a:gd name="T16" fmla="*/ 0 w 6"/>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0" y="0"/>
                  </a:moveTo>
                  <a:lnTo>
                    <a:pt x="0" y="0"/>
                  </a:lnTo>
                  <a:lnTo>
                    <a:pt x="5" y="2"/>
                  </a:lnTo>
                  <a:lnTo>
                    <a:pt x="6" y="5"/>
                  </a:lnTo>
                  <a:lnTo>
                    <a:pt x="6" y="8"/>
                  </a:lnTo>
                  <a:lnTo>
                    <a:pt x="6" y="8"/>
                  </a:lnTo>
                  <a:lnTo>
                    <a:pt x="3" y="4"/>
                  </a:lnTo>
                  <a:lnTo>
                    <a:pt x="2"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65"/>
            <p:cNvSpPr/>
            <p:nvPr/>
          </p:nvSpPr>
          <p:spPr bwMode="auto">
            <a:xfrm>
              <a:off x="5389490" y="3800697"/>
              <a:ext cx="12287" cy="30716"/>
            </a:xfrm>
            <a:custGeom>
              <a:avLst/>
              <a:gdLst>
                <a:gd name="T0" fmla="*/ 3 w 4"/>
                <a:gd name="T1" fmla="*/ 0 h 10"/>
                <a:gd name="T2" fmla="*/ 3 w 4"/>
                <a:gd name="T3" fmla="*/ 0 h 10"/>
                <a:gd name="T4" fmla="*/ 4 w 4"/>
                <a:gd name="T5" fmla="*/ 5 h 10"/>
                <a:gd name="T6" fmla="*/ 4 w 4"/>
                <a:gd name="T7" fmla="*/ 10 h 10"/>
                <a:gd name="T8" fmla="*/ 4 w 4"/>
                <a:gd name="T9" fmla="*/ 10 h 10"/>
                <a:gd name="T10" fmla="*/ 1 w 4"/>
                <a:gd name="T11" fmla="*/ 9 h 10"/>
                <a:gd name="T12" fmla="*/ 0 w 4"/>
                <a:gd name="T13" fmla="*/ 6 h 10"/>
                <a:gd name="T14" fmla="*/ 1 w 4"/>
                <a:gd name="T15" fmla="*/ 3 h 10"/>
                <a:gd name="T16" fmla="*/ 3 w 4"/>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0">
                  <a:moveTo>
                    <a:pt x="3" y="0"/>
                  </a:moveTo>
                  <a:lnTo>
                    <a:pt x="3" y="0"/>
                  </a:lnTo>
                  <a:lnTo>
                    <a:pt x="4" y="5"/>
                  </a:lnTo>
                  <a:lnTo>
                    <a:pt x="4" y="10"/>
                  </a:lnTo>
                  <a:lnTo>
                    <a:pt x="4" y="10"/>
                  </a:lnTo>
                  <a:lnTo>
                    <a:pt x="1" y="9"/>
                  </a:lnTo>
                  <a:lnTo>
                    <a:pt x="0" y="6"/>
                  </a:lnTo>
                  <a:lnTo>
                    <a:pt x="1" y="3"/>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66"/>
            <p:cNvSpPr/>
            <p:nvPr/>
          </p:nvSpPr>
          <p:spPr bwMode="auto">
            <a:xfrm>
              <a:off x="5389490" y="3800697"/>
              <a:ext cx="12287" cy="30716"/>
            </a:xfrm>
            <a:custGeom>
              <a:avLst/>
              <a:gdLst>
                <a:gd name="T0" fmla="*/ 3 w 4"/>
                <a:gd name="T1" fmla="*/ 0 h 10"/>
                <a:gd name="T2" fmla="*/ 3 w 4"/>
                <a:gd name="T3" fmla="*/ 0 h 10"/>
                <a:gd name="T4" fmla="*/ 4 w 4"/>
                <a:gd name="T5" fmla="*/ 5 h 10"/>
                <a:gd name="T6" fmla="*/ 4 w 4"/>
                <a:gd name="T7" fmla="*/ 10 h 10"/>
                <a:gd name="T8" fmla="*/ 4 w 4"/>
                <a:gd name="T9" fmla="*/ 10 h 10"/>
                <a:gd name="T10" fmla="*/ 1 w 4"/>
                <a:gd name="T11" fmla="*/ 9 h 10"/>
                <a:gd name="T12" fmla="*/ 0 w 4"/>
                <a:gd name="T13" fmla="*/ 6 h 10"/>
                <a:gd name="T14" fmla="*/ 1 w 4"/>
                <a:gd name="T15" fmla="*/ 3 h 10"/>
                <a:gd name="T16" fmla="*/ 3 w 4"/>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0">
                  <a:moveTo>
                    <a:pt x="3" y="0"/>
                  </a:moveTo>
                  <a:lnTo>
                    <a:pt x="3" y="0"/>
                  </a:lnTo>
                  <a:lnTo>
                    <a:pt x="4" y="5"/>
                  </a:lnTo>
                  <a:lnTo>
                    <a:pt x="4" y="10"/>
                  </a:lnTo>
                  <a:lnTo>
                    <a:pt x="4" y="10"/>
                  </a:lnTo>
                  <a:lnTo>
                    <a:pt x="1" y="9"/>
                  </a:lnTo>
                  <a:lnTo>
                    <a:pt x="0" y="6"/>
                  </a:lnTo>
                  <a:lnTo>
                    <a:pt x="1" y="3"/>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8" name="Freeform 67"/>
            <p:cNvSpPr/>
            <p:nvPr/>
          </p:nvSpPr>
          <p:spPr bwMode="auto">
            <a:xfrm>
              <a:off x="5641375" y="3855986"/>
              <a:ext cx="24574" cy="36861"/>
            </a:xfrm>
            <a:custGeom>
              <a:avLst/>
              <a:gdLst>
                <a:gd name="T0" fmla="*/ 6 w 9"/>
                <a:gd name="T1" fmla="*/ 0 h 11"/>
                <a:gd name="T2" fmla="*/ 6 w 9"/>
                <a:gd name="T3" fmla="*/ 0 h 11"/>
                <a:gd name="T4" fmla="*/ 8 w 9"/>
                <a:gd name="T5" fmla="*/ 1 h 11"/>
                <a:gd name="T6" fmla="*/ 8 w 9"/>
                <a:gd name="T7" fmla="*/ 3 h 11"/>
                <a:gd name="T8" fmla="*/ 9 w 9"/>
                <a:gd name="T9" fmla="*/ 4 h 11"/>
                <a:gd name="T10" fmla="*/ 9 w 9"/>
                <a:gd name="T11" fmla="*/ 4 h 11"/>
                <a:gd name="T12" fmla="*/ 6 w 9"/>
                <a:gd name="T13" fmla="*/ 6 h 11"/>
                <a:gd name="T14" fmla="*/ 5 w 9"/>
                <a:gd name="T15" fmla="*/ 7 h 11"/>
                <a:gd name="T16" fmla="*/ 2 w 9"/>
                <a:gd name="T17" fmla="*/ 11 h 11"/>
                <a:gd name="T18" fmla="*/ 2 w 9"/>
                <a:gd name="T19" fmla="*/ 11 h 11"/>
                <a:gd name="T20" fmla="*/ 0 w 9"/>
                <a:gd name="T21" fmla="*/ 9 h 11"/>
                <a:gd name="T22" fmla="*/ 2 w 9"/>
                <a:gd name="T23" fmla="*/ 6 h 11"/>
                <a:gd name="T24" fmla="*/ 6 w 9"/>
                <a:gd name="T2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1">
                  <a:moveTo>
                    <a:pt x="6" y="0"/>
                  </a:moveTo>
                  <a:lnTo>
                    <a:pt x="6" y="0"/>
                  </a:lnTo>
                  <a:lnTo>
                    <a:pt x="8" y="1"/>
                  </a:lnTo>
                  <a:lnTo>
                    <a:pt x="8" y="3"/>
                  </a:lnTo>
                  <a:lnTo>
                    <a:pt x="9" y="4"/>
                  </a:lnTo>
                  <a:lnTo>
                    <a:pt x="9" y="4"/>
                  </a:lnTo>
                  <a:lnTo>
                    <a:pt x="6" y="6"/>
                  </a:lnTo>
                  <a:lnTo>
                    <a:pt x="5" y="7"/>
                  </a:lnTo>
                  <a:lnTo>
                    <a:pt x="2" y="11"/>
                  </a:lnTo>
                  <a:lnTo>
                    <a:pt x="2" y="11"/>
                  </a:lnTo>
                  <a:lnTo>
                    <a:pt x="0" y="9"/>
                  </a:lnTo>
                  <a:lnTo>
                    <a:pt x="2" y="6"/>
                  </a:lnTo>
                  <a:lnTo>
                    <a:pt x="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9" name="Freeform 68"/>
            <p:cNvSpPr/>
            <p:nvPr/>
          </p:nvSpPr>
          <p:spPr bwMode="auto">
            <a:xfrm>
              <a:off x="5641375" y="3855986"/>
              <a:ext cx="24574" cy="36861"/>
            </a:xfrm>
            <a:custGeom>
              <a:avLst/>
              <a:gdLst>
                <a:gd name="T0" fmla="*/ 6 w 9"/>
                <a:gd name="T1" fmla="*/ 0 h 11"/>
                <a:gd name="T2" fmla="*/ 6 w 9"/>
                <a:gd name="T3" fmla="*/ 0 h 11"/>
                <a:gd name="T4" fmla="*/ 8 w 9"/>
                <a:gd name="T5" fmla="*/ 1 h 11"/>
                <a:gd name="T6" fmla="*/ 8 w 9"/>
                <a:gd name="T7" fmla="*/ 3 h 11"/>
                <a:gd name="T8" fmla="*/ 9 w 9"/>
                <a:gd name="T9" fmla="*/ 4 h 11"/>
                <a:gd name="T10" fmla="*/ 9 w 9"/>
                <a:gd name="T11" fmla="*/ 4 h 11"/>
                <a:gd name="T12" fmla="*/ 6 w 9"/>
                <a:gd name="T13" fmla="*/ 6 h 11"/>
                <a:gd name="T14" fmla="*/ 5 w 9"/>
                <a:gd name="T15" fmla="*/ 7 h 11"/>
                <a:gd name="T16" fmla="*/ 2 w 9"/>
                <a:gd name="T17" fmla="*/ 11 h 11"/>
                <a:gd name="T18" fmla="*/ 2 w 9"/>
                <a:gd name="T19" fmla="*/ 11 h 11"/>
                <a:gd name="T20" fmla="*/ 0 w 9"/>
                <a:gd name="T21" fmla="*/ 9 h 11"/>
                <a:gd name="T22" fmla="*/ 2 w 9"/>
                <a:gd name="T23" fmla="*/ 6 h 11"/>
                <a:gd name="T24" fmla="*/ 6 w 9"/>
                <a:gd name="T2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1">
                  <a:moveTo>
                    <a:pt x="6" y="0"/>
                  </a:moveTo>
                  <a:lnTo>
                    <a:pt x="6" y="0"/>
                  </a:lnTo>
                  <a:lnTo>
                    <a:pt x="8" y="1"/>
                  </a:lnTo>
                  <a:lnTo>
                    <a:pt x="8" y="3"/>
                  </a:lnTo>
                  <a:lnTo>
                    <a:pt x="9" y="4"/>
                  </a:lnTo>
                  <a:lnTo>
                    <a:pt x="9" y="4"/>
                  </a:lnTo>
                  <a:lnTo>
                    <a:pt x="6" y="6"/>
                  </a:lnTo>
                  <a:lnTo>
                    <a:pt x="5" y="7"/>
                  </a:lnTo>
                  <a:lnTo>
                    <a:pt x="2" y="11"/>
                  </a:lnTo>
                  <a:lnTo>
                    <a:pt x="2" y="11"/>
                  </a:lnTo>
                  <a:lnTo>
                    <a:pt x="0" y="9"/>
                  </a:lnTo>
                  <a:lnTo>
                    <a:pt x="2" y="6"/>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 name="Freeform 69"/>
            <p:cNvSpPr/>
            <p:nvPr/>
          </p:nvSpPr>
          <p:spPr bwMode="auto">
            <a:xfrm>
              <a:off x="6046849" y="3960428"/>
              <a:ext cx="12287" cy="43003"/>
            </a:xfrm>
            <a:custGeom>
              <a:avLst/>
              <a:gdLst>
                <a:gd name="T0" fmla="*/ 1 w 4"/>
                <a:gd name="T1" fmla="*/ 0 h 14"/>
                <a:gd name="T2" fmla="*/ 1 w 4"/>
                <a:gd name="T3" fmla="*/ 0 h 14"/>
                <a:gd name="T4" fmla="*/ 3 w 4"/>
                <a:gd name="T5" fmla="*/ 0 h 14"/>
                <a:gd name="T6" fmla="*/ 4 w 4"/>
                <a:gd name="T7" fmla="*/ 0 h 14"/>
                <a:gd name="T8" fmla="*/ 4 w 4"/>
                <a:gd name="T9" fmla="*/ 4 h 14"/>
                <a:gd name="T10" fmla="*/ 1 w 4"/>
                <a:gd name="T11" fmla="*/ 14 h 14"/>
                <a:gd name="T12" fmla="*/ 1 w 4"/>
                <a:gd name="T13" fmla="*/ 14 h 14"/>
                <a:gd name="T14" fmla="*/ 0 w 4"/>
                <a:gd name="T15" fmla="*/ 11 h 14"/>
                <a:gd name="T16" fmla="*/ 0 w 4"/>
                <a:gd name="T17" fmla="*/ 8 h 14"/>
                <a:gd name="T18" fmla="*/ 0 w 4"/>
                <a:gd name="T19" fmla="*/ 8 h 14"/>
                <a:gd name="T20" fmla="*/ 1 w 4"/>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4">
                  <a:moveTo>
                    <a:pt x="1" y="0"/>
                  </a:moveTo>
                  <a:lnTo>
                    <a:pt x="1" y="0"/>
                  </a:lnTo>
                  <a:lnTo>
                    <a:pt x="3" y="0"/>
                  </a:lnTo>
                  <a:lnTo>
                    <a:pt x="4" y="0"/>
                  </a:lnTo>
                  <a:lnTo>
                    <a:pt x="4" y="4"/>
                  </a:lnTo>
                  <a:lnTo>
                    <a:pt x="1" y="14"/>
                  </a:lnTo>
                  <a:lnTo>
                    <a:pt x="1" y="14"/>
                  </a:lnTo>
                  <a:lnTo>
                    <a:pt x="0" y="11"/>
                  </a:lnTo>
                  <a:lnTo>
                    <a:pt x="0" y="8"/>
                  </a:lnTo>
                  <a:lnTo>
                    <a:pt x="0" y="8"/>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70"/>
            <p:cNvSpPr/>
            <p:nvPr/>
          </p:nvSpPr>
          <p:spPr bwMode="auto">
            <a:xfrm>
              <a:off x="6046849" y="3960428"/>
              <a:ext cx="12287" cy="43003"/>
            </a:xfrm>
            <a:custGeom>
              <a:avLst/>
              <a:gdLst>
                <a:gd name="T0" fmla="*/ 1 w 4"/>
                <a:gd name="T1" fmla="*/ 0 h 14"/>
                <a:gd name="T2" fmla="*/ 1 w 4"/>
                <a:gd name="T3" fmla="*/ 0 h 14"/>
                <a:gd name="T4" fmla="*/ 3 w 4"/>
                <a:gd name="T5" fmla="*/ 0 h 14"/>
                <a:gd name="T6" fmla="*/ 4 w 4"/>
                <a:gd name="T7" fmla="*/ 0 h 14"/>
                <a:gd name="T8" fmla="*/ 4 w 4"/>
                <a:gd name="T9" fmla="*/ 4 h 14"/>
                <a:gd name="T10" fmla="*/ 1 w 4"/>
                <a:gd name="T11" fmla="*/ 14 h 14"/>
                <a:gd name="T12" fmla="*/ 1 w 4"/>
                <a:gd name="T13" fmla="*/ 14 h 14"/>
                <a:gd name="T14" fmla="*/ 0 w 4"/>
                <a:gd name="T15" fmla="*/ 11 h 14"/>
                <a:gd name="T16" fmla="*/ 0 w 4"/>
                <a:gd name="T17" fmla="*/ 8 h 14"/>
                <a:gd name="T18" fmla="*/ 0 w 4"/>
                <a:gd name="T19" fmla="*/ 8 h 14"/>
                <a:gd name="T20" fmla="*/ 1 w 4"/>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4">
                  <a:moveTo>
                    <a:pt x="1" y="0"/>
                  </a:moveTo>
                  <a:lnTo>
                    <a:pt x="1" y="0"/>
                  </a:lnTo>
                  <a:lnTo>
                    <a:pt x="3" y="0"/>
                  </a:lnTo>
                  <a:lnTo>
                    <a:pt x="4" y="0"/>
                  </a:lnTo>
                  <a:lnTo>
                    <a:pt x="4" y="4"/>
                  </a:lnTo>
                  <a:lnTo>
                    <a:pt x="1" y="14"/>
                  </a:lnTo>
                  <a:lnTo>
                    <a:pt x="1" y="14"/>
                  </a:lnTo>
                  <a:lnTo>
                    <a:pt x="0" y="11"/>
                  </a:lnTo>
                  <a:lnTo>
                    <a:pt x="0" y="8"/>
                  </a:lnTo>
                  <a:lnTo>
                    <a:pt x="0" y="8"/>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Freeform 71"/>
            <p:cNvSpPr/>
            <p:nvPr/>
          </p:nvSpPr>
          <p:spPr bwMode="auto">
            <a:xfrm>
              <a:off x="3743025" y="3518093"/>
              <a:ext cx="24574" cy="6142"/>
            </a:xfrm>
            <a:custGeom>
              <a:avLst/>
              <a:gdLst>
                <a:gd name="T0" fmla="*/ 0 w 7"/>
                <a:gd name="T1" fmla="*/ 0 h 2"/>
                <a:gd name="T2" fmla="*/ 0 w 7"/>
                <a:gd name="T3" fmla="*/ 0 h 2"/>
                <a:gd name="T4" fmla="*/ 7 w 7"/>
                <a:gd name="T5" fmla="*/ 2 h 2"/>
                <a:gd name="T6" fmla="*/ 7 w 7"/>
                <a:gd name="T7" fmla="*/ 2 h 2"/>
                <a:gd name="T8" fmla="*/ 3 w 7"/>
                <a:gd name="T9" fmla="*/ 1 h 2"/>
                <a:gd name="T10" fmla="*/ 3 w 7"/>
                <a:gd name="T11" fmla="*/ 1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lnTo>
                    <a:pt x="0" y="0"/>
                  </a:lnTo>
                  <a:lnTo>
                    <a:pt x="7" y="2"/>
                  </a:lnTo>
                  <a:lnTo>
                    <a:pt x="7" y="2"/>
                  </a:lnTo>
                  <a:lnTo>
                    <a:pt x="3" y="1"/>
                  </a:lnTo>
                  <a:lnTo>
                    <a:pt x="3"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72"/>
            <p:cNvSpPr/>
            <p:nvPr/>
          </p:nvSpPr>
          <p:spPr bwMode="auto">
            <a:xfrm>
              <a:off x="3743025" y="3518093"/>
              <a:ext cx="24574" cy="6142"/>
            </a:xfrm>
            <a:custGeom>
              <a:avLst/>
              <a:gdLst>
                <a:gd name="T0" fmla="*/ 0 w 7"/>
                <a:gd name="T1" fmla="*/ 0 h 2"/>
                <a:gd name="T2" fmla="*/ 0 w 7"/>
                <a:gd name="T3" fmla="*/ 0 h 2"/>
                <a:gd name="T4" fmla="*/ 7 w 7"/>
                <a:gd name="T5" fmla="*/ 2 h 2"/>
                <a:gd name="T6" fmla="*/ 7 w 7"/>
                <a:gd name="T7" fmla="*/ 2 h 2"/>
                <a:gd name="T8" fmla="*/ 3 w 7"/>
                <a:gd name="T9" fmla="*/ 1 h 2"/>
                <a:gd name="T10" fmla="*/ 3 w 7"/>
                <a:gd name="T11" fmla="*/ 1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lnTo>
                    <a:pt x="0" y="0"/>
                  </a:lnTo>
                  <a:lnTo>
                    <a:pt x="7" y="2"/>
                  </a:lnTo>
                  <a:lnTo>
                    <a:pt x="7" y="2"/>
                  </a:lnTo>
                  <a:lnTo>
                    <a:pt x="3" y="1"/>
                  </a:lnTo>
                  <a:lnTo>
                    <a:pt x="3"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73"/>
            <p:cNvSpPr/>
            <p:nvPr/>
          </p:nvSpPr>
          <p:spPr bwMode="auto">
            <a:xfrm>
              <a:off x="5500072" y="4064866"/>
              <a:ext cx="24574" cy="49148"/>
            </a:xfrm>
            <a:custGeom>
              <a:avLst/>
              <a:gdLst>
                <a:gd name="T0" fmla="*/ 7 w 9"/>
                <a:gd name="T1" fmla="*/ 0 h 16"/>
                <a:gd name="T2" fmla="*/ 7 w 9"/>
                <a:gd name="T3" fmla="*/ 0 h 16"/>
                <a:gd name="T4" fmla="*/ 9 w 9"/>
                <a:gd name="T5" fmla="*/ 4 h 16"/>
                <a:gd name="T6" fmla="*/ 6 w 9"/>
                <a:gd name="T7" fmla="*/ 10 h 16"/>
                <a:gd name="T8" fmla="*/ 3 w 9"/>
                <a:gd name="T9" fmla="*/ 14 h 16"/>
                <a:gd name="T10" fmla="*/ 2 w 9"/>
                <a:gd name="T11" fmla="*/ 14 h 16"/>
                <a:gd name="T12" fmla="*/ 0 w 9"/>
                <a:gd name="T13" fmla="*/ 16 h 16"/>
                <a:gd name="T14" fmla="*/ 0 w 9"/>
                <a:gd name="T15" fmla="*/ 16 h 16"/>
                <a:gd name="T16" fmla="*/ 5 w 9"/>
                <a:gd name="T17" fmla="*/ 9 h 16"/>
                <a:gd name="T18" fmla="*/ 5 w 9"/>
                <a:gd name="T19" fmla="*/ 9 h 16"/>
                <a:gd name="T20" fmla="*/ 6 w 9"/>
                <a:gd name="T21" fmla="*/ 4 h 16"/>
                <a:gd name="T22" fmla="*/ 6 w 9"/>
                <a:gd name="T23" fmla="*/ 4 h 16"/>
                <a:gd name="T24" fmla="*/ 7 w 9"/>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6">
                  <a:moveTo>
                    <a:pt x="7" y="0"/>
                  </a:moveTo>
                  <a:lnTo>
                    <a:pt x="7" y="0"/>
                  </a:lnTo>
                  <a:lnTo>
                    <a:pt x="9" y="4"/>
                  </a:lnTo>
                  <a:lnTo>
                    <a:pt x="6" y="10"/>
                  </a:lnTo>
                  <a:lnTo>
                    <a:pt x="3" y="14"/>
                  </a:lnTo>
                  <a:lnTo>
                    <a:pt x="2" y="14"/>
                  </a:lnTo>
                  <a:lnTo>
                    <a:pt x="0" y="16"/>
                  </a:lnTo>
                  <a:lnTo>
                    <a:pt x="0" y="16"/>
                  </a:lnTo>
                  <a:lnTo>
                    <a:pt x="5" y="9"/>
                  </a:lnTo>
                  <a:lnTo>
                    <a:pt x="5" y="9"/>
                  </a:lnTo>
                  <a:lnTo>
                    <a:pt x="6" y="4"/>
                  </a:lnTo>
                  <a:lnTo>
                    <a:pt x="6" y="4"/>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74"/>
            <p:cNvSpPr/>
            <p:nvPr/>
          </p:nvSpPr>
          <p:spPr bwMode="auto">
            <a:xfrm>
              <a:off x="5500072" y="4064866"/>
              <a:ext cx="24574" cy="49148"/>
            </a:xfrm>
            <a:custGeom>
              <a:avLst/>
              <a:gdLst>
                <a:gd name="T0" fmla="*/ 7 w 9"/>
                <a:gd name="T1" fmla="*/ 0 h 16"/>
                <a:gd name="T2" fmla="*/ 7 w 9"/>
                <a:gd name="T3" fmla="*/ 0 h 16"/>
                <a:gd name="T4" fmla="*/ 9 w 9"/>
                <a:gd name="T5" fmla="*/ 4 h 16"/>
                <a:gd name="T6" fmla="*/ 6 w 9"/>
                <a:gd name="T7" fmla="*/ 10 h 16"/>
                <a:gd name="T8" fmla="*/ 3 w 9"/>
                <a:gd name="T9" fmla="*/ 14 h 16"/>
                <a:gd name="T10" fmla="*/ 2 w 9"/>
                <a:gd name="T11" fmla="*/ 14 h 16"/>
                <a:gd name="T12" fmla="*/ 0 w 9"/>
                <a:gd name="T13" fmla="*/ 16 h 16"/>
                <a:gd name="T14" fmla="*/ 0 w 9"/>
                <a:gd name="T15" fmla="*/ 16 h 16"/>
                <a:gd name="T16" fmla="*/ 5 w 9"/>
                <a:gd name="T17" fmla="*/ 9 h 16"/>
                <a:gd name="T18" fmla="*/ 5 w 9"/>
                <a:gd name="T19" fmla="*/ 9 h 16"/>
                <a:gd name="T20" fmla="*/ 6 w 9"/>
                <a:gd name="T21" fmla="*/ 4 h 16"/>
                <a:gd name="T22" fmla="*/ 6 w 9"/>
                <a:gd name="T23" fmla="*/ 4 h 16"/>
                <a:gd name="T24" fmla="*/ 7 w 9"/>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6">
                  <a:moveTo>
                    <a:pt x="7" y="0"/>
                  </a:moveTo>
                  <a:lnTo>
                    <a:pt x="7" y="0"/>
                  </a:lnTo>
                  <a:lnTo>
                    <a:pt x="9" y="4"/>
                  </a:lnTo>
                  <a:lnTo>
                    <a:pt x="6" y="10"/>
                  </a:lnTo>
                  <a:lnTo>
                    <a:pt x="3" y="14"/>
                  </a:lnTo>
                  <a:lnTo>
                    <a:pt x="2" y="14"/>
                  </a:lnTo>
                  <a:lnTo>
                    <a:pt x="0" y="16"/>
                  </a:lnTo>
                  <a:lnTo>
                    <a:pt x="0" y="16"/>
                  </a:lnTo>
                  <a:lnTo>
                    <a:pt x="5" y="9"/>
                  </a:lnTo>
                  <a:lnTo>
                    <a:pt x="5" y="9"/>
                  </a:lnTo>
                  <a:lnTo>
                    <a:pt x="6" y="4"/>
                  </a:lnTo>
                  <a:lnTo>
                    <a:pt x="6" y="4"/>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75"/>
            <p:cNvSpPr/>
            <p:nvPr/>
          </p:nvSpPr>
          <p:spPr bwMode="auto">
            <a:xfrm>
              <a:off x="3638587" y="3493520"/>
              <a:ext cx="24574" cy="0"/>
            </a:xfrm>
            <a:custGeom>
              <a:avLst/>
              <a:gdLst>
                <a:gd name="T0" fmla="*/ 1 w 7"/>
                <a:gd name="T1" fmla="*/ 0 h 1"/>
                <a:gd name="T2" fmla="*/ 1 w 7"/>
                <a:gd name="T3" fmla="*/ 0 h 1"/>
                <a:gd name="T4" fmla="*/ 7 w 7"/>
                <a:gd name="T5" fmla="*/ 1 h 1"/>
                <a:gd name="T6" fmla="*/ 7 w 7"/>
                <a:gd name="T7" fmla="*/ 1 h 1"/>
                <a:gd name="T8" fmla="*/ 2 w 7"/>
                <a:gd name="T9" fmla="*/ 1 h 1"/>
                <a:gd name="T10" fmla="*/ 4 w 7"/>
                <a:gd name="T11" fmla="*/ 1 h 1"/>
                <a:gd name="T12" fmla="*/ 4 w 7"/>
                <a:gd name="T13" fmla="*/ 1 h 1"/>
                <a:gd name="T14" fmla="*/ 0 w 7"/>
                <a:gd name="T15" fmla="*/ 0 h 1"/>
                <a:gd name="T16" fmla="*/ 0 w 7"/>
                <a:gd name="T17" fmla="*/ 0 h 1"/>
                <a:gd name="T18" fmla="*/ 1 w 7"/>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
                  <a:moveTo>
                    <a:pt x="1" y="0"/>
                  </a:moveTo>
                  <a:lnTo>
                    <a:pt x="1" y="0"/>
                  </a:lnTo>
                  <a:lnTo>
                    <a:pt x="7" y="1"/>
                  </a:lnTo>
                  <a:lnTo>
                    <a:pt x="7" y="1"/>
                  </a:lnTo>
                  <a:lnTo>
                    <a:pt x="2" y="1"/>
                  </a:lnTo>
                  <a:lnTo>
                    <a:pt x="4" y="1"/>
                  </a:lnTo>
                  <a:lnTo>
                    <a:pt x="4" y="1"/>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76"/>
            <p:cNvSpPr/>
            <p:nvPr/>
          </p:nvSpPr>
          <p:spPr bwMode="auto">
            <a:xfrm>
              <a:off x="3638587" y="3493520"/>
              <a:ext cx="24574" cy="0"/>
            </a:xfrm>
            <a:custGeom>
              <a:avLst/>
              <a:gdLst>
                <a:gd name="T0" fmla="*/ 1 w 7"/>
                <a:gd name="T1" fmla="*/ 0 h 1"/>
                <a:gd name="T2" fmla="*/ 1 w 7"/>
                <a:gd name="T3" fmla="*/ 0 h 1"/>
                <a:gd name="T4" fmla="*/ 7 w 7"/>
                <a:gd name="T5" fmla="*/ 1 h 1"/>
                <a:gd name="T6" fmla="*/ 7 w 7"/>
                <a:gd name="T7" fmla="*/ 1 h 1"/>
                <a:gd name="T8" fmla="*/ 2 w 7"/>
                <a:gd name="T9" fmla="*/ 1 h 1"/>
                <a:gd name="T10" fmla="*/ 4 w 7"/>
                <a:gd name="T11" fmla="*/ 1 h 1"/>
                <a:gd name="T12" fmla="*/ 4 w 7"/>
                <a:gd name="T13" fmla="*/ 1 h 1"/>
                <a:gd name="T14" fmla="*/ 0 w 7"/>
                <a:gd name="T15" fmla="*/ 0 h 1"/>
                <a:gd name="T16" fmla="*/ 0 w 7"/>
                <a:gd name="T17" fmla="*/ 0 h 1"/>
                <a:gd name="T18" fmla="*/ 1 w 7"/>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
                  <a:moveTo>
                    <a:pt x="1" y="0"/>
                  </a:moveTo>
                  <a:lnTo>
                    <a:pt x="1" y="0"/>
                  </a:lnTo>
                  <a:lnTo>
                    <a:pt x="7" y="1"/>
                  </a:lnTo>
                  <a:lnTo>
                    <a:pt x="7" y="1"/>
                  </a:lnTo>
                  <a:lnTo>
                    <a:pt x="2" y="1"/>
                  </a:lnTo>
                  <a:lnTo>
                    <a:pt x="4" y="1"/>
                  </a:lnTo>
                  <a:lnTo>
                    <a:pt x="4" y="1"/>
                  </a:lnTo>
                  <a:lnTo>
                    <a:pt x="0" y="0"/>
                  </a:lnTo>
                  <a:lnTo>
                    <a:pt x="0"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77"/>
            <p:cNvSpPr/>
            <p:nvPr/>
          </p:nvSpPr>
          <p:spPr bwMode="auto">
            <a:xfrm>
              <a:off x="3816748" y="3554956"/>
              <a:ext cx="6145" cy="12287"/>
            </a:xfrm>
            <a:custGeom>
              <a:avLst/>
              <a:gdLst>
                <a:gd name="T0" fmla="*/ 0 w 2"/>
                <a:gd name="T1" fmla="*/ 0 h 5"/>
                <a:gd name="T2" fmla="*/ 0 w 2"/>
                <a:gd name="T3" fmla="*/ 0 h 5"/>
                <a:gd name="T4" fmla="*/ 2 w 2"/>
                <a:gd name="T5" fmla="*/ 2 h 5"/>
                <a:gd name="T6" fmla="*/ 2 w 2"/>
                <a:gd name="T7" fmla="*/ 2 h 5"/>
                <a:gd name="T8" fmla="*/ 1 w 2"/>
                <a:gd name="T9" fmla="*/ 5 h 5"/>
                <a:gd name="T10" fmla="*/ 1 w 2"/>
                <a:gd name="T11" fmla="*/ 5 h 5"/>
                <a:gd name="T12" fmla="*/ 0 w 2"/>
                <a:gd name="T13" fmla="*/ 2 h 5"/>
                <a:gd name="T14" fmla="*/ 0 w 2"/>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0"/>
                  </a:moveTo>
                  <a:lnTo>
                    <a:pt x="0" y="0"/>
                  </a:lnTo>
                  <a:lnTo>
                    <a:pt x="2" y="2"/>
                  </a:lnTo>
                  <a:lnTo>
                    <a:pt x="2" y="2"/>
                  </a:lnTo>
                  <a:lnTo>
                    <a:pt x="1" y="5"/>
                  </a:lnTo>
                  <a:lnTo>
                    <a:pt x="1" y="5"/>
                  </a:lnTo>
                  <a:lnTo>
                    <a:pt x="0" y="2"/>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78"/>
            <p:cNvSpPr/>
            <p:nvPr/>
          </p:nvSpPr>
          <p:spPr bwMode="auto">
            <a:xfrm>
              <a:off x="3816748" y="3554956"/>
              <a:ext cx="6145" cy="12287"/>
            </a:xfrm>
            <a:custGeom>
              <a:avLst/>
              <a:gdLst>
                <a:gd name="T0" fmla="*/ 0 w 2"/>
                <a:gd name="T1" fmla="*/ 0 h 5"/>
                <a:gd name="T2" fmla="*/ 0 w 2"/>
                <a:gd name="T3" fmla="*/ 0 h 5"/>
                <a:gd name="T4" fmla="*/ 2 w 2"/>
                <a:gd name="T5" fmla="*/ 2 h 5"/>
                <a:gd name="T6" fmla="*/ 2 w 2"/>
                <a:gd name="T7" fmla="*/ 2 h 5"/>
                <a:gd name="T8" fmla="*/ 1 w 2"/>
                <a:gd name="T9" fmla="*/ 5 h 5"/>
                <a:gd name="T10" fmla="*/ 1 w 2"/>
                <a:gd name="T11" fmla="*/ 5 h 5"/>
                <a:gd name="T12" fmla="*/ 0 w 2"/>
                <a:gd name="T13" fmla="*/ 2 h 5"/>
                <a:gd name="T14" fmla="*/ 0 w 2"/>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0"/>
                  </a:moveTo>
                  <a:lnTo>
                    <a:pt x="0" y="0"/>
                  </a:lnTo>
                  <a:lnTo>
                    <a:pt x="2" y="2"/>
                  </a:lnTo>
                  <a:lnTo>
                    <a:pt x="2" y="2"/>
                  </a:lnTo>
                  <a:lnTo>
                    <a:pt x="1" y="5"/>
                  </a:lnTo>
                  <a:lnTo>
                    <a:pt x="1" y="5"/>
                  </a:lnTo>
                  <a:lnTo>
                    <a:pt x="0" y="2"/>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79"/>
            <p:cNvSpPr/>
            <p:nvPr/>
          </p:nvSpPr>
          <p:spPr bwMode="auto">
            <a:xfrm>
              <a:off x="3638587" y="3493520"/>
              <a:ext cx="24574" cy="12287"/>
            </a:xfrm>
            <a:custGeom>
              <a:avLst/>
              <a:gdLst>
                <a:gd name="T0" fmla="*/ 1 w 7"/>
                <a:gd name="T1" fmla="*/ 0 h 3"/>
                <a:gd name="T2" fmla="*/ 1 w 7"/>
                <a:gd name="T3" fmla="*/ 0 h 3"/>
                <a:gd name="T4" fmla="*/ 4 w 7"/>
                <a:gd name="T5" fmla="*/ 2 h 3"/>
                <a:gd name="T6" fmla="*/ 4 w 7"/>
                <a:gd name="T7" fmla="*/ 2 h 3"/>
                <a:gd name="T8" fmla="*/ 5 w 7"/>
                <a:gd name="T9" fmla="*/ 2 h 3"/>
                <a:gd name="T10" fmla="*/ 5 w 7"/>
                <a:gd name="T11" fmla="*/ 2 h 3"/>
                <a:gd name="T12" fmla="*/ 7 w 7"/>
                <a:gd name="T13" fmla="*/ 3 h 3"/>
                <a:gd name="T14" fmla="*/ 4 w 7"/>
                <a:gd name="T15" fmla="*/ 2 h 3"/>
                <a:gd name="T16" fmla="*/ 4 w 7"/>
                <a:gd name="T17" fmla="*/ 2 h 3"/>
                <a:gd name="T18" fmla="*/ 4 w 7"/>
                <a:gd name="T19" fmla="*/ 3 h 3"/>
                <a:gd name="T20" fmla="*/ 2 w 7"/>
                <a:gd name="T21" fmla="*/ 2 h 3"/>
                <a:gd name="T22" fmla="*/ 2 w 7"/>
                <a:gd name="T23" fmla="*/ 2 h 3"/>
                <a:gd name="T24" fmla="*/ 2 w 7"/>
                <a:gd name="T25" fmla="*/ 2 h 3"/>
                <a:gd name="T26" fmla="*/ 2 w 7"/>
                <a:gd name="T27" fmla="*/ 2 h 3"/>
                <a:gd name="T28" fmla="*/ 0 w 7"/>
                <a:gd name="T29" fmla="*/ 0 h 3"/>
                <a:gd name="T30" fmla="*/ 0 w 7"/>
                <a:gd name="T31" fmla="*/ 0 h 3"/>
                <a:gd name="T32" fmla="*/ 1 w 7"/>
                <a:gd name="T33" fmla="*/ 0 h 3"/>
                <a:gd name="T34" fmla="*/ 1 w 7"/>
                <a:gd name="T3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3">
                  <a:moveTo>
                    <a:pt x="1" y="0"/>
                  </a:moveTo>
                  <a:lnTo>
                    <a:pt x="1" y="0"/>
                  </a:lnTo>
                  <a:lnTo>
                    <a:pt x="4" y="2"/>
                  </a:lnTo>
                  <a:lnTo>
                    <a:pt x="4" y="2"/>
                  </a:lnTo>
                  <a:lnTo>
                    <a:pt x="5" y="2"/>
                  </a:lnTo>
                  <a:lnTo>
                    <a:pt x="5" y="2"/>
                  </a:lnTo>
                  <a:lnTo>
                    <a:pt x="7" y="3"/>
                  </a:lnTo>
                  <a:lnTo>
                    <a:pt x="4" y="2"/>
                  </a:lnTo>
                  <a:lnTo>
                    <a:pt x="4" y="2"/>
                  </a:lnTo>
                  <a:lnTo>
                    <a:pt x="4" y="3"/>
                  </a:lnTo>
                  <a:lnTo>
                    <a:pt x="2" y="2"/>
                  </a:lnTo>
                  <a:lnTo>
                    <a:pt x="2" y="2"/>
                  </a:lnTo>
                  <a:lnTo>
                    <a:pt x="2" y="2"/>
                  </a:lnTo>
                  <a:lnTo>
                    <a:pt x="2" y="2"/>
                  </a:lnTo>
                  <a:lnTo>
                    <a:pt x="0" y="0"/>
                  </a:lnTo>
                  <a:lnTo>
                    <a:pt x="0"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80"/>
            <p:cNvSpPr/>
            <p:nvPr/>
          </p:nvSpPr>
          <p:spPr bwMode="auto">
            <a:xfrm>
              <a:off x="3638587" y="3493520"/>
              <a:ext cx="24574" cy="12287"/>
            </a:xfrm>
            <a:custGeom>
              <a:avLst/>
              <a:gdLst>
                <a:gd name="T0" fmla="*/ 1 w 7"/>
                <a:gd name="T1" fmla="*/ 0 h 3"/>
                <a:gd name="T2" fmla="*/ 1 w 7"/>
                <a:gd name="T3" fmla="*/ 0 h 3"/>
                <a:gd name="T4" fmla="*/ 4 w 7"/>
                <a:gd name="T5" fmla="*/ 2 h 3"/>
                <a:gd name="T6" fmla="*/ 4 w 7"/>
                <a:gd name="T7" fmla="*/ 2 h 3"/>
                <a:gd name="T8" fmla="*/ 5 w 7"/>
                <a:gd name="T9" fmla="*/ 2 h 3"/>
                <a:gd name="T10" fmla="*/ 5 w 7"/>
                <a:gd name="T11" fmla="*/ 2 h 3"/>
                <a:gd name="T12" fmla="*/ 7 w 7"/>
                <a:gd name="T13" fmla="*/ 3 h 3"/>
                <a:gd name="T14" fmla="*/ 4 w 7"/>
                <a:gd name="T15" fmla="*/ 2 h 3"/>
                <a:gd name="T16" fmla="*/ 4 w 7"/>
                <a:gd name="T17" fmla="*/ 2 h 3"/>
                <a:gd name="T18" fmla="*/ 4 w 7"/>
                <a:gd name="T19" fmla="*/ 3 h 3"/>
                <a:gd name="T20" fmla="*/ 2 w 7"/>
                <a:gd name="T21" fmla="*/ 2 h 3"/>
                <a:gd name="T22" fmla="*/ 2 w 7"/>
                <a:gd name="T23" fmla="*/ 2 h 3"/>
                <a:gd name="T24" fmla="*/ 2 w 7"/>
                <a:gd name="T25" fmla="*/ 2 h 3"/>
                <a:gd name="T26" fmla="*/ 2 w 7"/>
                <a:gd name="T27" fmla="*/ 2 h 3"/>
                <a:gd name="T28" fmla="*/ 0 w 7"/>
                <a:gd name="T29" fmla="*/ 0 h 3"/>
                <a:gd name="T30" fmla="*/ 0 w 7"/>
                <a:gd name="T31" fmla="*/ 0 h 3"/>
                <a:gd name="T32" fmla="*/ 1 w 7"/>
                <a:gd name="T33" fmla="*/ 0 h 3"/>
                <a:gd name="T34" fmla="*/ 1 w 7"/>
                <a:gd name="T3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3">
                  <a:moveTo>
                    <a:pt x="1" y="0"/>
                  </a:moveTo>
                  <a:lnTo>
                    <a:pt x="1" y="0"/>
                  </a:lnTo>
                  <a:lnTo>
                    <a:pt x="4" y="2"/>
                  </a:lnTo>
                  <a:lnTo>
                    <a:pt x="4" y="2"/>
                  </a:lnTo>
                  <a:lnTo>
                    <a:pt x="5" y="2"/>
                  </a:lnTo>
                  <a:lnTo>
                    <a:pt x="5" y="2"/>
                  </a:lnTo>
                  <a:lnTo>
                    <a:pt x="7" y="3"/>
                  </a:lnTo>
                  <a:lnTo>
                    <a:pt x="4" y="2"/>
                  </a:lnTo>
                  <a:lnTo>
                    <a:pt x="4" y="2"/>
                  </a:lnTo>
                  <a:lnTo>
                    <a:pt x="4" y="3"/>
                  </a:lnTo>
                  <a:lnTo>
                    <a:pt x="2" y="2"/>
                  </a:lnTo>
                  <a:lnTo>
                    <a:pt x="2" y="2"/>
                  </a:lnTo>
                  <a:lnTo>
                    <a:pt x="2" y="2"/>
                  </a:lnTo>
                  <a:lnTo>
                    <a:pt x="2" y="2"/>
                  </a:lnTo>
                  <a:lnTo>
                    <a:pt x="0" y="0"/>
                  </a:lnTo>
                  <a:lnTo>
                    <a:pt x="0" y="0"/>
                  </a:lnTo>
                  <a:lnTo>
                    <a:pt x="1"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81"/>
            <p:cNvSpPr/>
            <p:nvPr/>
          </p:nvSpPr>
          <p:spPr bwMode="auto">
            <a:xfrm>
              <a:off x="5665950" y="4304466"/>
              <a:ext cx="12287" cy="30716"/>
            </a:xfrm>
            <a:custGeom>
              <a:avLst/>
              <a:gdLst>
                <a:gd name="T0" fmla="*/ 1 w 3"/>
                <a:gd name="T1" fmla="*/ 0 h 12"/>
                <a:gd name="T2" fmla="*/ 1 w 3"/>
                <a:gd name="T3" fmla="*/ 0 h 12"/>
                <a:gd name="T4" fmla="*/ 3 w 3"/>
                <a:gd name="T5" fmla="*/ 3 h 12"/>
                <a:gd name="T6" fmla="*/ 3 w 3"/>
                <a:gd name="T7" fmla="*/ 6 h 12"/>
                <a:gd name="T8" fmla="*/ 3 w 3"/>
                <a:gd name="T9" fmla="*/ 10 h 12"/>
                <a:gd name="T10" fmla="*/ 0 w 3"/>
                <a:gd name="T11" fmla="*/ 12 h 12"/>
                <a:gd name="T12" fmla="*/ 0 w 3"/>
                <a:gd name="T13" fmla="*/ 12 h 12"/>
                <a:gd name="T14" fmla="*/ 0 w 3"/>
                <a:gd name="T15" fmla="*/ 7 h 12"/>
                <a:gd name="T16" fmla="*/ 1 w 3"/>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2">
                  <a:moveTo>
                    <a:pt x="1" y="0"/>
                  </a:moveTo>
                  <a:lnTo>
                    <a:pt x="1" y="0"/>
                  </a:lnTo>
                  <a:lnTo>
                    <a:pt x="3" y="3"/>
                  </a:lnTo>
                  <a:lnTo>
                    <a:pt x="3" y="6"/>
                  </a:lnTo>
                  <a:lnTo>
                    <a:pt x="3" y="10"/>
                  </a:lnTo>
                  <a:lnTo>
                    <a:pt x="0" y="12"/>
                  </a:lnTo>
                  <a:lnTo>
                    <a:pt x="0" y="12"/>
                  </a:lnTo>
                  <a:lnTo>
                    <a:pt x="0" y="7"/>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82"/>
            <p:cNvSpPr/>
            <p:nvPr/>
          </p:nvSpPr>
          <p:spPr bwMode="auto">
            <a:xfrm>
              <a:off x="5665950" y="4304466"/>
              <a:ext cx="12287" cy="30716"/>
            </a:xfrm>
            <a:custGeom>
              <a:avLst/>
              <a:gdLst>
                <a:gd name="T0" fmla="*/ 1 w 3"/>
                <a:gd name="T1" fmla="*/ 0 h 12"/>
                <a:gd name="T2" fmla="*/ 1 w 3"/>
                <a:gd name="T3" fmla="*/ 0 h 12"/>
                <a:gd name="T4" fmla="*/ 3 w 3"/>
                <a:gd name="T5" fmla="*/ 3 h 12"/>
                <a:gd name="T6" fmla="*/ 3 w 3"/>
                <a:gd name="T7" fmla="*/ 6 h 12"/>
                <a:gd name="T8" fmla="*/ 3 w 3"/>
                <a:gd name="T9" fmla="*/ 10 h 12"/>
                <a:gd name="T10" fmla="*/ 0 w 3"/>
                <a:gd name="T11" fmla="*/ 12 h 12"/>
                <a:gd name="T12" fmla="*/ 0 w 3"/>
                <a:gd name="T13" fmla="*/ 12 h 12"/>
                <a:gd name="T14" fmla="*/ 0 w 3"/>
                <a:gd name="T15" fmla="*/ 7 h 12"/>
                <a:gd name="T16" fmla="*/ 1 w 3"/>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2">
                  <a:moveTo>
                    <a:pt x="1" y="0"/>
                  </a:moveTo>
                  <a:lnTo>
                    <a:pt x="1" y="0"/>
                  </a:lnTo>
                  <a:lnTo>
                    <a:pt x="3" y="3"/>
                  </a:lnTo>
                  <a:lnTo>
                    <a:pt x="3" y="6"/>
                  </a:lnTo>
                  <a:lnTo>
                    <a:pt x="3" y="10"/>
                  </a:lnTo>
                  <a:lnTo>
                    <a:pt x="0" y="12"/>
                  </a:lnTo>
                  <a:lnTo>
                    <a:pt x="0" y="12"/>
                  </a:lnTo>
                  <a:lnTo>
                    <a:pt x="0" y="7"/>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83"/>
            <p:cNvSpPr/>
            <p:nvPr/>
          </p:nvSpPr>
          <p:spPr bwMode="auto">
            <a:xfrm>
              <a:off x="5438638" y="4249172"/>
              <a:ext cx="30720" cy="55290"/>
            </a:xfrm>
            <a:custGeom>
              <a:avLst/>
              <a:gdLst>
                <a:gd name="T0" fmla="*/ 10 w 10"/>
                <a:gd name="T1" fmla="*/ 1 h 17"/>
                <a:gd name="T2" fmla="*/ 10 w 10"/>
                <a:gd name="T3" fmla="*/ 1 h 17"/>
                <a:gd name="T4" fmla="*/ 8 w 10"/>
                <a:gd name="T5" fmla="*/ 3 h 17"/>
                <a:gd name="T6" fmla="*/ 6 w 10"/>
                <a:gd name="T7" fmla="*/ 4 h 17"/>
                <a:gd name="T8" fmla="*/ 5 w 10"/>
                <a:gd name="T9" fmla="*/ 9 h 17"/>
                <a:gd name="T10" fmla="*/ 6 w 10"/>
                <a:gd name="T11" fmla="*/ 17 h 17"/>
                <a:gd name="T12" fmla="*/ 6 w 10"/>
                <a:gd name="T13" fmla="*/ 17 h 17"/>
                <a:gd name="T14" fmla="*/ 3 w 10"/>
                <a:gd name="T15" fmla="*/ 14 h 17"/>
                <a:gd name="T16" fmla="*/ 0 w 10"/>
                <a:gd name="T17" fmla="*/ 13 h 17"/>
                <a:gd name="T18" fmla="*/ 0 w 10"/>
                <a:gd name="T19" fmla="*/ 13 h 17"/>
                <a:gd name="T20" fmla="*/ 3 w 10"/>
                <a:gd name="T21" fmla="*/ 6 h 17"/>
                <a:gd name="T22" fmla="*/ 3 w 10"/>
                <a:gd name="T23" fmla="*/ 0 h 17"/>
                <a:gd name="T24" fmla="*/ 3 w 10"/>
                <a:gd name="T25" fmla="*/ 0 h 17"/>
                <a:gd name="T26" fmla="*/ 8 w 10"/>
                <a:gd name="T27" fmla="*/ 0 h 17"/>
                <a:gd name="T28" fmla="*/ 10 w 10"/>
                <a:gd name="T29"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7">
                  <a:moveTo>
                    <a:pt x="10" y="1"/>
                  </a:moveTo>
                  <a:lnTo>
                    <a:pt x="10" y="1"/>
                  </a:lnTo>
                  <a:lnTo>
                    <a:pt x="8" y="3"/>
                  </a:lnTo>
                  <a:lnTo>
                    <a:pt x="6" y="4"/>
                  </a:lnTo>
                  <a:lnTo>
                    <a:pt x="5" y="9"/>
                  </a:lnTo>
                  <a:lnTo>
                    <a:pt x="6" y="17"/>
                  </a:lnTo>
                  <a:lnTo>
                    <a:pt x="6" y="17"/>
                  </a:lnTo>
                  <a:lnTo>
                    <a:pt x="3" y="14"/>
                  </a:lnTo>
                  <a:lnTo>
                    <a:pt x="0" y="13"/>
                  </a:lnTo>
                  <a:lnTo>
                    <a:pt x="0" y="13"/>
                  </a:lnTo>
                  <a:lnTo>
                    <a:pt x="3" y="6"/>
                  </a:lnTo>
                  <a:lnTo>
                    <a:pt x="3" y="0"/>
                  </a:lnTo>
                  <a:lnTo>
                    <a:pt x="3" y="0"/>
                  </a:lnTo>
                  <a:lnTo>
                    <a:pt x="8" y="0"/>
                  </a:lnTo>
                  <a:lnTo>
                    <a:pt x="10"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84"/>
            <p:cNvSpPr/>
            <p:nvPr/>
          </p:nvSpPr>
          <p:spPr bwMode="auto">
            <a:xfrm>
              <a:off x="5438638" y="4249172"/>
              <a:ext cx="30720" cy="55290"/>
            </a:xfrm>
            <a:custGeom>
              <a:avLst/>
              <a:gdLst>
                <a:gd name="T0" fmla="*/ 10 w 10"/>
                <a:gd name="T1" fmla="*/ 1 h 17"/>
                <a:gd name="T2" fmla="*/ 10 w 10"/>
                <a:gd name="T3" fmla="*/ 1 h 17"/>
                <a:gd name="T4" fmla="*/ 8 w 10"/>
                <a:gd name="T5" fmla="*/ 3 h 17"/>
                <a:gd name="T6" fmla="*/ 6 w 10"/>
                <a:gd name="T7" fmla="*/ 4 h 17"/>
                <a:gd name="T8" fmla="*/ 5 w 10"/>
                <a:gd name="T9" fmla="*/ 9 h 17"/>
                <a:gd name="T10" fmla="*/ 6 w 10"/>
                <a:gd name="T11" fmla="*/ 17 h 17"/>
                <a:gd name="T12" fmla="*/ 6 w 10"/>
                <a:gd name="T13" fmla="*/ 17 h 17"/>
                <a:gd name="T14" fmla="*/ 3 w 10"/>
                <a:gd name="T15" fmla="*/ 14 h 17"/>
                <a:gd name="T16" fmla="*/ 0 w 10"/>
                <a:gd name="T17" fmla="*/ 13 h 17"/>
                <a:gd name="T18" fmla="*/ 0 w 10"/>
                <a:gd name="T19" fmla="*/ 13 h 17"/>
                <a:gd name="T20" fmla="*/ 3 w 10"/>
                <a:gd name="T21" fmla="*/ 6 h 17"/>
                <a:gd name="T22" fmla="*/ 3 w 10"/>
                <a:gd name="T23" fmla="*/ 0 h 17"/>
                <a:gd name="T24" fmla="*/ 3 w 10"/>
                <a:gd name="T25" fmla="*/ 0 h 17"/>
                <a:gd name="T26" fmla="*/ 8 w 10"/>
                <a:gd name="T27" fmla="*/ 0 h 17"/>
                <a:gd name="T28" fmla="*/ 10 w 10"/>
                <a:gd name="T29"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7">
                  <a:moveTo>
                    <a:pt x="10" y="1"/>
                  </a:moveTo>
                  <a:lnTo>
                    <a:pt x="10" y="1"/>
                  </a:lnTo>
                  <a:lnTo>
                    <a:pt x="8" y="3"/>
                  </a:lnTo>
                  <a:lnTo>
                    <a:pt x="6" y="4"/>
                  </a:lnTo>
                  <a:lnTo>
                    <a:pt x="5" y="9"/>
                  </a:lnTo>
                  <a:lnTo>
                    <a:pt x="6" y="17"/>
                  </a:lnTo>
                  <a:lnTo>
                    <a:pt x="6" y="17"/>
                  </a:lnTo>
                  <a:lnTo>
                    <a:pt x="3" y="14"/>
                  </a:lnTo>
                  <a:lnTo>
                    <a:pt x="0" y="13"/>
                  </a:lnTo>
                  <a:lnTo>
                    <a:pt x="0" y="13"/>
                  </a:lnTo>
                  <a:lnTo>
                    <a:pt x="3" y="6"/>
                  </a:lnTo>
                  <a:lnTo>
                    <a:pt x="3" y="0"/>
                  </a:lnTo>
                  <a:lnTo>
                    <a:pt x="3" y="0"/>
                  </a:lnTo>
                  <a:lnTo>
                    <a:pt x="8" y="0"/>
                  </a:lnTo>
                  <a:lnTo>
                    <a:pt x="1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85"/>
            <p:cNvSpPr/>
            <p:nvPr/>
          </p:nvSpPr>
          <p:spPr bwMode="auto">
            <a:xfrm>
              <a:off x="5481644" y="4286033"/>
              <a:ext cx="36861" cy="110582"/>
            </a:xfrm>
            <a:custGeom>
              <a:avLst/>
              <a:gdLst>
                <a:gd name="T0" fmla="*/ 12 w 12"/>
                <a:gd name="T1" fmla="*/ 0 h 36"/>
                <a:gd name="T2" fmla="*/ 12 w 12"/>
                <a:gd name="T3" fmla="*/ 0 h 36"/>
                <a:gd name="T4" fmla="*/ 11 w 12"/>
                <a:gd name="T5" fmla="*/ 10 h 36"/>
                <a:gd name="T6" fmla="*/ 11 w 12"/>
                <a:gd name="T7" fmla="*/ 20 h 36"/>
                <a:gd name="T8" fmla="*/ 11 w 12"/>
                <a:gd name="T9" fmla="*/ 20 h 36"/>
                <a:gd name="T10" fmla="*/ 10 w 12"/>
                <a:gd name="T11" fmla="*/ 29 h 36"/>
                <a:gd name="T12" fmla="*/ 8 w 12"/>
                <a:gd name="T13" fmla="*/ 33 h 36"/>
                <a:gd name="T14" fmla="*/ 5 w 12"/>
                <a:gd name="T15" fmla="*/ 36 h 36"/>
                <a:gd name="T16" fmla="*/ 5 w 12"/>
                <a:gd name="T17" fmla="*/ 36 h 36"/>
                <a:gd name="T18" fmla="*/ 4 w 12"/>
                <a:gd name="T19" fmla="*/ 35 h 36"/>
                <a:gd name="T20" fmla="*/ 5 w 12"/>
                <a:gd name="T21" fmla="*/ 32 h 36"/>
                <a:gd name="T22" fmla="*/ 8 w 12"/>
                <a:gd name="T23" fmla="*/ 26 h 36"/>
                <a:gd name="T24" fmla="*/ 8 w 12"/>
                <a:gd name="T25" fmla="*/ 26 h 36"/>
                <a:gd name="T26" fmla="*/ 5 w 12"/>
                <a:gd name="T27" fmla="*/ 26 h 36"/>
                <a:gd name="T28" fmla="*/ 3 w 12"/>
                <a:gd name="T29" fmla="*/ 29 h 36"/>
                <a:gd name="T30" fmla="*/ 0 w 12"/>
                <a:gd name="T31" fmla="*/ 36 h 36"/>
                <a:gd name="T32" fmla="*/ 0 w 12"/>
                <a:gd name="T33" fmla="*/ 36 h 36"/>
                <a:gd name="T34" fmla="*/ 1 w 12"/>
                <a:gd name="T35" fmla="*/ 28 h 36"/>
                <a:gd name="T36" fmla="*/ 3 w 12"/>
                <a:gd name="T37" fmla="*/ 18 h 36"/>
                <a:gd name="T38" fmla="*/ 7 w 12"/>
                <a:gd name="T39" fmla="*/ 8 h 36"/>
                <a:gd name="T40" fmla="*/ 12 w 12"/>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36">
                  <a:moveTo>
                    <a:pt x="12" y="0"/>
                  </a:moveTo>
                  <a:lnTo>
                    <a:pt x="12" y="0"/>
                  </a:lnTo>
                  <a:lnTo>
                    <a:pt x="11" y="10"/>
                  </a:lnTo>
                  <a:lnTo>
                    <a:pt x="11" y="20"/>
                  </a:lnTo>
                  <a:lnTo>
                    <a:pt x="11" y="20"/>
                  </a:lnTo>
                  <a:lnTo>
                    <a:pt x="10" y="29"/>
                  </a:lnTo>
                  <a:lnTo>
                    <a:pt x="8" y="33"/>
                  </a:lnTo>
                  <a:lnTo>
                    <a:pt x="5" y="36"/>
                  </a:lnTo>
                  <a:lnTo>
                    <a:pt x="5" y="36"/>
                  </a:lnTo>
                  <a:lnTo>
                    <a:pt x="4" y="35"/>
                  </a:lnTo>
                  <a:lnTo>
                    <a:pt x="5" y="32"/>
                  </a:lnTo>
                  <a:lnTo>
                    <a:pt x="8" y="26"/>
                  </a:lnTo>
                  <a:lnTo>
                    <a:pt x="8" y="26"/>
                  </a:lnTo>
                  <a:lnTo>
                    <a:pt x="5" y="26"/>
                  </a:lnTo>
                  <a:lnTo>
                    <a:pt x="3" y="29"/>
                  </a:lnTo>
                  <a:lnTo>
                    <a:pt x="0" y="36"/>
                  </a:lnTo>
                  <a:lnTo>
                    <a:pt x="0" y="36"/>
                  </a:lnTo>
                  <a:lnTo>
                    <a:pt x="1" y="28"/>
                  </a:lnTo>
                  <a:lnTo>
                    <a:pt x="3" y="18"/>
                  </a:lnTo>
                  <a:lnTo>
                    <a:pt x="7" y="8"/>
                  </a:lnTo>
                  <a:lnTo>
                    <a:pt x="1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86"/>
            <p:cNvSpPr/>
            <p:nvPr/>
          </p:nvSpPr>
          <p:spPr bwMode="auto">
            <a:xfrm>
              <a:off x="5481644" y="4286033"/>
              <a:ext cx="36861" cy="110582"/>
            </a:xfrm>
            <a:custGeom>
              <a:avLst/>
              <a:gdLst>
                <a:gd name="T0" fmla="*/ 12 w 12"/>
                <a:gd name="T1" fmla="*/ 0 h 36"/>
                <a:gd name="T2" fmla="*/ 12 w 12"/>
                <a:gd name="T3" fmla="*/ 0 h 36"/>
                <a:gd name="T4" fmla="*/ 11 w 12"/>
                <a:gd name="T5" fmla="*/ 10 h 36"/>
                <a:gd name="T6" fmla="*/ 11 w 12"/>
                <a:gd name="T7" fmla="*/ 20 h 36"/>
                <a:gd name="T8" fmla="*/ 11 w 12"/>
                <a:gd name="T9" fmla="*/ 20 h 36"/>
                <a:gd name="T10" fmla="*/ 10 w 12"/>
                <a:gd name="T11" fmla="*/ 29 h 36"/>
                <a:gd name="T12" fmla="*/ 8 w 12"/>
                <a:gd name="T13" fmla="*/ 33 h 36"/>
                <a:gd name="T14" fmla="*/ 5 w 12"/>
                <a:gd name="T15" fmla="*/ 36 h 36"/>
                <a:gd name="T16" fmla="*/ 5 w 12"/>
                <a:gd name="T17" fmla="*/ 36 h 36"/>
                <a:gd name="T18" fmla="*/ 4 w 12"/>
                <a:gd name="T19" fmla="*/ 35 h 36"/>
                <a:gd name="T20" fmla="*/ 5 w 12"/>
                <a:gd name="T21" fmla="*/ 32 h 36"/>
                <a:gd name="T22" fmla="*/ 8 w 12"/>
                <a:gd name="T23" fmla="*/ 26 h 36"/>
                <a:gd name="T24" fmla="*/ 8 w 12"/>
                <a:gd name="T25" fmla="*/ 26 h 36"/>
                <a:gd name="T26" fmla="*/ 5 w 12"/>
                <a:gd name="T27" fmla="*/ 26 h 36"/>
                <a:gd name="T28" fmla="*/ 3 w 12"/>
                <a:gd name="T29" fmla="*/ 29 h 36"/>
                <a:gd name="T30" fmla="*/ 0 w 12"/>
                <a:gd name="T31" fmla="*/ 36 h 36"/>
                <a:gd name="T32" fmla="*/ 0 w 12"/>
                <a:gd name="T33" fmla="*/ 36 h 36"/>
                <a:gd name="T34" fmla="*/ 1 w 12"/>
                <a:gd name="T35" fmla="*/ 28 h 36"/>
                <a:gd name="T36" fmla="*/ 3 w 12"/>
                <a:gd name="T37" fmla="*/ 18 h 36"/>
                <a:gd name="T38" fmla="*/ 7 w 12"/>
                <a:gd name="T39" fmla="*/ 8 h 36"/>
                <a:gd name="T40" fmla="*/ 12 w 12"/>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36">
                  <a:moveTo>
                    <a:pt x="12" y="0"/>
                  </a:moveTo>
                  <a:lnTo>
                    <a:pt x="12" y="0"/>
                  </a:lnTo>
                  <a:lnTo>
                    <a:pt x="11" y="10"/>
                  </a:lnTo>
                  <a:lnTo>
                    <a:pt x="11" y="20"/>
                  </a:lnTo>
                  <a:lnTo>
                    <a:pt x="11" y="20"/>
                  </a:lnTo>
                  <a:lnTo>
                    <a:pt x="10" y="29"/>
                  </a:lnTo>
                  <a:lnTo>
                    <a:pt x="8" y="33"/>
                  </a:lnTo>
                  <a:lnTo>
                    <a:pt x="5" y="36"/>
                  </a:lnTo>
                  <a:lnTo>
                    <a:pt x="5" y="36"/>
                  </a:lnTo>
                  <a:lnTo>
                    <a:pt x="4" y="35"/>
                  </a:lnTo>
                  <a:lnTo>
                    <a:pt x="5" y="32"/>
                  </a:lnTo>
                  <a:lnTo>
                    <a:pt x="8" y="26"/>
                  </a:lnTo>
                  <a:lnTo>
                    <a:pt x="8" y="26"/>
                  </a:lnTo>
                  <a:lnTo>
                    <a:pt x="5" y="26"/>
                  </a:lnTo>
                  <a:lnTo>
                    <a:pt x="3" y="29"/>
                  </a:lnTo>
                  <a:lnTo>
                    <a:pt x="0" y="36"/>
                  </a:lnTo>
                  <a:lnTo>
                    <a:pt x="0" y="36"/>
                  </a:lnTo>
                  <a:lnTo>
                    <a:pt x="1" y="28"/>
                  </a:lnTo>
                  <a:lnTo>
                    <a:pt x="3" y="18"/>
                  </a:lnTo>
                  <a:lnTo>
                    <a:pt x="7" y="8"/>
                  </a:lnTo>
                  <a:lnTo>
                    <a:pt x="1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87"/>
            <p:cNvSpPr/>
            <p:nvPr/>
          </p:nvSpPr>
          <p:spPr bwMode="auto">
            <a:xfrm>
              <a:off x="3644729" y="3499660"/>
              <a:ext cx="6145" cy="6142"/>
            </a:xfrm>
            <a:custGeom>
              <a:avLst/>
              <a:gdLst>
                <a:gd name="T0" fmla="*/ 0 w 3"/>
                <a:gd name="T1" fmla="*/ 0 h 3"/>
                <a:gd name="T2" fmla="*/ 0 w 3"/>
                <a:gd name="T3" fmla="*/ 0 h 3"/>
                <a:gd name="T4" fmla="*/ 3 w 3"/>
                <a:gd name="T5" fmla="*/ 1 h 3"/>
                <a:gd name="T6" fmla="*/ 3 w 3"/>
                <a:gd name="T7" fmla="*/ 3 h 3"/>
                <a:gd name="T8" fmla="*/ 3 w 3"/>
                <a:gd name="T9" fmla="*/ 3 h 3"/>
                <a:gd name="T10" fmla="*/ 0 w 3"/>
                <a:gd name="T11" fmla="*/ 1 h 3"/>
                <a:gd name="T12" fmla="*/ 0 w 3"/>
                <a:gd name="T13" fmla="*/ 1 h 3"/>
                <a:gd name="T14" fmla="*/ 0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lnTo>
                    <a:pt x="0" y="0"/>
                  </a:lnTo>
                  <a:lnTo>
                    <a:pt x="3" y="1"/>
                  </a:lnTo>
                  <a:lnTo>
                    <a:pt x="3" y="3"/>
                  </a:lnTo>
                  <a:lnTo>
                    <a:pt x="3" y="3"/>
                  </a:lnTo>
                  <a:lnTo>
                    <a:pt x="0" y="1"/>
                  </a:lnTo>
                  <a:lnTo>
                    <a:pt x="0"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88"/>
            <p:cNvSpPr/>
            <p:nvPr/>
          </p:nvSpPr>
          <p:spPr bwMode="auto">
            <a:xfrm>
              <a:off x="3644729" y="3499660"/>
              <a:ext cx="6145" cy="6142"/>
            </a:xfrm>
            <a:custGeom>
              <a:avLst/>
              <a:gdLst>
                <a:gd name="T0" fmla="*/ 0 w 3"/>
                <a:gd name="T1" fmla="*/ 0 h 3"/>
                <a:gd name="T2" fmla="*/ 0 w 3"/>
                <a:gd name="T3" fmla="*/ 0 h 3"/>
                <a:gd name="T4" fmla="*/ 3 w 3"/>
                <a:gd name="T5" fmla="*/ 1 h 3"/>
                <a:gd name="T6" fmla="*/ 3 w 3"/>
                <a:gd name="T7" fmla="*/ 3 h 3"/>
                <a:gd name="T8" fmla="*/ 3 w 3"/>
                <a:gd name="T9" fmla="*/ 3 h 3"/>
                <a:gd name="T10" fmla="*/ 0 w 3"/>
                <a:gd name="T11" fmla="*/ 1 h 3"/>
                <a:gd name="T12" fmla="*/ 0 w 3"/>
                <a:gd name="T13" fmla="*/ 1 h 3"/>
                <a:gd name="T14" fmla="*/ 0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lnTo>
                    <a:pt x="0" y="0"/>
                  </a:lnTo>
                  <a:lnTo>
                    <a:pt x="3" y="1"/>
                  </a:lnTo>
                  <a:lnTo>
                    <a:pt x="3" y="3"/>
                  </a:lnTo>
                  <a:lnTo>
                    <a:pt x="3" y="3"/>
                  </a:lnTo>
                  <a:lnTo>
                    <a:pt x="0" y="1"/>
                  </a:lnTo>
                  <a:lnTo>
                    <a:pt x="0"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89"/>
            <p:cNvSpPr/>
            <p:nvPr/>
          </p:nvSpPr>
          <p:spPr bwMode="auto">
            <a:xfrm>
              <a:off x="3638587" y="3499660"/>
              <a:ext cx="12287" cy="6142"/>
            </a:xfrm>
            <a:custGeom>
              <a:avLst/>
              <a:gdLst>
                <a:gd name="T0" fmla="*/ 0 w 4"/>
                <a:gd name="T1" fmla="*/ 0 h 3"/>
                <a:gd name="T2" fmla="*/ 0 w 4"/>
                <a:gd name="T3" fmla="*/ 0 h 3"/>
                <a:gd name="T4" fmla="*/ 4 w 4"/>
                <a:gd name="T5" fmla="*/ 3 h 3"/>
                <a:gd name="T6" fmla="*/ 4 w 4"/>
                <a:gd name="T7" fmla="*/ 3 h 3"/>
                <a:gd name="T8" fmla="*/ 4 w 4"/>
                <a:gd name="T9" fmla="*/ 3 h 3"/>
                <a:gd name="T10" fmla="*/ 0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0" y="0"/>
                  </a:moveTo>
                  <a:lnTo>
                    <a:pt x="0" y="0"/>
                  </a:lnTo>
                  <a:lnTo>
                    <a:pt x="4" y="3"/>
                  </a:lnTo>
                  <a:lnTo>
                    <a:pt x="4" y="3"/>
                  </a:lnTo>
                  <a:lnTo>
                    <a:pt x="4" y="3"/>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90"/>
            <p:cNvSpPr/>
            <p:nvPr/>
          </p:nvSpPr>
          <p:spPr bwMode="auto">
            <a:xfrm>
              <a:off x="3638587" y="3499660"/>
              <a:ext cx="12287" cy="6142"/>
            </a:xfrm>
            <a:custGeom>
              <a:avLst/>
              <a:gdLst>
                <a:gd name="T0" fmla="*/ 0 w 4"/>
                <a:gd name="T1" fmla="*/ 0 h 3"/>
                <a:gd name="T2" fmla="*/ 0 w 4"/>
                <a:gd name="T3" fmla="*/ 0 h 3"/>
                <a:gd name="T4" fmla="*/ 4 w 4"/>
                <a:gd name="T5" fmla="*/ 3 h 3"/>
                <a:gd name="T6" fmla="*/ 4 w 4"/>
                <a:gd name="T7" fmla="*/ 3 h 3"/>
                <a:gd name="T8" fmla="*/ 4 w 4"/>
                <a:gd name="T9" fmla="*/ 3 h 3"/>
                <a:gd name="T10" fmla="*/ 0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0" y="0"/>
                  </a:moveTo>
                  <a:lnTo>
                    <a:pt x="0" y="0"/>
                  </a:lnTo>
                  <a:lnTo>
                    <a:pt x="4" y="3"/>
                  </a:lnTo>
                  <a:lnTo>
                    <a:pt x="4" y="3"/>
                  </a:lnTo>
                  <a:lnTo>
                    <a:pt x="4"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91"/>
            <p:cNvSpPr/>
            <p:nvPr/>
          </p:nvSpPr>
          <p:spPr bwMode="auto">
            <a:xfrm>
              <a:off x="3638587" y="3505807"/>
              <a:ext cx="24574" cy="12287"/>
            </a:xfrm>
            <a:custGeom>
              <a:avLst/>
              <a:gdLst>
                <a:gd name="T0" fmla="*/ 4 w 9"/>
                <a:gd name="T1" fmla="*/ 2 h 5"/>
                <a:gd name="T2" fmla="*/ 4 w 9"/>
                <a:gd name="T3" fmla="*/ 2 h 5"/>
                <a:gd name="T4" fmla="*/ 6 w 9"/>
                <a:gd name="T5" fmla="*/ 3 h 5"/>
                <a:gd name="T6" fmla="*/ 4 w 9"/>
                <a:gd name="T7" fmla="*/ 2 h 5"/>
                <a:gd name="T8" fmla="*/ 4 w 9"/>
                <a:gd name="T9" fmla="*/ 2 h 5"/>
                <a:gd name="T10" fmla="*/ 4 w 9"/>
                <a:gd name="T11" fmla="*/ 2 h 5"/>
                <a:gd name="T12" fmla="*/ 9 w 9"/>
                <a:gd name="T13" fmla="*/ 5 h 5"/>
                <a:gd name="T14" fmla="*/ 9 w 9"/>
                <a:gd name="T15" fmla="*/ 5 h 5"/>
                <a:gd name="T16" fmla="*/ 0 w 9"/>
                <a:gd name="T17" fmla="*/ 0 h 5"/>
                <a:gd name="T18" fmla="*/ 0 w 9"/>
                <a:gd name="T19" fmla="*/ 0 h 5"/>
                <a:gd name="T20" fmla="*/ 4 w 9"/>
                <a:gd name="T2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5">
                  <a:moveTo>
                    <a:pt x="4" y="2"/>
                  </a:moveTo>
                  <a:lnTo>
                    <a:pt x="4" y="2"/>
                  </a:lnTo>
                  <a:lnTo>
                    <a:pt x="6" y="3"/>
                  </a:lnTo>
                  <a:lnTo>
                    <a:pt x="4" y="2"/>
                  </a:lnTo>
                  <a:lnTo>
                    <a:pt x="4" y="2"/>
                  </a:lnTo>
                  <a:lnTo>
                    <a:pt x="4" y="2"/>
                  </a:lnTo>
                  <a:lnTo>
                    <a:pt x="9" y="5"/>
                  </a:lnTo>
                  <a:lnTo>
                    <a:pt x="9" y="5"/>
                  </a:lnTo>
                  <a:lnTo>
                    <a:pt x="0" y="0"/>
                  </a:lnTo>
                  <a:lnTo>
                    <a:pt x="0" y="0"/>
                  </a:lnTo>
                  <a:lnTo>
                    <a:pt x="4"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92"/>
            <p:cNvSpPr/>
            <p:nvPr/>
          </p:nvSpPr>
          <p:spPr bwMode="auto">
            <a:xfrm>
              <a:off x="3638587" y="3505807"/>
              <a:ext cx="24574" cy="12287"/>
            </a:xfrm>
            <a:custGeom>
              <a:avLst/>
              <a:gdLst>
                <a:gd name="T0" fmla="*/ 4 w 9"/>
                <a:gd name="T1" fmla="*/ 2 h 5"/>
                <a:gd name="T2" fmla="*/ 4 w 9"/>
                <a:gd name="T3" fmla="*/ 2 h 5"/>
                <a:gd name="T4" fmla="*/ 6 w 9"/>
                <a:gd name="T5" fmla="*/ 3 h 5"/>
                <a:gd name="T6" fmla="*/ 4 w 9"/>
                <a:gd name="T7" fmla="*/ 2 h 5"/>
                <a:gd name="T8" fmla="*/ 4 w 9"/>
                <a:gd name="T9" fmla="*/ 2 h 5"/>
                <a:gd name="T10" fmla="*/ 4 w 9"/>
                <a:gd name="T11" fmla="*/ 2 h 5"/>
                <a:gd name="T12" fmla="*/ 9 w 9"/>
                <a:gd name="T13" fmla="*/ 5 h 5"/>
                <a:gd name="T14" fmla="*/ 9 w 9"/>
                <a:gd name="T15" fmla="*/ 5 h 5"/>
                <a:gd name="T16" fmla="*/ 0 w 9"/>
                <a:gd name="T17" fmla="*/ 0 h 5"/>
                <a:gd name="T18" fmla="*/ 0 w 9"/>
                <a:gd name="T19" fmla="*/ 0 h 5"/>
                <a:gd name="T20" fmla="*/ 4 w 9"/>
                <a:gd name="T2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5">
                  <a:moveTo>
                    <a:pt x="4" y="2"/>
                  </a:moveTo>
                  <a:lnTo>
                    <a:pt x="4" y="2"/>
                  </a:lnTo>
                  <a:lnTo>
                    <a:pt x="6" y="3"/>
                  </a:lnTo>
                  <a:lnTo>
                    <a:pt x="4" y="2"/>
                  </a:lnTo>
                  <a:lnTo>
                    <a:pt x="4" y="2"/>
                  </a:lnTo>
                  <a:lnTo>
                    <a:pt x="4" y="2"/>
                  </a:lnTo>
                  <a:lnTo>
                    <a:pt x="9" y="5"/>
                  </a:lnTo>
                  <a:lnTo>
                    <a:pt x="9" y="5"/>
                  </a:lnTo>
                  <a:lnTo>
                    <a:pt x="0" y="0"/>
                  </a:lnTo>
                  <a:lnTo>
                    <a:pt x="0" y="0"/>
                  </a:lnTo>
                  <a:lnTo>
                    <a:pt x="4"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93"/>
            <p:cNvSpPr/>
            <p:nvPr/>
          </p:nvSpPr>
          <p:spPr bwMode="auto">
            <a:xfrm>
              <a:off x="5426351" y="4470339"/>
              <a:ext cx="36861" cy="49148"/>
            </a:xfrm>
            <a:custGeom>
              <a:avLst/>
              <a:gdLst>
                <a:gd name="T0" fmla="*/ 7 w 11"/>
                <a:gd name="T1" fmla="*/ 0 h 16"/>
                <a:gd name="T2" fmla="*/ 11 w 11"/>
                <a:gd name="T3" fmla="*/ 2 h 16"/>
                <a:gd name="T4" fmla="*/ 11 w 11"/>
                <a:gd name="T5" fmla="*/ 2 h 16"/>
                <a:gd name="T6" fmla="*/ 5 w 11"/>
                <a:gd name="T7" fmla="*/ 7 h 16"/>
                <a:gd name="T8" fmla="*/ 5 w 11"/>
                <a:gd name="T9" fmla="*/ 7 h 16"/>
                <a:gd name="T10" fmla="*/ 0 w 11"/>
                <a:gd name="T11" fmla="*/ 16 h 16"/>
                <a:gd name="T12" fmla="*/ 0 w 11"/>
                <a:gd name="T13" fmla="*/ 16 h 16"/>
                <a:gd name="T14" fmla="*/ 0 w 11"/>
                <a:gd name="T15" fmla="*/ 15 h 16"/>
                <a:gd name="T16" fmla="*/ 0 w 11"/>
                <a:gd name="T17" fmla="*/ 15 h 16"/>
                <a:gd name="T18" fmla="*/ 1 w 11"/>
                <a:gd name="T19" fmla="*/ 12 h 16"/>
                <a:gd name="T20" fmla="*/ 2 w 11"/>
                <a:gd name="T21" fmla="*/ 9 h 16"/>
                <a:gd name="T22" fmla="*/ 1 w 11"/>
                <a:gd name="T23" fmla="*/ 7 h 16"/>
                <a:gd name="T24" fmla="*/ 0 w 11"/>
                <a:gd name="T25" fmla="*/ 7 h 16"/>
                <a:gd name="T26" fmla="*/ 0 w 11"/>
                <a:gd name="T27" fmla="*/ 7 h 16"/>
                <a:gd name="T28" fmla="*/ 4 w 11"/>
                <a:gd name="T29" fmla="*/ 5 h 16"/>
                <a:gd name="T30" fmla="*/ 5 w 11"/>
                <a:gd name="T31" fmla="*/ 3 h 16"/>
                <a:gd name="T32" fmla="*/ 7 w 11"/>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6">
                  <a:moveTo>
                    <a:pt x="7" y="0"/>
                  </a:moveTo>
                  <a:lnTo>
                    <a:pt x="11" y="2"/>
                  </a:lnTo>
                  <a:lnTo>
                    <a:pt x="11" y="2"/>
                  </a:lnTo>
                  <a:lnTo>
                    <a:pt x="5" y="7"/>
                  </a:lnTo>
                  <a:lnTo>
                    <a:pt x="5" y="7"/>
                  </a:lnTo>
                  <a:lnTo>
                    <a:pt x="0" y="16"/>
                  </a:lnTo>
                  <a:lnTo>
                    <a:pt x="0" y="16"/>
                  </a:lnTo>
                  <a:lnTo>
                    <a:pt x="0" y="15"/>
                  </a:lnTo>
                  <a:lnTo>
                    <a:pt x="0" y="15"/>
                  </a:lnTo>
                  <a:lnTo>
                    <a:pt x="1" y="12"/>
                  </a:lnTo>
                  <a:lnTo>
                    <a:pt x="2" y="9"/>
                  </a:lnTo>
                  <a:lnTo>
                    <a:pt x="1" y="7"/>
                  </a:lnTo>
                  <a:lnTo>
                    <a:pt x="0" y="7"/>
                  </a:lnTo>
                  <a:lnTo>
                    <a:pt x="0" y="7"/>
                  </a:lnTo>
                  <a:lnTo>
                    <a:pt x="4" y="5"/>
                  </a:lnTo>
                  <a:lnTo>
                    <a:pt x="5" y="3"/>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94"/>
            <p:cNvSpPr/>
            <p:nvPr/>
          </p:nvSpPr>
          <p:spPr bwMode="auto">
            <a:xfrm>
              <a:off x="5426351" y="4470339"/>
              <a:ext cx="36861" cy="49148"/>
            </a:xfrm>
            <a:custGeom>
              <a:avLst/>
              <a:gdLst>
                <a:gd name="T0" fmla="*/ 7 w 11"/>
                <a:gd name="T1" fmla="*/ 0 h 16"/>
                <a:gd name="T2" fmla="*/ 11 w 11"/>
                <a:gd name="T3" fmla="*/ 2 h 16"/>
                <a:gd name="T4" fmla="*/ 11 w 11"/>
                <a:gd name="T5" fmla="*/ 2 h 16"/>
                <a:gd name="T6" fmla="*/ 5 w 11"/>
                <a:gd name="T7" fmla="*/ 7 h 16"/>
                <a:gd name="T8" fmla="*/ 5 w 11"/>
                <a:gd name="T9" fmla="*/ 7 h 16"/>
                <a:gd name="T10" fmla="*/ 0 w 11"/>
                <a:gd name="T11" fmla="*/ 16 h 16"/>
                <a:gd name="T12" fmla="*/ 0 w 11"/>
                <a:gd name="T13" fmla="*/ 16 h 16"/>
                <a:gd name="T14" fmla="*/ 0 w 11"/>
                <a:gd name="T15" fmla="*/ 15 h 16"/>
                <a:gd name="T16" fmla="*/ 0 w 11"/>
                <a:gd name="T17" fmla="*/ 15 h 16"/>
                <a:gd name="T18" fmla="*/ 1 w 11"/>
                <a:gd name="T19" fmla="*/ 12 h 16"/>
                <a:gd name="T20" fmla="*/ 2 w 11"/>
                <a:gd name="T21" fmla="*/ 9 h 16"/>
                <a:gd name="T22" fmla="*/ 1 w 11"/>
                <a:gd name="T23" fmla="*/ 7 h 16"/>
                <a:gd name="T24" fmla="*/ 0 w 11"/>
                <a:gd name="T25" fmla="*/ 7 h 16"/>
                <a:gd name="T26" fmla="*/ 0 w 11"/>
                <a:gd name="T27" fmla="*/ 7 h 16"/>
                <a:gd name="T28" fmla="*/ 4 w 11"/>
                <a:gd name="T29" fmla="*/ 5 h 16"/>
                <a:gd name="T30" fmla="*/ 5 w 11"/>
                <a:gd name="T31" fmla="*/ 3 h 16"/>
                <a:gd name="T32" fmla="*/ 7 w 11"/>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6">
                  <a:moveTo>
                    <a:pt x="7" y="0"/>
                  </a:moveTo>
                  <a:lnTo>
                    <a:pt x="11" y="2"/>
                  </a:lnTo>
                  <a:lnTo>
                    <a:pt x="11" y="2"/>
                  </a:lnTo>
                  <a:lnTo>
                    <a:pt x="5" y="7"/>
                  </a:lnTo>
                  <a:lnTo>
                    <a:pt x="5" y="7"/>
                  </a:lnTo>
                  <a:lnTo>
                    <a:pt x="0" y="16"/>
                  </a:lnTo>
                  <a:lnTo>
                    <a:pt x="0" y="16"/>
                  </a:lnTo>
                  <a:lnTo>
                    <a:pt x="0" y="15"/>
                  </a:lnTo>
                  <a:lnTo>
                    <a:pt x="0" y="15"/>
                  </a:lnTo>
                  <a:lnTo>
                    <a:pt x="1" y="12"/>
                  </a:lnTo>
                  <a:lnTo>
                    <a:pt x="2" y="9"/>
                  </a:lnTo>
                  <a:lnTo>
                    <a:pt x="1" y="7"/>
                  </a:lnTo>
                  <a:lnTo>
                    <a:pt x="0" y="7"/>
                  </a:lnTo>
                  <a:lnTo>
                    <a:pt x="0" y="7"/>
                  </a:lnTo>
                  <a:lnTo>
                    <a:pt x="4" y="5"/>
                  </a:lnTo>
                  <a:lnTo>
                    <a:pt x="5" y="3"/>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95"/>
            <p:cNvSpPr/>
            <p:nvPr/>
          </p:nvSpPr>
          <p:spPr bwMode="auto">
            <a:xfrm>
              <a:off x="4695273" y="4089440"/>
              <a:ext cx="24574" cy="18429"/>
            </a:xfrm>
            <a:custGeom>
              <a:avLst/>
              <a:gdLst>
                <a:gd name="T0" fmla="*/ 9 w 9"/>
                <a:gd name="T1" fmla="*/ 0 h 5"/>
                <a:gd name="T2" fmla="*/ 9 w 9"/>
                <a:gd name="T3" fmla="*/ 0 h 5"/>
                <a:gd name="T4" fmla="*/ 5 w 9"/>
                <a:gd name="T5" fmla="*/ 5 h 5"/>
                <a:gd name="T6" fmla="*/ 3 w 9"/>
                <a:gd name="T7" fmla="*/ 5 h 5"/>
                <a:gd name="T8" fmla="*/ 0 w 9"/>
                <a:gd name="T9" fmla="*/ 5 h 5"/>
                <a:gd name="T10" fmla="*/ 0 w 9"/>
                <a:gd name="T11" fmla="*/ 5 h 5"/>
                <a:gd name="T12" fmla="*/ 3 w 9"/>
                <a:gd name="T13" fmla="*/ 0 h 5"/>
                <a:gd name="T14" fmla="*/ 5 w 9"/>
                <a:gd name="T15" fmla="*/ 0 h 5"/>
                <a:gd name="T16" fmla="*/ 9 w 9"/>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5">
                  <a:moveTo>
                    <a:pt x="9" y="0"/>
                  </a:moveTo>
                  <a:lnTo>
                    <a:pt x="9" y="0"/>
                  </a:lnTo>
                  <a:lnTo>
                    <a:pt x="5" y="5"/>
                  </a:lnTo>
                  <a:lnTo>
                    <a:pt x="3" y="5"/>
                  </a:lnTo>
                  <a:lnTo>
                    <a:pt x="0" y="5"/>
                  </a:lnTo>
                  <a:lnTo>
                    <a:pt x="0" y="5"/>
                  </a:lnTo>
                  <a:lnTo>
                    <a:pt x="3" y="0"/>
                  </a:lnTo>
                  <a:lnTo>
                    <a:pt x="5" y="0"/>
                  </a:lnTo>
                  <a:lnTo>
                    <a:pt x="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96"/>
            <p:cNvSpPr/>
            <p:nvPr/>
          </p:nvSpPr>
          <p:spPr bwMode="auto">
            <a:xfrm>
              <a:off x="4695273" y="4089440"/>
              <a:ext cx="24574" cy="18429"/>
            </a:xfrm>
            <a:custGeom>
              <a:avLst/>
              <a:gdLst>
                <a:gd name="T0" fmla="*/ 9 w 9"/>
                <a:gd name="T1" fmla="*/ 0 h 5"/>
                <a:gd name="T2" fmla="*/ 9 w 9"/>
                <a:gd name="T3" fmla="*/ 0 h 5"/>
                <a:gd name="T4" fmla="*/ 5 w 9"/>
                <a:gd name="T5" fmla="*/ 5 h 5"/>
                <a:gd name="T6" fmla="*/ 3 w 9"/>
                <a:gd name="T7" fmla="*/ 5 h 5"/>
                <a:gd name="T8" fmla="*/ 0 w 9"/>
                <a:gd name="T9" fmla="*/ 5 h 5"/>
                <a:gd name="T10" fmla="*/ 0 w 9"/>
                <a:gd name="T11" fmla="*/ 5 h 5"/>
                <a:gd name="T12" fmla="*/ 3 w 9"/>
                <a:gd name="T13" fmla="*/ 0 h 5"/>
                <a:gd name="T14" fmla="*/ 5 w 9"/>
                <a:gd name="T15" fmla="*/ 0 h 5"/>
                <a:gd name="T16" fmla="*/ 9 w 9"/>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5">
                  <a:moveTo>
                    <a:pt x="9" y="0"/>
                  </a:moveTo>
                  <a:lnTo>
                    <a:pt x="9" y="0"/>
                  </a:lnTo>
                  <a:lnTo>
                    <a:pt x="5" y="5"/>
                  </a:lnTo>
                  <a:lnTo>
                    <a:pt x="3" y="5"/>
                  </a:lnTo>
                  <a:lnTo>
                    <a:pt x="0" y="5"/>
                  </a:lnTo>
                  <a:lnTo>
                    <a:pt x="0" y="5"/>
                  </a:lnTo>
                  <a:lnTo>
                    <a:pt x="3" y="0"/>
                  </a:lnTo>
                  <a:lnTo>
                    <a:pt x="5" y="0"/>
                  </a:lnTo>
                  <a:lnTo>
                    <a:pt x="9"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97"/>
            <p:cNvSpPr/>
            <p:nvPr/>
          </p:nvSpPr>
          <p:spPr bwMode="auto">
            <a:xfrm>
              <a:off x="5395634" y="4501058"/>
              <a:ext cx="30720" cy="55290"/>
            </a:xfrm>
            <a:custGeom>
              <a:avLst/>
              <a:gdLst>
                <a:gd name="T0" fmla="*/ 2 w 10"/>
                <a:gd name="T1" fmla="*/ 0 h 17"/>
                <a:gd name="T2" fmla="*/ 2 w 10"/>
                <a:gd name="T3" fmla="*/ 0 h 17"/>
                <a:gd name="T4" fmla="*/ 5 w 10"/>
                <a:gd name="T5" fmla="*/ 4 h 17"/>
                <a:gd name="T6" fmla="*/ 10 w 10"/>
                <a:gd name="T7" fmla="*/ 5 h 17"/>
                <a:gd name="T8" fmla="*/ 10 w 10"/>
                <a:gd name="T9" fmla="*/ 5 h 17"/>
                <a:gd name="T10" fmla="*/ 7 w 10"/>
                <a:gd name="T11" fmla="*/ 7 h 17"/>
                <a:gd name="T12" fmla="*/ 5 w 10"/>
                <a:gd name="T13" fmla="*/ 10 h 17"/>
                <a:gd name="T14" fmla="*/ 7 w 10"/>
                <a:gd name="T15" fmla="*/ 13 h 17"/>
                <a:gd name="T16" fmla="*/ 8 w 10"/>
                <a:gd name="T17" fmla="*/ 14 h 17"/>
                <a:gd name="T18" fmla="*/ 8 w 10"/>
                <a:gd name="T19" fmla="*/ 14 h 17"/>
                <a:gd name="T20" fmla="*/ 7 w 10"/>
                <a:gd name="T21" fmla="*/ 15 h 17"/>
                <a:gd name="T22" fmla="*/ 5 w 10"/>
                <a:gd name="T23" fmla="*/ 17 h 17"/>
                <a:gd name="T24" fmla="*/ 4 w 10"/>
                <a:gd name="T25" fmla="*/ 15 h 17"/>
                <a:gd name="T26" fmla="*/ 1 w 10"/>
                <a:gd name="T27" fmla="*/ 15 h 17"/>
                <a:gd name="T28" fmla="*/ 0 w 10"/>
                <a:gd name="T29" fmla="*/ 15 h 17"/>
                <a:gd name="T30" fmla="*/ 0 w 10"/>
                <a:gd name="T31" fmla="*/ 17 h 17"/>
                <a:gd name="T32" fmla="*/ 0 w 10"/>
                <a:gd name="T33" fmla="*/ 17 h 17"/>
                <a:gd name="T34" fmla="*/ 1 w 10"/>
                <a:gd name="T35" fmla="*/ 8 h 17"/>
                <a:gd name="T36" fmla="*/ 1 w 10"/>
                <a:gd name="T37" fmla="*/ 4 h 17"/>
                <a:gd name="T38" fmla="*/ 2 w 10"/>
                <a:gd name="T3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7">
                  <a:moveTo>
                    <a:pt x="2" y="0"/>
                  </a:moveTo>
                  <a:lnTo>
                    <a:pt x="2" y="0"/>
                  </a:lnTo>
                  <a:lnTo>
                    <a:pt x="5" y="4"/>
                  </a:lnTo>
                  <a:lnTo>
                    <a:pt x="10" y="5"/>
                  </a:lnTo>
                  <a:lnTo>
                    <a:pt x="10" y="5"/>
                  </a:lnTo>
                  <a:lnTo>
                    <a:pt x="7" y="7"/>
                  </a:lnTo>
                  <a:lnTo>
                    <a:pt x="5" y="10"/>
                  </a:lnTo>
                  <a:lnTo>
                    <a:pt x="7" y="13"/>
                  </a:lnTo>
                  <a:lnTo>
                    <a:pt x="8" y="14"/>
                  </a:lnTo>
                  <a:lnTo>
                    <a:pt x="8" y="14"/>
                  </a:lnTo>
                  <a:lnTo>
                    <a:pt x="7" y="15"/>
                  </a:lnTo>
                  <a:lnTo>
                    <a:pt x="5" y="17"/>
                  </a:lnTo>
                  <a:lnTo>
                    <a:pt x="4" y="15"/>
                  </a:lnTo>
                  <a:lnTo>
                    <a:pt x="1" y="15"/>
                  </a:lnTo>
                  <a:lnTo>
                    <a:pt x="0" y="15"/>
                  </a:lnTo>
                  <a:lnTo>
                    <a:pt x="0" y="17"/>
                  </a:lnTo>
                  <a:lnTo>
                    <a:pt x="0" y="17"/>
                  </a:lnTo>
                  <a:lnTo>
                    <a:pt x="1" y="8"/>
                  </a:lnTo>
                  <a:lnTo>
                    <a:pt x="1" y="4"/>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98"/>
            <p:cNvSpPr/>
            <p:nvPr/>
          </p:nvSpPr>
          <p:spPr bwMode="auto">
            <a:xfrm>
              <a:off x="5395634" y="4501058"/>
              <a:ext cx="30720" cy="55290"/>
            </a:xfrm>
            <a:custGeom>
              <a:avLst/>
              <a:gdLst>
                <a:gd name="T0" fmla="*/ 2 w 10"/>
                <a:gd name="T1" fmla="*/ 0 h 17"/>
                <a:gd name="T2" fmla="*/ 2 w 10"/>
                <a:gd name="T3" fmla="*/ 0 h 17"/>
                <a:gd name="T4" fmla="*/ 5 w 10"/>
                <a:gd name="T5" fmla="*/ 4 h 17"/>
                <a:gd name="T6" fmla="*/ 10 w 10"/>
                <a:gd name="T7" fmla="*/ 5 h 17"/>
                <a:gd name="T8" fmla="*/ 10 w 10"/>
                <a:gd name="T9" fmla="*/ 5 h 17"/>
                <a:gd name="T10" fmla="*/ 7 w 10"/>
                <a:gd name="T11" fmla="*/ 7 h 17"/>
                <a:gd name="T12" fmla="*/ 5 w 10"/>
                <a:gd name="T13" fmla="*/ 10 h 17"/>
                <a:gd name="T14" fmla="*/ 7 w 10"/>
                <a:gd name="T15" fmla="*/ 13 h 17"/>
                <a:gd name="T16" fmla="*/ 8 w 10"/>
                <a:gd name="T17" fmla="*/ 14 h 17"/>
                <a:gd name="T18" fmla="*/ 8 w 10"/>
                <a:gd name="T19" fmla="*/ 14 h 17"/>
                <a:gd name="T20" fmla="*/ 7 w 10"/>
                <a:gd name="T21" fmla="*/ 15 h 17"/>
                <a:gd name="T22" fmla="*/ 5 w 10"/>
                <a:gd name="T23" fmla="*/ 17 h 17"/>
                <a:gd name="T24" fmla="*/ 4 w 10"/>
                <a:gd name="T25" fmla="*/ 15 h 17"/>
                <a:gd name="T26" fmla="*/ 1 w 10"/>
                <a:gd name="T27" fmla="*/ 15 h 17"/>
                <a:gd name="T28" fmla="*/ 0 w 10"/>
                <a:gd name="T29" fmla="*/ 15 h 17"/>
                <a:gd name="T30" fmla="*/ 0 w 10"/>
                <a:gd name="T31" fmla="*/ 17 h 17"/>
                <a:gd name="T32" fmla="*/ 0 w 10"/>
                <a:gd name="T33" fmla="*/ 17 h 17"/>
                <a:gd name="T34" fmla="*/ 1 w 10"/>
                <a:gd name="T35" fmla="*/ 8 h 17"/>
                <a:gd name="T36" fmla="*/ 1 w 10"/>
                <a:gd name="T37" fmla="*/ 4 h 17"/>
                <a:gd name="T38" fmla="*/ 2 w 10"/>
                <a:gd name="T3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7">
                  <a:moveTo>
                    <a:pt x="2" y="0"/>
                  </a:moveTo>
                  <a:lnTo>
                    <a:pt x="2" y="0"/>
                  </a:lnTo>
                  <a:lnTo>
                    <a:pt x="5" y="4"/>
                  </a:lnTo>
                  <a:lnTo>
                    <a:pt x="10" y="5"/>
                  </a:lnTo>
                  <a:lnTo>
                    <a:pt x="10" y="5"/>
                  </a:lnTo>
                  <a:lnTo>
                    <a:pt x="7" y="7"/>
                  </a:lnTo>
                  <a:lnTo>
                    <a:pt x="5" y="10"/>
                  </a:lnTo>
                  <a:lnTo>
                    <a:pt x="7" y="13"/>
                  </a:lnTo>
                  <a:lnTo>
                    <a:pt x="8" y="14"/>
                  </a:lnTo>
                  <a:lnTo>
                    <a:pt x="8" y="14"/>
                  </a:lnTo>
                  <a:lnTo>
                    <a:pt x="7" y="15"/>
                  </a:lnTo>
                  <a:lnTo>
                    <a:pt x="5" y="17"/>
                  </a:lnTo>
                  <a:lnTo>
                    <a:pt x="4" y="15"/>
                  </a:lnTo>
                  <a:lnTo>
                    <a:pt x="1" y="15"/>
                  </a:lnTo>
                  <a:lnTo>
                    <a:pt x="0" y="15"/>
                  </a:lnTo>
                  <a:lnTo>
                    <a:pt x="0" y="17"/>
                  </a:lnTo>
                  <a:lnTo>
                    <a:pt x="0" y="17"/>
                  </a:lnTo>
                  <a:lnTo>
                    <a:pt x="1" y="8"/>
                  </a:lnTo>
                  <a:lnTo>
                    <a:pt x="1" y="4"/>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99"/>
            <p:cNvSpPr/>
            <p:nvPr/>
          </p:nvSpPr>
          <p:spPr bwMode="auto">
            <a:xfrm>
              <a:off x="5469358" y="4568635"/>
              <a:ext cx="24574" cy="24574"/>
            </a:xfrm>
            <a:custGeom>
              <a:avLst/>
              <a:gdLst>
                <a:gd name="T0" fmla="*/ 6 w 7"/>
                <a:gd name="T1" fmla="*/ 0 h 9"/>
                <a:gd name="T2" fmla="*/ 6 w 7"/>
                <a:gd name="T3" fmla="*/ 0 h 9"/>
                <a:gd name="T4" fmla="*/ 7 w 7"/>
                <a:gd name="T5" fmla="*/ 3 h 9"/>
                <a:gd name="T6" fmla="*/ 6 w 7"/>
                <a:gd name="T7" fmla="*/ 7 h 9"/>
                <a:gd name="T8" fmla="*/ 3 w 7"/>
                <a:gd name="T9" fmla="*/ 9 h 9"/>
                <a:gd name="T10" fmla="*/ 1 w 7"/>
                <a:gd name="T11" fmla="*/ 9 h 9"/>
                <a:gd name="T12" fmla="*/ 0 w 7"/>
                <a:gd name="T13" fmla="*/ 9 h 9"/>
                <a:gd name="T14" fmla="*/ 0 w 7"/>
                <a:gd name="T15" fmla="*/ 9 h 9"/>
                <a:gd name="T16" fmla="*/ 3 w 7"/>
                <a:gd name="T17" fmla="*/ 4 h 9"/>
                <a:gd name="T18" fmla="*/ 6 w 7"/>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6" y="0"/>
                  </a:moveTo>
                  <a:lnTo>
                    <a:pt x="6" y="0"/>
                  </a:lnTo>
                  <a:lnTo>
                    <a:pt x="7" y="3"/>
                  </a:lnTo>
                  <a:lnTo>
                    <a:pt x="6" y="7"/>
                  </a:lnTo>
                  <a:lnTo>
                    <a:pt x="3" y="9"/>
                  </a:lnTo>
                  <a:lnTo>
                    <a:pt x="1" y="9"/>
                  </a:lnTo>
                  <a:lnTo>
                    <a:pt x="0" y="9"/>
                  </a:lnTo>
                  <a:lnTo>
                    <a:pt x="0" y="9"/>
                  </a:lnTo>
                  <a:lnTo>
                    <a:pt x="3" y="4"/>
                  </a:lnTo>
                  <a:lnTo>
                    <a:pt x="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100"/>
            <p:cNvSpPr/>
            <p:nvPr/>
          </p:nvSpPr>
          <p:spPr bwMode="auto">
            <a:xfrm>
              <a:off x="5469358" y="4568635"/>
              <a:ext cx="24574" cy="24574"/>
            </a:xfrm>
            <a:custGeom>
              <a:avLst/>
              <a:gdLst>
                <a:gd name="T0" fmla="*/ 6 w 7"/>
                <a:gd name="T1" fmla="*/ 0 h 9"/>
                <a:gd name="T2" fmla="*/ 6 w 7"/>
                <a:gd name="T3" fmla="*/ 0 h 9"/>
                <a:gd name="T4" fmla="*/ 7 w 7"/>
                <a:gd name="T5" fmla="*/ 3 h 9"/>
                <a:gd name="T6" fmla="*/ 6 w 7"/>
                <a:gd name="T7" fmla="*/ 7 h 9"/>
                <a:gd name="T8" fmla="*/ 3 w 7"/>
                <a:gd name="T9" fmla="*/ 9 h 9"/>
                <a:gd name="T10" fmla="*/ 1 w 7"/>
                <a:gd name="T11" fmla="*/ 9 h 9"/>
                <a:gd name="T12" fmla="*/ 0 w 7"/>
                <a:gd name="T13" fmla="*/ 9 h 9"/>
                <a:gd name="T14" fmla="*/ 0 w 7"/>
                <a:gd name="T15" fmla="*/ 9 h 9"/>
                <a:gd name="T16" fmla="*/ 3 w 7"/>
                <a:gd name="T17" fmla="*/ 4 h 9"/>
                <a:gd name="T18" fmla="*/ 6 w 7"/>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6" y="0"/>
                  </a:moveTo>
                  <a:lnTo>
                    <a:pt x="6" y="0"/>
                  </a:lnTo>
                  <a:lnTo>
                    <a:pt x="7" y="3"/>
                  </a:lnTo>
                  <a:lnTo>
                    <a:pt x="6" y="7"/>
                  </a:lnTo>
                  <a:lnTo>
                    <a:pt x="3" y="9"/>
                  </a:lnTo>
                  <a:lnTo>
                    <a:pt x="1" y="9"/>
                  </a:lnTo>
                  <a:lnTo>
                    <a:pt x="0" y="9"/>
                  </a:lnTo>
                  <a:lnTo>
                    <a:pt x="0" y="9"/>
                  </a:lnTo>
                  <a:lnTo>
                    <a:pt x="3" y="4"/>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101"/>
            <p:cNvSpPr/>
            <p:nvPr/>
          </p:nvSpPr>
          <p:spPr bwMode="auto">
            <a:xfrm>
              <a:off x="5371061" y="4556348"/>
              <a:ext cx="12287" cy="43003"/>
            </a:xfrm>
            <a:custGeom>
              <a:avLst/>
              <a:gdLst>
                <a:gd name="T0" fmla="*/ 4 w 4"/>
                <a:gd name="T1" fmla="*/ 0 h 14"/>
                <a:gd name="T2" fmla="*/ 4 w 4"/>
                <a:gd name="T3" fmla="*/ 0 h 14"/>
                <a:gd name="T4" fmla="*/ 4 w 4"/>
                <a:gd name="T5" fmla="*/ 4 h 14"/>
                <a:gd name="T6" fmla="*/ 4 w 4"/>
                <a:gd name="T7" fmla="*/ 7 h 14"/>
                <a:gd name="T8" fmla="*/ 3 w 4"/>
                <a:gd name="T9" fmla="*/ 11 h 14"/>
                <a:gd name="T10" fmla="*/ 0 w 4"/>
                <a:gd name="T11" fmla="*/ 14 h 14"/>
                <a:gd name="T12" fmla="*/ 0 w 4"/>
                <a:gd name="T13" fmla="*/ 14 h 14"/>
                <a:gd name="T14" fmla="*/ 0 w 4"/>
                <a:gd name="T15" fmla="*/ 11 h 14"/>
                <a:gd name="T16" fmla="*/ 0 w 4"/>
                <a:gd name="T17" fmla="*/ 7 h 14"/>
                <a:gd name="T18" fmla="*/ 4 w 4"/>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4">
                  <a:moveTo>
                    <a:pt x="4" y="0"/>
                  </a:moveTo>
                  <a:lnTo>
                    <a:pt x="4" y="0"/>
                  </a:lnTo>
                  <a:lnTo>
                    <a:pt x="4" y="4"/>
                  </a:lnTo>
                  <a:lnTo>
                    <a:pt x="4" y="7"/>
                  </a:lnTo>
                  <a:lnTo>
                    <a:pt x="3" y="11"/>
                  </a:lnTo>
                  <a:lnTo>
                    <a:pt x="0" y="14"/>
                  </a:lnTo>
                  <a:lnTo>
                    <a:pt x="0" y="14"/>
                  </a:lnTo>
                  <a:lnTo>
                    <a:pt x="0" y="11"/>
                  </a:lnTo>
                  <a:lnTo>
                    <a:pt x="0" y="7"/>
                  </a:lnTo>
                  <a:lnTo>
                    <a:pt x="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102"/>
            <p:cNvSpPr/>
            <p:nvPr/>
          </p:nvSpPr>
          <p:spPr bwMode="auto">
            <a:xfrm>
              <a:off x="5371061" y="4556348"/>
              <a:ext cx="12287" cy="43003"/>
            </a:xfrm>
            <a:custGeom>
              <a:avLst/>
              <a:gdLst>
                <a:gd name="T0" fmla="*/ 4 w 4"/>
                <a:gd name="T1" fmla="*/ 0 h 14"/>
                <a:gd name="T2" fmla="*/ 4 w 4"/>
                <a:gd name="T3" fmla="*/ 0 h 14"/>
                <a:gd name="T4" fmla="*/ 4 w 4"/>
                <a:gd name="T5" fmla="*/ 4 h 14"/>
                <a:gd name="T6" fmla="*/ 4 w 4"/>
                <a:gd name="T7" fmla="*/ 7 h 14"/>
                <a:gd name="T8" fmla="*/ 3 w 4"/>
                <a:gd name="T9" fmla="*/ 11 h 14"/>
                <a:gd name="T10" fmla="*/ 0 w 4"/>
                <a:gd name="T11" fmla="*/ 14 h 14"/>
                <a:gd name="T12" fmla="*/ 0 w 4"/>
                <a:gd name="T13" fmla="*/ 14 h 14"/>
                <a:gd name="T14" fmla="*/ 0 w 4"/>
                <a:gd name="T15" fmla="*/ 11 h 14"/>
                <a:gd name="T16" fmla="*/ 0 w 4"/>
                <a:gd name="T17" fmla="*/ 7 h 14"/>
                <a:gd name="T18" fmla="*/ 4 w 4"/>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4">
                  <a:moveTo>
                    <a:pt x="4" y="0"/>
                  </a:moveTo>
                  <a:lnTo>
                    <a:pt x="4" y="0"/>
                  </a:lnTo>
                  <a:lnTo>
                    <a:pt x="4" y="4"/>
                  </a:lnTo>
                  <a:lnTo>
                    <a:pt x="4" y="7"/>
                  </a:lnTo>
                  <a:lnTo>
                    <a:pt x="3" y="11"/>
                  </a:lnTo>
                  <a:lnTo>
                    <a:pt x="0" y="14"/>
                  </a:lnTo>
                  <a:lnTo>
                    <a:pt x="0" y="14"/>
                  </a:lnTo>
                  <a:lnTo>
                    <a:pt x="0" y="11"/>
                  </a:lnTo>
                  <a:lnTo>
                    <a:pt x="0" y="7"/>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4" name="Freeform 103"/>
            <p:cNvSpPr/>
            <p:nvPr/>
          </p:nvSpPr>
          <p:spPr bwMode="auto">
            <a:xfrm>
              <a:off x="5346487" y="4556348"/>
              <a:ext cx="18433" cy="30716"/>
            </a:xfrm>
            <a:custGeom>
              <a:avLst/>
              <a:gdLst>
                <a:gd name="T0" fmla="*/ 4 w 6"/>
                <a:gd name="T1" fmla="*/ 0 h 10"/>
                <a:gd name="T2" fmla="*/ 4 w 6"/>
                <a:gd name="T3" fmla="*/ 0 h 10"/>
                <a:gd name="T4" fmla="*/ 6 w 6"/>
                <a:gd name="T5" fmla="*/ 3 h 10"/>
                <a:gd name="T6" fmla="*/ 6 w 6"/>
                <a:gd name="T7" fmla="*/ 6 h 10"/>
                <a:gd name="T8" fmla="*/ 3 w 6"/>
                <a:gd name="T9" fmla="*/ 8 h 10"/>
                <a:gd name="T10" fmla="*/ 0 w 6"/>
                <a:gd name="T11" fmla="*/ 10 h 10"/>
                <a:gd name="T12" fmla="*/ 0 w 6"/>
                <a:gd name="T13" fmla="*/ 10 h 10"/>
                <a:gd name="T14" fmla="*/ 0 w 6"/>
                <a:gd name="T15" fmla="*/ 7 h 10"/>
                <a:gd name="T16" fmla="*/ 1 w 6"/>
                <a:gd name="T17" fmla="*/ 6 h 10"/>
                <a:gd name="T18" fmla="*/ 4 w 6"/>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0">
                  <a:moveTo>
                    <a:pt x="4" y="0"/>
                  </a:moveTo>
                  <a:lnTo>
                    <a:pt x="4" y="0"/>
                  </a:lnTo>
                  <a:lnTo>
                    <a:pt x="6" y="3"/>
                  </a:lnTo>
                  <a:lnTo>
                    <a:pt x="6" y="6"/>
                  </a:lnTo>
                  <a:lnTo>
                    <a:pt x="3" y="8"/>
                  </a:lnTo>
                  <a:lnTo>
                    <a:pt x="0" y="10"/>
                  </a:lnTo>
                  <a:lnTo>
                    <a:pt x="0" y="10"/>
                  </a:lnTo>
                  <a:lnTo>
                    <a:pt x="0" y="7"/>
                  </a:lnTo>
                  <a:lnTo>
                    <a:pt x="1" y="6"/>
                  </a:lnTo>
                  <a:lnTo>
                    <a:pt x="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04"/>
            <p:cNvSpPr/>
            <p:nvPr/>
          </p:nvSpPr>
          <p:spPr bwMode="auto">
            <a:xfrm>
              <a:off x="5346487" y="4556348"/>
              <a:ext cx="18433" cy="30716"/>
            </a:xfrm>
            <a:custGeom>
              <a:avLst/>
              <a:gdLst>
                <a:gd name="T0" fmla="*/ 4 w 6"/>
                <a:gd name="T1" fmla="*/ 0 h 10"/>
                <a:gd name="T2" fmla="*/ 4 w 6"/>
                <a:gd name="T3" fmla="*/ 0 h 10"/>
                <a:gd name="T4" fmla="*/ 6 w 6"/>
                <a:gd name="T5" fmla="*/ 3 h 10"/>
                <a:gd name="T6" fmla="*/ 6 w 6"/>
                <a:gd name="T7" fmla="*/ 6 h 10"/>
                <a:gd name="T8" fmla="*/ 3 w 6"/>
                <a:gd name="T9" fmla="*/ 8 h 10"/>
                <a:gd name="T10" fmla="*/ 0 w 6"/>
                <a:gd name="T11" fmla="*/ 10 h 10"/>
                <a:gd name="T12" fmla="*/ 0 w 6"/>
                <a:gd name="T13" fmla="*/ 10 h 10"/>
                <a:gd name="T14" fmla="*/ 0 w 6"/>
                <a:gd name="T15" fmla="*/ 7 h 10"/>
                <a:gd name="T16" fmla="*/ 1 w 6"/>
                <a:gd name="T17" fmla="*/ 6 h 10"/>
                <a:gd name="T18" fmla="*/ 4 w 6"/>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0">
                  <a:moveTo>
                    <a:pt x="4" y="0"/>
                  </a:moveTo>
                  <a:lnTo>
                    <a:pt x="4" y="0"/>
                  </a:lnTo>
                  <a:lnTo>
                    <a:pt x="6" y="3"/>
                  </a:lnTo>
                  <a:lnTo>
                    <a:pt x="6" y="6"/>
                  </a:lnTo>
                  <a:lnTo>
                    <a:pt x="3" y="8"/>
                  </a:lnTo>
                  <a:lnTo>
                    <a:pt x="0" y="10"/>
                  </a:lnTo>
                  <a:lnTo>
                    <a:pt x="0" y="10"/>
                  </a:lnTo>
                  <a:lnTo>
                    <a:pt x="0" y="7"/>
                  </a:lnTo>
                  <a:lnTo>
                    <a:pt x="1" y="6"/>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05"/>
            <p:cNvSpPr/>
            <p:nvPr/>
          </p:nvSpPr>
          <p:spPr bwMode="auto">
            <a:xfrm>
              <a:off x="5407922" y="4666930"/>
              <a:ext cx="30720" cy="49148"/>
            </a:xfrm>
            <a:custGeom>
              <a:avLst/>
              <a:gdLst>
                <a:gd name="T0" fmla="*/ 8 w 8"/>
                <a:gd name="T1" fmla="*/ 0 h 16"/>
                <a:gd name="T2" fmla="*/ 8 w 8"/>
                <a:gd name="T3" fmla="*/ 0 h 16"/>
                <a:gd name="T4" fmla="*/ 8 w 8"/>
                <a:gd name="T5" fmla="*/ 0 h 16"/>
                <a:gd name="T6" fmla="*/ 8 w 8"/>
                <a:gd name="T7" fmla="*/ 1 h 16"/>
                <a:gd name="T8" fmla="*/ 6 w 8"/>
                <a:gd name="T9" fmla="*/ 7 h 16"/>
                <a:gd name="T10" fmla="*/ 3 w 8"/>
                <a:gd name="T11" fmla="*/ 13 h 16"/>
                <a:gd name="T12" fmla="*/ 0 w 8"/>
                <a:gd name="T13" fmla="*/ 16 h 16"/>
                <a:gd name="T14" fmla="*/ 0 w 8"/>
                <a:gd name="T15" fmla="*/ 16 h 16"/>
                <a:gd name="T16" fmla="*/ 0 w 8"/>
                <a:gd name="T17" fmla="*/ 13 h 16"/>
                <a:gd name="T18" fmla="*/ 3 w 8"/>
                <a:gd name="T19" fmla="*/ 9 h 16"/>
                <a:gd name="T20" fmla="*/ 8 w 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6">
                  <a:moveTo>
                    <a:pt x="8" y="0"/>
                  </a:moveTo>
                  <a:lnTo>
                    <a:pt x="8" y="0"/>
                  </a:lnTo>
                  <a:lnTo>
                    <a:pt x="8" y="0"/>
                  </a:lnTo>
                  <a:lnTo>
                    <a:pt x="8" y="1"/>
                  </a:lnTo>
                  <a:lnTo>
                    <a:pt x="6" y="7"/>
                  </a:lnTo>
                  <a:lnTo>
                    <a:pt x="3" y="13"/>
                  </a:lnTo>
                  <a:lnTo>
                    <a:pt x="0" y="16"/>
                  </a:lnTo>
                  <a:lnTo>
                    <a:pt x="0" y="16"/>
                  </a:lnTo>
                  <a:lnTo>
                    <a:pt x="0" y="13"/>
                  </a:lnTo>
                  <a:lnTo>
                    <a:pt x="3" y="9"/>
                  </a:lnTo>
                  <a:lnTo>
                    <a:pt x="8"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06"/>
            <p:cNvSpPr/>
            <p:nvPr/>
          </p:nvSpPr>
          <p:spPr bwMode="auto">
            <a:xfrm>
              <a:off x="5407922" y="4666930"/>
              <a:ext cx="30720" cy="49148"/>
            </a:xfrm>
            <a:custGeom>
              <a:avLst/>
              <a:gdLst>
                <a:gd name="T0" fmla="*/ 8 w 8"/>
                <a:gd name="T1" fmla="*/ 0 h 16"/>
                <a:gd name="T2" fmla="*/ 8 w 8"/>
                <a:gd name="T3" fmla="*/ 0 h 16"/>
                <a:gd name="T4" fmla="*/ 8 w 8"/>
                <a:gd name="T5" fmla="*/ 0 h 16"/>
                <a:gd name="T6" fmla="*/ 8 w 8"/>
                <a:gd name="T7" fmla="*/ 1 h 16"/>
                <a:gd name="T8" fmla="*/ 6 w 8"/>
                <a:gd name="T9" fmla="*/ 7 h 16"/>
                <a:gd name="T10" fmla="*/ 3 w 8"/>
                <a:gd name="T11" fmla="*/ 13 h 16"/>
                <a:gd name="T12" fmla="*/ 0 w 8"/>
                <a:gd name="T13" fmla="*/ 16 h 16"/>
                <a:gd name="T14" fmla="*/ 0 w 8"/>
                <a:gd name="T15" fmla="*/ 16 h 16"/>
                <a:gd name="T16" fmla="*/ 0 w 8"/>
                <a:gd name="T17" fmla="*/ 13 h 16"/>
                <a:gd name="T18" fmla="*/ 3 w 8"/>
                <a:gd name="T19" fmla="*/ 9 h 16"/>
                <a:gd name="T20" fmla="*/ 8 w 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6">
                  <a:moveTo>
                    <a:pt x="8" y="0"/>
                  </a:moveTo>
                  <a:lnTo>
                    <a:pt x="8" y="0"/>
                  </a:lnTo>
                  <a:lnTo>
                    <a:pt x="8" y="0"/>
                  </a:lnTo>
                  <a:lnTo>
                    <a:pt x="8" y="1"/>
                  </a:lnTo>
                  <a:lnTo>
                    <a:pt x="6" y="7"/>
                  </a:lnTo>
                  <a:lnTo>
                    <a:pt x="3" y="13"/>
                  </a:lnTo>
                  <a:lnTo>
                    <a:pt x="0" y="16"/>
                  </a:lnTo>
                  <a:lnTo>
                    <a:pt x="0" y="16"/>
                  </a:lnTo>
                  <a:lnTo>
                    <a:pt x="0" y="13"/>
                  </a:lnTo>
                  <a:lnTo>
                    <a:pt x="3" y="9"/>
                  </a:lnTo>
                  <a:lnTo>
                    <a:pt x="8"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07"/>
            <p:cNvSpPr/>
            <p:nvPr/>
          </p:nvSpPr>
          <p:spPr bwMode="auto">
            <a:xfrm>
              <a:off x="3657016" y="3530381"/>
              <a:ext cx="24574" cy="18429"/>
            </a:xfrm>
            <a:custGeom>
              <a:avLst/>
              <a:gdLst>
                <a:gd name="T0" fmla="*/ 5 w 7"/>
                <a:gd name="T1" fmla="*/ 3 h 6"/>
                <a:gd name="T2" fmla="*/ 5 w 7"/>
                <a:gd name="T3" fmla="*/ 3 h 6"/>
                <a:gd name="T4" fmla="*/ 7 w 7"/>
                <a:gd name="T5" fmla="*/ 6 h 6"/>
                <a:gd name="T6" fmla="*/ 7 w 7"/>
                <a:gd name="T7" fmla="*/ 6 h 6"/>
                <a:gd name="T8" fmla="*/ 7 w 7"/>
                <a:gd name="T9" fmla="*/ 6 h 6"/>
                <a:gd name="T10" fmla="*/ 0 w 7"/>
                <a:gd name="T11" fmla="*/ 0 h 6"/>
                <a:gd name="T12" fmla="*/ 0 w 7"/>
                <a:gd name="T13" fmla="*/ 0 h 6"/>
                <a:gd name="T14" fmla="*/ 5 w 7"/>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5" y="3"/>
                  </a:moveTo>
                  <a:lnTo>
                    <a:pt x="5" y="3"/>
                  </a:lnTo>
                  <a:lnTo>
                    <a:pt x="7" y="6"/>
                  </a:lnTo>
                  <a:lnTo>
                    <a:pt x="7" y="6"/>
                  </a:lnTo>
                  <a:lnTo>
                    <a:pt x="7" y="6"/>
                  </a:lnTo>
                  <a:lnTo>
                    <a:pt x="0" y="0"/>
                  </a:lnTo>
                  <a:lnTo>
                    <a:pt x="0" y="0"/>
                  </a:lnTo>
                  <a:lnTo>
                    <a:pt x="5"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9" name="Freeform 108"/>
            <p:cNvSpPr/>
            <p:nvPr/>
          </p:nvSpPr>
          <p:spPr bwMode="auto">
            <a:xfrm>
              <a:off x="3657016" y="3530381"/>
              <a:ext cx="24574" cy="18429"/>
            </a:xfrm>
            <a:custGeom>
              <a:avLst/>
              <a:gdLst>
                <a:gd name="T0" fmla="*/ 5 w 7"/>
                <a:gd name="T1" fmla="*/ 3 h 6"/>
                <a:gd name="T2" fmla="*/ 5 w 7"/>
                <a:gd name="T3" fmla="*/ 3 h 6"/>
                <a:gd name="T4" fmla="*/ 7 w 7"/>
                <a:gd name="T5" fmla="*/ 6 h 6"/>
                <a:gd name="T6" fmla="*/ 7 w 7"/>
                <a:gd name="T7" fmla="*/ 6 h 6"/>
                <a:gd name="T8" fmla="*/ 7 w 7"/>
                <a:gd name="T9" fmla="*/ 6 h 6"/>
                <a:gd name="T10" fmla="*/ 0 w 7"/>
                <a:gd name="T11" fmla="*/ 0 h 6"/>
                <a:gd name="T12" fmla="*/ 0 w 7"/>
                <a:gd name="T13" fmla="*/ 0 h 6"/>
                <a:gd name="T14" fmla="*/ 5 w 7"/>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5" y="3"/>
                  </a:moveTo>
                  <a:lnTo>
                    <a:pt x="5" y="3"/>
                  </a:lnTo>
                  <a:lnTo>
                    <a:pt x="7" y="6"/>
                  </a:lnTo>
                  <a:lnTo>
                    <a:pt x="7" y="6"/>
                  </a:lnTo>
                  <a:lnTo>
                    <a:pt x="7" y="6"/>
                  </a:lnTo>
                  <a:lnTo>
                    <a:pt x="0" y="0"/>
                  </a:lnTo>
                  <a:lnTo>
                    <a:pt x="0" y="0"/>
                  </a:lnTo>
                  <a:lnTo>
                    <a:pt x="5"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9"/>
            <p:cNvSpPr/>
            <p:nvPr/>
          </p:nvSpPr>
          <p:spPr bwMode="auto">
            <a:xfrm>
              <a:off x="5266619" y="4623929"/>
              <a:ext cx="24574" cy="55290"/>
            </a:xfrm>
            <a:custGeom>
              <a:avLst/>
              <a:gdLst>
                <a:gd name="T0" fmla="*/ 7 w 8"/>
                <a:gd name="T1" fmla="*/ 0 h 19"/>
                <a:gd name="T2" fmla="*/ 7 w 8"/>
                <a:gd name="T3" fmla="*/ 0 h 19"/>
                <a:gd name="T4" fmla="*/ 8 w 8"/>
                <a:gd name="T5" fmla="*/ 2 h 19"/>
                <a:gd name="T6" fmla="*/ 8 w 8"/>
                <a:gd name="T7" fmla="*/ 3 h 19"/>
                <a:gd name="T8" fmla="*/ 7 w 8"/>
                <a:gd name="T9" fmla="*/ 10 h 19"/>
                <a:gd name="T10" fmla="*/ 7 w 8"/>
                <a:gd name="T11" fmla="*/ 10 h 19"/>
                <a:gd name="T12" fmla="*/ 3 w 8"/>
                <a:gd name="T13" fmla="*/ 17 h 19"/>
                <a:gd name="T14" fmla="*/ 1 w 8"/>
                <a:gd name="T15" fmla="*/ 19 h 19"/>
                <a:gd name="T16" fmla="*/ 0 w 8"/>
                <a:gd name="T17" fmla="*/ 19 h 19"/>
                <a:gd name="T18" fmla="*/ 0 w 8"/>
                <a:gd name="T19" fmla="*/ 19 h 19"/>
                <a:gd name="T20" fmla="*/ 0 w 8"/>
                <a:gd name="T21" fmla="*/ 16 h 19"/>
                <a:gd name="T22" fmla="*/ 3 w 8"/>
                <a:gd name="T23" fmla="*/ 10 h 19"/>
                <a:gd name="T24" fmla="*/ 5 w 8"/>
                <a:gd name="T25" fmla="*/ 5 h 19"/>
                <a:gd name="T26" fmla="*/ 7 w 8"/>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9">
                  <a:moveTo>
                    <a:pt x="7" y="0"/>
                  </a:moveTo>
                  <a:lnTo>
                    <a:pt x="7" y="0"/>
                  </a:lnTo>
                  <a:lnTo>
                    <a:pt x="8" y="2"/>
                  </a:lnTo>
                  <a:lnTo>
                    <a:pt x="8" y="3"/>
                  </a:lnTo>
                  <a:lnTo>
                    <a:pt x="7" y="10"/>
                  </a:lnTo>
                  <a:lnTo>
                    <a:pt x="7" y="10"/>
                  </a:lnTo>
                  <a:lnTo>
                    <a:pt x="3" y="17"/>
                  </a:lnTo>
                  <a:lnTo>
                    <a:pt x="1" y="19"/>
                  </a:lnTo>
                  <a:lnTo>
                    <a:pt x="0" y="19"/>
                  </a:lnTo>
                  <a:lnTo>
                    <a:pt x="0" y="19"/>
                  </a:lnTo>
                  <a:lnTo>
                    <a:pt x="0" y="16"/>
                  </a:lnTo>
                  <a:lnTo>
                    <a:pt x="3" y="10"/>
                  </a:lnTo>
                  <a:lnTo>
                    <a:pt x="5" y="5"/>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10"/>
            <p:cNvSpPr/>
            <p:nvPr/>
          </p:nvSpPr>
          <p:spPr bwMode="auto">
            <a:xfrm>
              <a:off x="5266619" y="4623929"/>
              <a:ext cx="24574" cy="55290"/>
            </a:xfrm>
            <a:custGeom>
              <a:avLst/>
              <a:gdLst>
                <a:gd name="T0" fmla="*/ 7 w 8"/>
                <a:gd name="T1" fmla="*/ 0 h 19"/>
                <a:gd name="T2" fmla="*/ 7 w 8"/>
                <a:gd name="T3" fmla="*/ 0 h 19"/>
                <a:gd name="T4" fmla="*/ 8 w 8"/>
                <a:gd name="T5" fmla="*/ 2 h 19"/>
                <a:gd name="T6" fmla="*/ 8 w 8"/>
                <a:gd name="T7" fmla="*/ 3 h 19"/>
                <a:gd name="T8" fmla="*/ 7 w 8"/>
                <a:gd name="T9" fmla="*/ 10 h 19"/>
                <a:gd name="T10" fmla="*/ 7 w 8"/>
                <a:gd name="T11" fmla="*/ 10 h 19"/>
                <a:gd name="T12" fmla="*/ 3 w 8"/>
                <a:gd name="T13" fmla="*/ 17 h 19"/>
                <a:gd name="T14" fmla="*/ 1 w 8"/>
                <a:gd name="T15" fmla="*/ 19 h 19"/>
                <a:gd name="T16" fmla="*/ 0 w 8"/>
                <a:gd name="T17" fmla="*/ 19 h 19"/>
                <a:gd name="T18" fmla="*/ 0 w 8"/>
                <a:gd name="T19" fmla="*/ 19 h 19"/>
                <a:gd name="T20" fmla="*/ 0 w 8"/>
                <a:gd name="T21" fmla="*/ 16 h 19"/>
                <a:gd name="T22" fmla="*/ 3 w 8"/>
                <a:gd name="T23" fmla="*/ 10 h 19"/>
                <a:gd name="T24" fmla="*/ 5 w 8"/>
                <a:gd name="T25" fmla="*/ 5 h 19"/>
                <a:gd name="T26" fmla="*/ 7 w 8"/>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9">
                  <a:moveTo>
                    <a:pt x="7" y="0"/>
                  </a:moveTo>
                  <a:lnTo>
                    <a:pt x="7" y="0"/>
                  </a:lnTo>
                  <a:lnTo>
                    <a:pt x="8" y="2"/>
                  </a:lnTo>
                  <a:lnTo>
                    <a:pt x="8" y="3"/>
                  </a:lnTo>
                  <a:lnTo>
                    <a:pt x="7" y="10"/>
                  </a:lnTo>
                  <a:lnTo>
                    <a:pt x="7" y="10"/>
                  </a:lnTo>
                  <a:lnTo>
                    <a:pt x="3" y="17"/>
                  </a:lnTo>
                  <a:lnTo>
                    <a:pt x="1" y="19"/>
                  </a:lnTo>
                  <a:lnTo>
                    <a:pt x="0" y="19"/>
                  </a:lnTo>
                  <a:lnTo>
                    <a:pt x="0" y="19"/>
                  </a:lnTo>
                  <a:lnTo>
                    <a:pt x="0" y="16"/>
                  </a:lnTo>
                  <a:lnTo>
                    <a:pt x="3" y="10"/>
                  </a:lnTo>
                  <a:lnTo>
                    <a:pt x="5" y="5"/>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2" name="Freeform 111"/>
            <p:cNvSpPr/>
            <p:nvPr/>
          </p:nvSpPr>
          <p:spPr bwMode="auto">
            <a:xfrm>
              <a:off x="5555367" y="4881957"/>
              <a:ext cx="30720" cy="24574"/>
            </a:xfrm>
            <a:custGeom>
              <a:avLst/>
              <a:gdLst>
                <a:gd name="T0" fmla="*/ 10 w 10"/>
                <a:gd name="T1" fmla="*/ 3 h 9"/>
                <a:gd name="T2" fmla="*/ 6 w 10"/>
                <a:gd name="T3" fmla="*/ 9 h 9"/>
                <a:gd name="T4" fmla="*/ 6 w 10"/>
                <a:gd name="T5" fmla="*/ 9 h 9"/>
                <a:gd name="T6" fmla="*/ 4 w 10"/>
                <a:gd name="T7" fmla="*/ 9 h 9"/>
                <a:gd name="T8" fmla="*/ 1 w 10"/>
                <a:gd name="T9" fmla="*/ 6 h 9"/>
                <a:gd name="T10" fmla="*/ 0 w 10"/>
                <a:gd name="T11" fmla="*/ 5 h 9"/>
                <a:gd name="T12" fmla="*/ 1 w 10"/>
                <a:gd name="T13" fmla="*/ 0 h 9"/>
                <a:gd name="T14" fmla="*/ 1 w 10"/>
                <a:gd name="T15" fmla="*/ 0 h 9"/>
                <a:gd name="T16" fmla="*/ 4 w 10"/>
                <a:gd name="T17" fmla="*/ 2 h 9"/>
                <a:gd name="T18" fmla="*/ 6 w 10"/>
                <a:gd name="T19" fmla="*/ 2 h 9"/>
                <a:gd name="T20" fmla="*/ 7 w 10"/>
                <a:gd name="T21" fmla="*/ 2 h 9"/>
                <a:gd name="T22" fmla="*/ 10 w 10"/>
                <a:gd name="T23"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9">
                  <a:moveTo>
                    <a:pt x="10" y="3"/>
                  </a:moveTo>
                  <a:lnTo>
                    <a:pt x="6" y="9"/>
                  </a:lnTo>
                  <a:lnTo>
                    <a:pt x="6" y="9"/>
                  </a:lnTo>
                  <a:lnTo>
                    <a:pt x="4" y="9"/>
                  </a:lnTo>
                  <a:lnTo>
                    <a:pt x="1" y="6"/>
                  </a:lnTo>
                  <a:lnTo>
                    <a:pt x="0" y="5"/>
                  </a:lnTo>
                  <a:lnTo>
                    <a:pt x="1" y="0"/>
                  </a:lnTo>
                  <a:lnTo>
                    <a:pt x="1" y="0"/>
                  </a:lnTo>
                  <a:lnTo>
                    <a:pt x="4" y="2"/>
                  </a:lnTo>
                  <a:lnTo>
                    <a:pt x="6" y="2"/>
                  </a:lnTo>
                  <a:lnTo>
                    <a:pt x="7" y="2"/>
                  </a:lnTo>
                  <a:lnTo>
                    <a:pt x="1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3" name="Freeform 112"/>
            <p:cNvSpPr/>
            <p:nvPr/>
          </p:nvSpPr>
          <p:spPr bwMode="auto">
            <a:xfrm>
              <a:off x="5555367" y="4881957"/>
              <a:ext cx="30720" cy="24574"/>
            </a:xfrm>
            <a:custGeom>
              <a:avLst/>
              <a:gdLst>
                <a:gd name="T0" fmla="*/ 10 w 10"/>
                <a:gd name="T1" fmla="*/ 3 h 9"/>
                <a:gd name="T2" fmla="*/ 6 w 10"/>
                <a:gd name="T3" fmla="*/ 9 h 9"/>
                <a:gd name="T4" fmla="*/ 6 w 10"/>
                <a:gd name="T5" fmla="*/ 9 h 9"/>
                <a:gd name="T6" fmla="*/ 4 w 10"/>
                <a:gd name="T7" fmla="*/ 9 h 9"/>
                <a:gd name="T8" fmla="*/ 1 w 10"/>
                <a:gd name="T9" fmla="*/ 6 h 9"/>
                <a:gd name="T10" fmla="*/ 0 w 10"/>
                <a:gd name="T11" fmla="*/ 5 h 9"/>
                <a:gd name="T12" fmla="*/ 1 w 10"/>
                <a:gd name="T13" fmla="*/ 0 h 9"/>
                <a:gd name="T14" fmla="*/ 1 w 10"/>
                <a:gd name="T15" fmla="*/ 0 h 9"/>
                <a:gd name="T16" fmla="*/ 4 w 10"/>
                <a:gd name="T17" fmla="*/ 2 h 9"/>
                <a:gd name="T18" fmla="*/ 6 w 10"/>
                <a:gd name="T19" fmla="*/ 2 h 9"/>
                <a:gd name="T20" fmla="*/ 7 w 10"/>
                <a:gd name="T21" fmla="*/ 2 h 9"/>
                <a:gd name="T22" fmla="*/ 10 w 10"/>
                <a:gd name="T23"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9">
                  <a:moveTo>
                    <a:pt x="10" y="3"/>
                  </a:moveTo>
                  <a:lnTo>
                    <a:pt x="6" y="9"/>
                  </a:lnTo>
                  <a:lnTo>
                    <a:pt x="6" y="9"/>
                  </a:lnTo>
                  <a:lnTo>
                    <a:pt x="4" y="9"/>
                  </a:lnTo>
                  <a:lnTo>
                    <a:pt x="1" y="6"/>
                  </a:lnTo>
                  <a:lnTo>
                    <a:pt x="0" y="5"/>
                  </a:lnTo>
                  <a:lnTo>
                    <a:pt x="1" y="0"/>
                  </a:lnTo>
                  <a:lnTo>
                    <a:pt x="1" y="0"/>
                  </a:lnTo>
                  <a:lnTo>
                    <a:pt x="4" y="2"/>
                  </a:lnTo>
                  <a:lnTo>
                    <a:pt x="6" y="2"/>
                  </a:lnTo>
                  <a:lnTo>
                    <a:pt x="7" y="2"/>
                  </a:lnTo>
                  <a:lnTo>
                    <a:pt x="1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4" name="Freeform 113"/>
            <p:cNvSpPr/>
            <p:nvPr/>
          </p:nvSpPr>
          <p:spPr bwMode="auto">
            <a:xfrm>
              <a:off x="3736884" y="3597958"/>
              <a:ext cx="12287" cy="12287"/>
            </a:xfrm>
            <a:custGeom>
              <a:avLst/>
              <a:gdLst>
                <a:gd name="T0" fmla="*/ 0 w 4"/>
                <a:gd name="T1" fmla="*/ 0 h 5"/>
                <a:gd name="T2" fmla="*/ 0 w 4"/>
                <a:gd name="T3" fmla="*/ 0 h 5"/>
                <a:gd name="T4" fmla="*/ 3 w 4"/>
                <a:gd name="T5" fmla="*/ 3 h 5"/>
                <a:gd name="T6" fmla="*/ 4 w 4"/>
                <a:gd name="T7" fmla="*/ 5 h 5"/>
                <a:gd name="T8" fmla="*/ 4 w 4"/>
                <a:gd name="T9" fmla="*/ 5 h 5"/>
                <a:gd name="T10" fmla="*/ 1 w 4"/>
                <a:gd name="T11" fmla="*/ 2 h 5"/>
                <a:gd name="T12" fmla="*/ 0 w 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0" y="0"/>
                  </a:moveTo>
                  <a:lnTo>
                    <a:pt x="0" y="0"/>
                  </a:lnTo>
                  <a:lnTo>
                    <a:pt x="3" y="3"/>
                  </a:lnTo>
                  <a:lnTo>
                    <a:pt x="4" y="5"/>
                  </a:lnTo>
                  <a:lnTo>
                    <a:pt x="4" y="5"/>
                  </a:lnTo>
                  <a:lnTo>
                    <a:pt x="1" y="2"/>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5" name="Freeform 114"/>
            <p:cNvSpPr/>
            <p:nvPr/>
          </p:nvSpPr>
          <p:spPr bwMode="auto">
            <a:xfrm>
              <a:off x="3736884" y="3597958"/>
              <a:ext cx="12287" cy="12287"/>
            </a:xfrm>
            <a:custGeom>
              <a:avLst/>
              <a:gdLst>
                <a:gd name="T0" fmla="*/ 0 w 4"/>
                <a:gd name="T1" fmla="*/ 0 h 5"/>
                <a:gd name="T2" fmla="*/ 0 w 4"/>
                <a:gd name="T3" fmla="*/ 0 h 5"/>
                <a:gd name="T4" fmla="*/ 3 w 4"/>
                <a:gd name="T5" fmla="*/ 3 h 5"/>
                <a:gd name="T6" fmla="*/ 4 w 4"/>
                <a:gd name="T7" fmla="*/ 5 h 5"/>
                <a:gd name="T8" fmla="*/ 4 w 4"/>
                <a:gd name="T9" fmla="*/ 5 h 5"/>
                <a:gd name="T10" fmla="*/ 1 w 4"/>
                <a:gd name="T11" fmla="*/ 2 h 5"/>
                <a:gd name="T12" fmla="*/ 0 w 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0" y="0"/>
                  </a:moveTo>
                  <a:lnTo>
                    <a:pt x="0" y="0"/>
                  </a:lnTo>
                  <a:lnTo>
                    <a:pt x="3" y="3"/>
                  </a:lnTo>
                  <a:lnTo>
                    <a:pt x="4" y="5"/>
                  </a:lnTo>
                  <a:lnTo>
                    <a:pt x="4" y="5"/>
                  </a:lnTo>
                  <a:lnTo>
                    <a:pt x="1" y="2"/>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6" name="Freeform 115"/>
            <p:cNvSpPr/>
            <p:nvPr/>
          </p:nvSpPr>
          <p:spPr bwMode="auto">
            <a:xfrm>
              <a:off x="3730738" y="3597958"/>
              <a:ext cx="12287" cy="18429"/>
            </a:xfrm>
            <a:custGeom>
              <a:avLst/>
              <a:gdLst>
                <a:gd name="T0" fmla="*/ 0 w 2"/>
                <a:gd name="T1" fmla="*/ 0 h 4"/>
                <a:gd name="T2" fmla="*/ 0 w 2"/>
                <a:gd name="T3" fmla="*/ 0 h 4"/>
                <a:gd name="T4" fmla="*/ 2 w 2"/>
                <a:gd name="T5" fmla="*/ 3 h 4"/>
                <a:gd name="T6" fmla="*/ 2 w 2"/>
                <a:gd name="T7" fmla="*/ 4 h 4"/>
                <a:gd name="T8" fmla="*/ 2 w 2"/>
                <a:gd name="T9" fmla="*/ 4 h 4"/>
                <a:gd name="T10" fmla="*/ 0 w 2"/>
                <a:gd name="T11" fmla="*/ 1 h 4"/>
                <a:gd name="T12" fmla="*/ 0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0"/>
                  </a:moveTo>
                  <a:lnTo>
                    <a:pt x="0" y="0"/>
                  </a:lnTo>
                  <a:lnTo>
                    <a:pt x="2" y="3"/>
                  </a:lnTo>
                  <a:lnTo>
                    <a:pt x="2" y="4"/>
                  </a:lnTo>
                  <a:lnTo>
                    <a:pt x="2" y="4"/>
                  </a:lnTo>
                  <a:lnTo>
                    <a:pt x="0"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7" name="Freeform 116"/>
            <p:cNvSpPr/>
            <p:nvPr/>
          </p:nvSpPr>
          <p:spPr bwMode="auto">
            <a:xfrm>
              <a:off x="3730738" y="3597958"/>
              <a:ext cx="12287" cy="18429"/>
            </a:xfrm>
            <a:custGeom>
              <a:avLst/>
              <a:gdLst>
                <a:gd name="T0" fmla="*/ 0 w 2"/>
                <a:gd name="T1" fmla="*/ 0 h 4"/>
                <a:gd name="T2" fmla="*/ 0 w 2"/>
                <a:gd name="T3" fmla="*/ 0 h 4"/>
                <a:gd name="T4" fmla="*/ 2 w 2"/>
                <a:gd name="T5" fmla="*/ 3 h 4"/>
                <a:gd name="T6" fmla="*/ 2 w 2"/>
                <a:gd name="T7" fmla="*/ 4 h 4"/>
                <a:gd name="T8" fmla="*/ 2 w 2"/>
                <a:gd name="T9" fmla="*/ 4 h 4"/>
                <a:gd name="T10" fmla="*/ 0 w 2"/>
                <a:gd name="T11" fmla="*/ 1 h 4"/>
                <a:gd name="T12" fmla="*/ 0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0"/>
                  </a:moveTo>
                  <a:lnTo>
                    <a:pt x="0" y="0"/>
                  </a:lnTo>
                  <a:lnTo>
                    <a:pt x="2" y="3"/>
                  </a:lnTo>
                  <a:lnTo>
                    <a:pt x="2" y="4"/>
                  </a:lnTo>
                  <a:lnTo>
                    <a:pt x="2" y="4"/>
                  </a:lnTo>
                  <a:lnTo>
                    <a:pt x="0"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8" name="Freeform 117"/>
            <p:cNvSpPr/>
            <p:nvPr/>
          </p:nvSpPr>
          <p:spPr bwMode="auto">
            <a:xfrm>
              <a:off x="5223617" y="4789802"/>
              <a:ext cx="30720" cy="18429"/>
            </a:xfrm>
            <a:custGeom>
              <a:avLst/>
              <a:gdLst>
                <a:gd name="T0" fmla="*/ 4 w 10"/>
                <a:gd name="T1" fmla="*/ 0 h 6"/>
                <a:gd name="T2" fmla="*/ 4 w 10"/>
                <a:gd name="T3" fmla="*/ 0 h 6"/>
                <a:gd name="T4" fmla="*/ 4 w 10"/>
                <a:gd name="T5" fmla="*/ 1 h 6"/>
                <a:gd name="T6" fmla="*/ 6 w 10"/>
                <a:gd name="T7" fmla="*/ 1 h 6"/>
                <a:gd name="T8" fmla="*/ 7 w 10"/>
                <a:gd name="T9" fmla="*/ 1 h 6"/>
                <a:gd name="T10" fmla="*/ 10 w 10"/>
                <a:gd name="T11" fmla="*/ 3 h 6"/>
                <a:gd name="T12" fmla="*/ 10 w 10"/>
                <a:gd name="T13" fmla="*/ 3 h 6"/>
                <a:gd name="T14" fmla="*/ 4 w 10"/>
                <a:gd name="T15" fmla="*/ 6 h 6"/>
                <a:gd name="T16" fmla="*/ 3 w 10"/>
                <a:gd name="T17" fmla="*/ 6 h 6"/>
                <a:gd name="T18" fmla="*/ 0 w 10"/>
                <a:gd name="T19" fmla="*/ 4 h 6"/>
                <a:gd name="T20" fmla="*/ 0 w 10"/>
                <a:gd name="T21" fmla="*/ 4 h 6"/>
                <a:gd name="T22" fmla="*/ 4 w 10"/>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6">
                  <a:moveTo>
                    <a:pt x="4" y="0"/>
                  </a:moveTo>
                  <a:lnTo>
                    <a:pt x="4" y="0"/>
                  </a:lnTo>
                  <a:lnTo>
                    <a:pt x="4" y="1"/>
                  </a:lnTo>
                  <a:lnTo>
                    <a:pt x="6" y="1"/>
                  </a:lnTo>
                  <a:lnTo>
                    <a:pt x="7" y="1"/>
                  </a:lnTo>
                  <a:lnTo>
                    <a:pt x="10" y="3"/>
                  </a:lnTo>
                  <a:lnTo>
                    <a:pt x="10" y="3"/>
                  </a:lnTo>
                  <a:lnTo>
                    <a:pt x="4" y="6"/>
                  </a:lnTo>
                  <a:lnTo>
                    <a:pt x="3" y="6"/>
                  </a:lnTo>
                  <a:lnTo>
                    <a:pt x="0" y="4"/>
                  </a:lnTo>
                  <a:lnTo>
                    <a:pt x="0" y="4"/>
                  </a:lnTo>
                  <a:lnTo>
                    <a:pt x="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9" name="Freeform 118"/>
            <p:cNvSpPr/>
            <p:nvPr/>
          </p:nvSpPr>
          <p:spPr bwMode="auto">
            <a:xfrm>
              <a:off x="5223617" y="4789802"/>
              <a:ext cx="30720" cy="18429"/>
            </a:xfrm>
            <a:custGeom>
              <a:avLst/>
              <a:gdLst>
                <a:gd name="T0" fmla="*/ 4 w 10"/>
                <a:gd name="T1" fmla="*/ 0 h 6"/>
                <a:gd name="T2" fmla="*/ 4 w 10"/>
                <a:gd name="T3" fmla="*/ 0 h 6"/>
                <a:gd name="T4" fmla="*/ 4 w 10"/>
                <a:gd name="T5" fmla="*/ 1 h 6"/>
                <a:gd name="T6" fmla="*/ 6 w 10"/>
                <a:gd name="T7" fmla="*/ 1 h 6"/>
                <a:gd name="T8" fmla="*/ 7 w 10"/>
                <a:gd name="T9" fmla="*/ 1 h 6"/>
                <a:gd name="T10" fmla="*/ 10 w 10"/>
                <a:gd name="T11" fmla="*/ 3 h 6"/>
                <a:gd name="T12" fmla="*/ 10 w 10"/>
                <a:gd name="T13" fmla="*/ 3 h 6"/>
                <a:gd name="T14" fmla="*/ 4 w 10"/>
                <a:gd name="T15" fmla="*/ 6 h 6"/>
                <a:gd name="T16" fmla="*/ 3 w 10"/>
                <a:gd name="T17" fmla="*/ 6 h 6"/>
                <a:gd name="T18" fmla="*/ 0 w 10"/>
                <a:gd name="T19" fmla="*/ 4 h 6"/>
                <a:gd name="T20" fmla="*/ 0 w 10"/>
                <a:gd name="T21" fmla="*/ 4 h 6"/>
                <a:gd name="T22" fmla="*/ 4 w 10"/>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6">
                  <a:moveTo>
                    <a:pt x="4" y="0"/>
                  </a:moveTo>
                  <a:lnTo>
                    <a:pt x="4" y="0"/>
                  </a:lnTo>
                  <a:lnTo>
                    <a:pt x="4" y="1"/>
                  </a:lnTo>
                  <a:lnTo>
                    <a:pt x="6" y="1"/>
                  </a:lnTo>
                  <a:lnTo>
                    <a:pt x="7" y="1"/>
                  </a:lnTo>
                  <a:lnTo>
                    <a:pt x="10" y="3"/>
                  </a:lnTo>
                  <a:lnTo>
                    <a:pt x="10" y="3"/>
                  </a:lnTo>
                  <a:lnTo>
                    <a:pt x="4" y="6"/>
                  </a:lnTo>
                  <a:lnTo>
                    <a:pt x="3" y="6"/>
                  </a:lnTo>
                  <a:lnTo>
                    <a:pt x="0" y="4"/>
                  </a:lnTo>
                  <a:lnTo>
                    <a:pt x="0" y="4"/>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0" name="Freeform 119"/>
            <p:cNvSpPr/>
            <p:nvPr/>
          </p:nvSpPr>
          <p:spPr bwMode="auto">
            <a:xfrm>
              <a:off x="5149894" y="4808234"/>
              <a:ext cx="18433" cy="24574"/>
            </a:xfrm>
            <a:custGeom>
              <a:avLst/>
              <a:gdLst>
                <a:gd name="T0" fmla="*/ 4 w 5"/>
                <a:gd name="T1" fmla="*/ 9 h 9"/>
                <a:gd name="T2" fmla="*/ 4 w 5"/>
                <a:gd name="T3" fmla="*/ 9 h 9"/>
                <a:gd name="T4" fmla="*/ 3 w 5"/>
                <a:gd name="T5" fmla="*/ 7 h 9"/>
                <a:gd name="T6" fmla="*/ 3 w 5"/>
                <a:gd name="T7" fmla="*/ 6 h 9"/>
                <a:gd name="T8" fmla="*/ 4 w 5"/>
                <a:gd name="T9" fmla="*/ 5 h 9"/>
                <a:gd name="T10" fmla="*/ 4 w 5"/>
                <a:gd name="T11" fmla="*/ 5 h 9"/>
                <a:gd name="T12" fmla="*/ 1 w 5"/>
                <a:gd name="T13" fmla="*/ 3 h 9"/>
                <a:gd name="T14" fmla="*/ 0 w 5"/>
                <a:gd name="T15" fmla="*/ 3 h 9"/>
                <a:gd name="T16" fmla="*/ 0 w 5"/>
                <a:gd name="T17" fmla="*/ 3 h 9"/>
                <a:gd name="T18" fmla="*/ 0 w 5"/>
                <a:gd name="T19" fmla="*/ 2 h 9"/>
                <a:gd name="T20" fmla="*/ 1 w 5"/>
                <a:gd name="T21" fmla="*/ 0 h 9"/>
                <a:gd name="T22" fmla="*/ 4 w 5"/>
                <a:gd name="T23" fmla="*/ 2 h 9"/>
                <a:gd name="T24" fmla="*/ 5 w 5"/>
                <a:gd name="T25" fmla="*/ 5 h 9"/>
                <a:gd name="T26" fmla="*/ 5 w 5"/>
                <a:gd name="T27" fmla="*/ 6 h 9"/>
                <a:gd name="T28" fmla="*/ 4 w 5"/>
                <a:gd name="T2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9">
                  <a:moveTo>
                    <a:pt x="4" y="9"/>
                  </a:moveTo>
                  <a:lnTo>
                    <a:pt x="4" y="9"/>
                  </a:lnTo>
                  <a:lnTo>
                    <a:pt x="3" y="7"/>
                  </a:lnTo>
                  <a:lnTo>
                    <a:pt x="3" y="6"/>
                  </a:lnTo>
                  <a:lnTo>
                    <a:pt x="4" y="5"/>
                  </a:lnTo>
                  <a:lnTo>
                    <a:pt x="4" y="5"/>
                  </a:lnTo>
                  <a:lnTo>
                    <a:pt x="1" y="3"/>
                  </a:lnTo>
                  <a:lnTo>
                    <a:pt x="0" y="3"/>
                  </a:lnTo>
                  <a:lnTo>
                    <a:pt x="0" y="3"/>
                  </a:lnTo>
                  <a:lnTo>
                    <a:pt x="0" y="2"/>
                  </a:lnTo>
                  <a:lnTo>
                    <a:pt x="1" y="0"/>
                  </a:lnTo>
                  <a:lnTo>
                    <a:pt x="4" y="2"/>
                  </a:lnTo>
                  <a:lnTo>
                    <a:pt x="5" y="5"/>
                  </a:lnTo>
                  <a:lnTo>
                    <a:pt x="5" y="6"/>
                  </a:lnTo>
                  <a:lnTo>
                    <a:pt x="4"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1" name="Freeform 120"/>
            <p:cNvSpPr/>
            <p:nvPr/>
          </p:nvSpPr>
          <p:spPr bwMode="auto">
            <a:xfrm>
              <a:off x="5149894" y="4808234"/>
              <a:ext cx="18433" cy="24574"/>
            </a:xfrm>
            <a:custGeom>
              <a:avLst/>
              <a:gdLst>
                <a:gd name="T0" fmla="*/ 4 w 5"/>
                <a:gd name="T1" fmla="*/ 9 h 9"/>
                <a:gd name="T2" fmla="*/ 4 w 5"/>
                <a:gd name="T3" fmla="*/ 9 h 9"/>
                <a:gd name="T4" fmla="*/ 3 w 5"/>
                <a:gd name="T5" fmla="*/ 7 h 9"/>
                <a:gd name="T6" fmla="*/ 3 w 5"/>
                <a:gd name="T7" fmla="*/ 6 h 9"/>
                <a:gd name="T8" fmla="*/ 4 w 5"/>
                <a:gd name="T9" fmla="*/ 5 h 9"/>
                <a:gd name="T10" fmla="*/ 4 w 5"/>
                <a:gd name="T11" fmla="*/ 5 h 9"/>
                <a:gd name="T12" fmla="*/ 1 w 5"/>
                <a:gd name="T13" fmla="*/ 3 h 9"/>
                <a:gd name="T14" fmla="*/ 0 w 5"/>
                <a:gd name="T15" fmla="*/ 3 h 9"/>
                <a:gd name="T16" fmla="*/ 0 w 5"/>
                <a:gd name="T17" fmla="*/ 3 h 9"/>
                <a:gd name="T18" fmla="*/ 0 w 5"/>
                <a:gd name="T19" fmla="*/ 2 h 9"/>
                <a:gd name="T20" fmla="*/ 1 w 5"/>
                <a:gd name="T21" fmla="*/ 0 h 9"/>
                <a:gd name="T22" fmla="*/ 4 w 5"/>
                <a:gd name="T23" fmla="*/ 2 h 9"/>
                <a:gd name="T24" fmla="*/ 5 w 5"/>
                <a:gd name="T25" fmla="*/ 5 h 9"/>
                <a:gd name="T26" fmla="*/ 5 w 5"/>
                <a:gd name="T27" fmla="*/ 6 h 9"/>
                <a:gd name="T28" fmla="*/ 4 w 5"/>
                <a:gd name="T2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9">
                  <a:moveTo>
                    <a:pt x="4" y="9"/>
                  </a:moveTo>
                  <a:lnTo>
                    <a:pt x="4" y="9"/>
                  </a:lnTo>
                  <a:lnTo>
                    <a:pt x="3" y="7"/>
                  </a:lnTo>
                  <a:lnTo>
                    <a:pt x="3" y="6"/>
                  </a:lnTo>
                  <a:lnTo>
                    <a:pt x="4" y="5"/>
                  </a:lnTo>
                  <a:lnTo>
                    <a:pt x="4" y="5"/>
                  </a:lnTo>
                  <a:lnTo>
                    <a:pt x="1" y="3"/>
                  </a:lnTo>
                  <a:lnTo>
                    <a:pt x="0" y="3"/>
                  </a:lnTo>
                  <a:lnTo>
                    <a:pt x="0" y="3"/>
                  </a:lnTo>
                  <a:lnTo>
                    <a:pt x="0" y="2"/>
                  </a:lnTo>
                  <a:lnTo>
                    <a:pt x="1" y="0"/>
                  </a:lnTo>
                  <a:lnTo>
                    <a:pt x="4" y="2"/>
                  </a:lnTo>
                  <a:lnTo>
                    <a:pt x="5" y="5"/>
                  </a:lnTo>
                  <a:lnTo>
                    <a:pt x="5" y="6"/>
                  </a:lnTo>
                  <a:lnTo>
                    <a:pt x="4"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2" name="Freeform 121"/>
            <p:cNvSpPr/>
            <p:nvPr/>
          </p:nvSpPr>
          <p:spPr bwMode="auto">
            <a:xfrm>
              <a:off x="5303481" y="4980253"/>
              <a:ext cx="55294" cy="61435"/>
            </a:xfrm>
            <a:custGeom>
              <a:avLst/>
              <a:gdLst>
                <a:gd name="T0" fmla="*/ 17 w 17"/>
                <a:gd name="T1" fmla="*/ 0 h 20"/>
                <a:gd name="T2" fmla="*/ 17 w 17"/>
                <a:gd name="T3" fmla="*/ 0 h 20"/>
                <a:gd name="T4" fmla="*/ 12 w 17"/>
                <a:gd name="T5" fmla="*/ 6 h 20"/>
                <a:gd name="T6" fmla="*/ 8 w 17"/>
                <a:gd name="T7" fmla="*/ 10 h 20"/>
                <a:gd name="T8" fmla="*/ 5 w 17"/>
                <a:gd name="T9" fmla="*/ 15 h 20"/>
                <a:gd name="T10" fmla="*/ 1 w 17"/>
                <a:gd name="T11" fmla="*/ 20 h 20"/>
                <a:gd name="T12" fmla="*/ 1 w 17"/>
                <a:gd name="T13" fmla="*/ 20 h 20"/>
                <a:gd name="T14" fmla="*/ 0 w 17"/>
                <a:gd name="T15" fmla="*/ 17 h 20"/>
                <a:gd name="T16" fmla="*/ 1 w 17"/>
                <a:gd name="T17" fmla="*/ 15 h 20"/>
                <a:gd name="T18" fmla="*/ 5 w 17"/>
                <a:gd name="T19" fmla="*/ 9 h 20"/>
                <a:gd name="T20" fmla="*/ 11 w 17"/>
                <a:gd name="T21" fmla="*/ 3 h 20"/>
                <a:gd name="T22" fmla="*/ 17 w 17"/>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0">
                  <a:moveTo>
                    <a:pt x="17" y="0"/>
                  </a:moveTo>
                  <a:lnTo>
                    <a:pt x="17" y="0"/>
                  </a:lnTo>
                  <a:lnTo>
                    <a:pt x="12" y="6"/>
                  </a:lnTo>
                  <a:lnTo>
                    <a:pt x="8" y="10"/>
                  </a:lnTo>
                  <a:lnTo>
                    <a:pt x="5" y="15"/>
                  </a:lnTo>
                  <a:lnTo>
                    <a:pt x="1" y="20"/>
                  </a:lnTo>
                  <a:lnTo>
                    <a:pt x="1" y="20"/>
                  </a:lnTo>
                  <a:lnTo>
                    <a:pt x="0" y="17"/>
                  </a:lnTo>
                  <a:lnTo>
                    <a:pt x="1" y="15"/>
                  </a:lnTo>
                  <a:lnTo>
                    <a:pt x="5" y="9"/>
                  </a:lnTo>
                  <a:lnTo>
                    <a:pt x="11" y="3"/>
                  </a:lnTo>
                  <a:lnTo>
                    <a:pt x="1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122"/>
            <p:cNvSpPr/>
            <p:nvPr/>
          </p:nvSpPr>
          <p:spPr bwMode="auto">
            <a:xfrm>
              <a:off x="5303481" y="4980253"/>
              <a:ext cx="55294" cy="61435"/>
            </a:xfrm>
            <a:custGeom>
              <a:avLst/>
              <a:gdLst>
                <a:gd name="T0" fmla="*/ 17 w 17"/>
                <a:gd name="T1" fmla="*/ 0 h 20"/>
                <a:gd name="T2" fmla="*/ 17 w 17"/>
                <a:gd name="T3" fmla="*/ 0 h 20"/>
                <a:gd name="T4" fmla="*/ 12 w 17"/>
                <a:gd name="T5" fmla="*/ 6 h 20"/>
                <a:gd name="T6" fmla="*/ 8 w 17"/>
                <a:gd name="T7" fmla="*/ 10 h 20"/>
                <a:gd name="T8" fmla="*/ 5 w 17"/>
                <a:gd name="T9" fmla="*/ 15 h 20"/>
                <a:gd name="T10" fmla="*/ 1 w 17"/>
                <a:gd name="T11" fmla="*/ 20 h 20"/>
                <a:gd name="T12" fmla="*/ 1 w 17"/>
                <a:gd name="T13" fmla="*/ 20 h 20"/>
                <a:gd name="T14" fmla="*/ 0 w 17"/>
                <a:gd name="T15" fmla="*/ 17 h 20"/>
                <a:gd name="T16" fmla="*/ 1 w 17"/>
                <a:gd name="T17" fmla="*/ 15 h 20"/>
                <a:gd name="T18" fmla="*/ 5 w 17"/>
                <a:gd name="T19" fmla="*/ 9 h 20"/>
                <a:gd name="T20" fmla="*/ 11 w 17"/>
                <a:gd name="T21" fmla="*/ 3 h 20"/>
                <a:gd name="T22" fmla="*/ 17 w 17"/>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0">
                  <a:moveTo>
                    <a:pt x="17" y="0"/>
                  </a:moveTo>
                  <a:lnTo>
                    <a:pt x="17" y="0"/>
                  </a:lnTo>
                  <a:lnTo>
                    <a:pt x="12" y="6"/>
                  </a:lnTo>
                  <a:lnTo>
                    <a:pt x="8" y="10"/>
                  </a:lnTo>
                  <a:lnTo>
                    <a:pt x="5" y="15"/>
                  </a:lnTo>
                  <a:lnTo>
                    <a:pt x="1" y="20"/>
                  </a:lnTo>
                  <a:lnTo>
                    <a:pt x="1" y="20"/>
                  </a:lnTo>
                  <a:lnTo>
                    <a:pt x="0" y="17"/>
                  </a:lnTo>
                  <a:lnTo>
                    <a:pt x="1" y="15"/>
                  </a:lnTo>
                  <a:lnTo>
                    <a:pt x="5" y="9"/>
                  </a:lnTo>
                  <a:lnTo>
                    <a:pt x="11" y="3"/>
                  </a:lnTo>
                  <a:lnTo>
                    <a:pt x="1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123"/>
            <p:cNvSpPr/>
            <p:nvPr/>
          </p:nvSpPr>
          <p:spPr bwMode="auto">
            <a:xfrm>
              <a:off x="5113033" y="4851237"/>
              <a:ext cx="24574" cy="36861"/>
            </a:xfrm>
            <a:custGeom>
              <a:avLst/>
              <a:gdLst>
                <a:gd name="T0" fmla="*/ 7 w 8"/>
                <a:gd name="T1" fmla="*/ 0 h 12"/>
                <a:gd name="T2" fmla="*/ 7 w 8"/>
                <a:gd name="T3" fmla="*/ 0 h 12"/>
                <a:gd name="T4" fmla="*/ 8 w 8"/>
                <a:gd name="T5" fmla="*/ 2 h 12"/>
                <a:gd name="T6" fmla="*/ 8 w 8"/>
                <a:gd name="T7" fmla="*/ 5 h 12"/>
                <a:gd name="T8" fmla="*/ 7 w 8"/>
                <a:gd name="T9" fmla="*/ 12 h 12"/>
                <a:gd name="T10" fmla="*/ 7 w 8"/>
                <a:gd name="T11" fmla="*/ 12 h 12"/>
                <a:gd name="T12" fmla="*/ 6 w 8"/>
                <a:gd name="T13" fmla="*/ 9 h 12"/>
                <a:gd name="T14" fmla="*/ 4 w 8"/>
                <a:gd name="T15" fmla="*/ 8 h 12"/>
                <a:gd name="T16" fmla="*/ 3 w 8"/>
                <a:gd name="T17" fmla="*/ 11 h 12"/>
                <a:gd name="T18" fmla="*/ 3 w 8"/>
                <a:gd name="T19" fmla="*/ 11 h 12"/>
                <a:gd name="T20" fmla="*/ 1 w 8"/>
                <a:gd name="T21" fmla="*/ 9 h 12"/>
                <a:gd name="T22" fmla="*/ 1 w 8"/>
                <a:gd name="T23" fmla="*/ 7 h 12"/>
                <a:gd name="T24" fmla="*/ 1 w 8"/>
                <a:gd name="T25" fmla="*/ 5 h 12"/>
                <a:gd name="T26" fmla="*/ 0 w 8"/>
                <a:gd name="T27" fmla="*/ 7 h 12"/>
                <a:gd name="T28" fmla="*/ 0 w 8"/>
                <a:gd name="T29" fmla="*/ 7 h 12"/>
                <a:gd name="T30" fmla="*/ 0 w 8"/>
                <a:gd name="T31" fmla="*/ 4 h 12"/>
                <a:gd name="T32" fmla="*/ 1 w 8"/>
                <a:gd name="T33" fmla="*/ 2 h 12"/>
                <a:gd name="T34" fmla="*/ 3 w 8"/>
                <a:gd name="T35" fmla="*/ 2 h 12"/>
                <a:gd name="T36" fmla="*/ 6 w 8"/>
                <a:gd name="T37" fmla="*/ 2 h 12"/>
                <a:gd name="T38" fmla="*/ 7 w 8"/>
                <a:gd name="T39" fmla="*/ 2 h 12"/>
                <a:gd name="T40" fmla="*/ 7 w 8"/>
                <a:gd name="T4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12">
                  <a:moveTo>
                    <a:pt x="7" y="0"/>
                  </a:moveTo>
                  <a:lnTo>
                    <a:pt x="7" y="0"/>
                  </a:lnTo>
                  <a:lnTo>
                    <a:pt x="8" y="2"/>
                  </a:lnTo>
                  <a:lnTo>
                    <a:pt x="8" y="5"/>
                  </a:lnTo>
                  <a:lnTo>
                    <a:pt x="7" y="12"/>
                  </a:lnTo>
                  <a:lnTo>
                    <a:pt x="7" y="12"/>
                  </a:lnTo>
                  <a:lnTo>
                    <a:pt x="6" y="9"/>
                  </a:lnTo>
                  <a:lnTo>
                    <a:pt x="4" y="8"/>
                  </a:lnTo>
                  <a:lnTo>
                    <a:pt x="3" y="11"/>
                  </a:lnTo>
                  <a:lnTo>
                    <a:pt x="3" y="11"/>
                  </a:lnTo>
                  <a:lnTo>
                    <a:pt x="1" y="9"/>
                  </a:lnTo>
                  <a:lnTo>
                    <a:pt x="1" y="7"/>
                  </a:lnTo>
                  <a:lnTo>
                    <a:pt x="1" y="5"/>
                  </a:lnTo>
                  <a:lnTo>
                    <a:pt x="0" y="7"/>
                  </a:lnTo>
                  <a:lnTo>
                    <a:pt x="0" y="7"/>
                  </a:lnTo>
                  <a:lnTo>
                    <a:pt x="0" y="4"/>
                  </a:lnTo>
                  <a:lnTo>
                    <a:pt x="1" y="2"/>
                  </a:lnTo>
                  <a:lnTo>
                    <a:pt x="3" y="2"/>
                  </a:lnTo>
                  <a:lnTo>
                    <a:pt x="6" y="2"/>
                  </a:lnTo>
                  <a:lnTo>
                    <a:pt x="7" y="2"/>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5" name="Freeform 124"/>
            <p:cNvSpPr/>
            <p:nvPr/>
          </p:nvSpPr>
          <p:spPr bwMode="auto">
            <a:xfrm>
              <a:off x="5113033" y="4851237"/>
              <a:ext cx="24574" cy="36861"/>
            </a:xfrm>
            <a:custGeom>
              <a:avLst/>
              <a:gdLst>
                <a:gd name="T0" fmla="*/ 7 w 8"/>
                <a:gd name="T1" fmla="*/ 0 h 12"/>
                <a:gd name="T2" fmla="*/ 7 w 8"/>
                <a:gd name="T3" fmla="*/ 0 h 12"/>
                <a:gd name="T4" fmla="*/ 8 w 8"/>
                <a:gd name="T5" fmla="*/ 2 h 12"/>
                <a:gd name="T6" fmla="*/ 8 w 8"/>
                <a:gd name="T7" fmla="*/ 5 h 12"/>
                <a:gd name="T8" fmla="*/ 7 w 8"/>
                <a:gd name="T9" fmla="*/ 12 h 12"/>
                <a:gd name="T10" fmla="*/ 7 w 8"/>
                <a:gd name="T11" fmla="*/ 12 h 12"/>
                <a:gd name="T12" fmla="*/ 6 w 8"/>
                <a:gd name="T13" fmla="*/ 9 h 12"/>
                <a:gd name="T14" fmla="*/ 4 w 8"/>
                <a:gd name="T15" fmla="*/ 8 h 12"/>
                <a:gd name="T16" fmla="*/ 3 w 8"/>
                <a:gd name="T17" fmla="*/ 11 h 12"/>
                <a:gd name="T18" fmla="*/ 3 w 8"/>
                <a:gd name="T19" fmla="*/ 11 h 12"/>
                <a:gd name="T20" fmla="*/ 1 w 8"/>
                <a:gd name="T21" fmla="*/ 9 h 12"/>
                <a:gd name="T22" fmla="*/ 1 w 8"/>
                <a:gd name="T23" fmla="*/ 7 h 12"/>
                <a:gd name="T24" fmla="*/ 1 w 8"/>
                <a:gd name="T25" fmla="*/ 5 h 12"/>
                <a:gd name="T26" fmla="*/ 0 w 8"/>
                <a:gd name="T27" fmla="*/ 7 h 12"/>
                <a:gd name="T28" fmla="*/ 0 w 8"/>
                <a:gd name="T29" fmla="*/ 7 h 12"/>
                <a:gd name="T30" fmla="*/ 0 w 8"/>
                <a:gd name="T31" fmla="*/ 4 h 12"/>
                <a:gd name="T32" fmla="*/ 1 w 8"/>
                <a:gd name="T33" fmla="*/ 2 h 12"/>
                <a:gd name="T34" fmla="*/ 3 w 8"/>
                <a:gd name="T35" fmla="*/ 2 h 12"/>
                <a:gd name="T36" fmla="*/ 6 w 8"/>
                <a:gd name="T37" fmla="*/ 2 h 12"/>
                <a:gd name="T38" fmla="*/ 7 w 8"/>
                <a:gd name="T39" fmla="*/ 2 h 12"/>
                <a:gd name="T40" fmla="*/ 7 w 8"/>
                <a:gd name="T4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12">
                  <a:moveTo>
                    <a:pt x="7" y="0"/>
                  </a:moveTo>
                  <a:lnTo>
                    <a:pt x="7" y="0"/>
                  </a:lnTo>
                  <a:lnTo>
                    <a:pt x="8" y="2"/>
                  </a:lnTo>
                  <a:lnTo>
                    <a:pt x="8" y="5"/>
                  </a:lnTo>
                  <a:lnTo>
                    <a:pt x="7" y="12"/>
                  </a:lnTo>
                  <a:lnTo>
                    <a:pt x="7" y="12"/>
                  </a:lnTo>
                  <a:lnTo>
                    <a:pt x="6" y="9"/>
                  </a:lnTo>
                  <a:lnTo>
                    <a:pt x="4" y="8"/>
                  </a:lnTo>
                  <a:lnTo>
                    <a:pt x="3" y="11"/>
                  </a:lnTo>
                  <a:lnTo>
                    <a:pt x="3" y="11"/>
                  </a:lnTo>
                  <a:lnTo>
                    <a:pt x="1" y="9"/>
                  </a:lnTo>
                  <a:lnTo>
                    <a:pt x="1" y="7"/>
                  </a:lnTo>
                  <a:lnTo>
                    <a:pt x="1" y="5"/>
                  </a:lnTo>
                  <a:lnTo>
                    <a:pt x="0" y="7"/>
                  </a:lnTo>
                  <a:lnTo>
                    <a:pt x="0" y="7"/>
                  </a:lnTo>
                  <a:lnTo>
                    <a:pt x="0" y="4"/>
                  </a:lnTo>
                  <a:lnTo>
                    <a:pt x="1" y="2"/>
                  </a:lnTo>
                  <a:lnTo>
                    <a:pt x="3" y="2"/>
                  </a:lnTo>
                  <a:lnTo>
                    <a:pt x="6" y="2"/>
                  </a:lnTo>
                  <a:lnTo>
                    <a:pt x="7" y="2"/>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6" name="Freeform 125"/>
            <p:cNvSpPr/>
            <p:nvPr/>
          </p:nvSpPr>
          <p:spPr bwMode="auto">
            <a:xfrm>
              <a:off x="5131462" y="4888098"/>
              <a:ext cx="49148" cy="55290"/>
            </a:xfrm>
            <a:custGeom>
              <a:avLst/>
              <a:gdLst>
                <a:gd name="T0" fmla="*/ 17 w 17"/>
                <a:gd name="T1" fmla="*/ 0 h 17"/>
                <a:gd name="T2" fmla="*/ 17 w 17"/>
                <a:gd name="T3" fmla="*/ 0 h 17"/>
                <a:gd name="T4" fmla="*/ 17 w 17"/>
                <a:gd name="T5" fmla="*/ 3 h 17"/>
                <a:gd name="T6" fmla="*/ 15 w 17"/>
                <a:gd name="T7" fmla="*/ 5 h 17"/>
                <a:gd name="T8" fmla="*/ 11 w 17"/>
                <a:gd name="T9" fmla="*/ 10 h 17"/>
                <a:gd name="T10" fmla="*/ 11 w 17"/>
                <a:gd name="T11" fmla="*/ 10 h 17"/>
                <a:gd name="T12" fmla="*/ 0 w 17"/>
                <a:gd name="T13" fmla="*/ 17 h 17"/>
                <a:gd name="T14" fmla="*/ 0 w 17"/>
                <a:gd name="T15" fmla="*/ 17 h 17"/>
                <a:gd name="T16" fmla="*/ 1 w 17"/>
                <a:gd name="T17" fmla="*/ 15 h 17"/>
                <a:gd name="T18" fmla="*/ 4 w 17"/>
                <a:gd name="T19" fmla="*/ 12 h 17"/>
                <a:gd name="T20" fmla="*/ 8 w 17"/>
                <a:gd name="T21" fmla="*/ 9 h 17"/>
                <a:gd name="T22" fmla="*/ 8 w 17"/>
                <a:gd name="T23" fmla="*/ 9 h 17"/>
                <a:gd name="T24" fmla="*/ 12 w 17"/>
                <a:gd name="T25" fmla="*/ 5 h 17"/>
                <a:gd name="T26" fmla="*/ 15 w 17"/>
                <a:gd name="T27" fmla="*/ 3 h 17"/>
                <a:gd name="T28" fmla="*/ 17 w 17"/>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7">
                  <a:moveTo>
                    <a:pt x="17" y="0"/>
                  </a:moveTo>
                  <a:lnTo>
                    <a:pt x="17" y="0"/>
                  </a:lnTo>
                  <a:lnTo>
                    <a:pt x="17" y="3"/>
                  </a:lnTo>
                  <a:lnTo>
                    <a:pt x="15" y="5"/>
                  </a:lnTo>
                  <a:lnTo>
                    <a:pt x="11" y="10"/>
                  </a:lnTo>
                  <a:lnTo>
                    <a:pt x="11" y="10"/>
                  </a:lnTo>
                  <a:lnTo>
                    <a:pt x="0" y="17"/>
                  </a:lnTo>
                  <a:lnTo>
                    <a:pt x="0" y="17"/>
                  </a:lnTo>
                  <a:lnTo>
                    <a:pt x="1" y="15"/>
                  </a:lnTo>
                  <a:lnTo>
                    <a:pt x="4" y="12"/>
                  </a:lnTo>
                  <a:lnTo>
                    <a:pt x="8" y="9"/>
                  </a:lnTo>
                  <a:lnTo>
                    <a:pt x="8" y="9"/>
                  </a:lnTo>
                  <a:lnTo>
                    <a:pt x="12" y="5"/>
                  </a:lnTo>
                  <a:lnTo>
                    <a:pt x="15" y="3"/>
                  </a:lnTo>
                  <a:lnTo>
                    <a:pt x="1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7" name="Freeform 126"/>
            <p:cNvSpPr/>
            <p:nvPr/>
          </p:nvSpPr>
          <p:spPr bwMode="auto">
            <a:xfrm>
              <a:off x="5131462" y="4888098"/>
              <a:ext cx="49148" cy="55290"/>
            </a:xfrm>
            <a:custGeom>
              <a:avLst/>
              <a:gdLst>
                <a:gd name="T0" fmla="*/ 17 w 17"/>
                <a:gd name="T1" fmla="*/ 0 h 17"/>
                <a:gd name="T2" fmla="*/ 17 w 17"/>
                <a:gd name="T3" fmla="*/ 0 h 17"/>
                <a:gd name="T4" fmla="*/ 17 w 17"/>
                <a:gd name="T5" fmla="*/ 3 h 17"/>
                <a:gd name="T6" fmla="*/ 15 w 17"/>
                <a:gd name="T7" fmla="*/ 5 h 17"/>
                <a:gd name="T8" fmla="*/ 11 w 17"/>
                <a:gd name="T9" fmla="*/ 10 h 17"/>
                <a:gd name="T10" fmla="*/ 11 w 17"/>
                <a:gd name="T11" fmla="*/ 10 h 17"/>
                <a:gd name="T12" fmla="*/ 0 w 17"/>
                <a:gd name="T13" fmla="*/ 17 h 17"/>
                <a:gd name="T14" fmla="*/ 0 w 17"/>
                <a:gd name="T15" fmla="*/ 17 h 17"/>
                <a:gd name="T16" fmla="*/ 1 w 17"/>
                <a:gd name="T17" fmla="*/ 15 h 17"/>
                <a:gd name="T18" fmla="*/ 4 w 17"/>
                <a:gd name="T19" fmla="*/ 12 h 17"/>
                <a:gd name="T20" fmla="*/ 8 w 17"/>
                <a:gd name="T21" fmla="*/ 9 h 17"/>
                <a:gd name="T22" fmla="*/ 8 w 17"/>
                <a:gd name="T23" fmla="*/ 9 h 17"/>
                <a:gd name="T24" fmla="*/ 12 w 17"/>
                <a:gd name="T25" fmla="*/ 5 h 17"/>
                <a:gd name="T26" fmla="*/ 15 w 17"/>
                <a:gd name="T27" fmla="*/ 3 h 17"/>
                <a:gd name="T28" fmla="*/ 17 w 17"/>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7">
                  <a:moveTo>
                    <a:pt x="17" y="0"/>
                  </a:moveTo>
                  <a:lnTo>
                    <a:pt x="17" y="0"/>
                  </a:lnTo>
                  <a:lnTo>
                    <a:pt x="17" y="3"/>
                  </a:lnTo>
                  <a:lnTo>
                    <a:pt x="15" y="5"/>
                  </a:lnTo>
                  <a:lnTo>
                    <a:pt x="11" y="10"/>
                  </a:lnTo>
                  <a:lnTo>
                    <a:pt x="11" y="10"/>
                  </a:lnTo>
                  <a:lnTo>
                    <a:pt x="0" y="17"/>
                  </a:lnTo>
                  <a:lnTo>
                    <a:pt x="0" y="17"/>
                  </a:lnTo>
                  <a:lnTo>
                    <a:pt x="1" y="15"/>
                  </a:lnTo>
                  <a:lnTo>
                    <a:pt x="4" y="12"/>
                  </a:lnTo>
                  <a:lnTo>
                    <a:pt x="8" y="9"/>
                  </a:lnTo>
                  <a:lnTo>
                    <a:pt x="8" y="9"/>
                  </a:lnTo>
                  <a:lnTo>
                    <a:pt x="12" y="5"/>
                  </a:lnTo>
                  <a:lnTo>
                    <a:pt x="15" y="3"/>
                  </a:lnTo>
                  <a:lnTo>
                    <a:pt x="1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127"/>
            <p:cNvSpPr/>
            <p:nvPr/>
          </p:nvSpPr>
          <p:spPr bwMode="auto">
            <a:xfrm>
              <a:off x="3687735" y="3591817"/>
              <a:ext cx="12287" cy="6142"/>
            </a:xfrm>
            <a:custGeom>
              <a:avLst/>
              <a:gdLst>
                <a:gd name="T0" fmla="*/ 3 w 5"/>
                <a:gd name="T1" fmla="*/ 1 h 3"/>
                <a:gd name="T2" fmla="*/ 3 w 5"/>
                <a:gd name="T3" fmla="*/ 1 h 3"/>
                <a:gd name="T4" fmla="*/ 5 w 5"/>
                <a:gd name="T5" fmla="*/ 3 h 3"/>
                <a:gd name="T6" fmla="*/ 3 w 5"/>
                <a:gd name="T7" fmla="*/ 1 h 3"/>
                <a:gd name="T8" fmla="*/ 2 w 5"/>
                <a:gd name="T9" fmla="*/ 1 h 3"/>
                <a:gd name="T10" fmla="*/ 0 w 5"/>
                <a:gd name="T11" fmla="*/ 1 h 3"/>
                <a:gd name="T12" fmla="*/ 0 w 5"/>
                <a:gd name="T13" fmla="*/ 1 h 3"/>
                <a:gd name="T14" fmla="*/ 0 w 5"/>
                <a:gd name="T15" fmla="*/ 0 h 3"/>
                <a:gd name="T16" fmla="*/ 0 w 5"/>
                <a:gd name="T17" fmla="*/ 0 h 3"/>
                <a:gd name="T18" fmla="*/ 3 w 5"/>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3" y="1"/>
                  </a:moveTo>
                  <a:lnTo>
                    <a:pt x="3" y="1"/>
                  </a:lnTo>
                  <a:lnTo>
                    <a:pt x="5" y="3"/>
                  </a:lnTo>
                  <a:lnTo>
                    <a:pt x="3" y="1"/>
                  </a:lnTo>
                  <a:lnTo>
                    <a:pt x="2" y="1"/>
                  </a:lnTo>
                  <a:lnTo>
                    <a:pt x="0" y="1"/>
                  </a:lnTo>
                  <a:lnTo>
                    <a:pt x="0" y="1"/>
                  </a:lnTo>
                  <a:lnTo>
                    <a:pt x="0" y="0"/>
                  </a:lnTo>
                  <a:lnTo>
                    <a:pt x="0" y="0"/>
                  </a:lnTo>
                  <a:lnTo>
                    <a:pt x="3"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Freeform 128"/>
            <p:cNvSpPr/>
            <p:nvPr/>
          </p:nvSpPr>
          <p:spPr bwMode="auto">
            <a:xfrm>
              <a:off x="3687735" y="3591817"/>
              <a:ext cx="12287" cy="6142"/>
            </a:xfrm>
            <a:custGeom>
              <a:avLst/>
              <a:gdLst>
                <a:gd name="T0" fmla="*/ 3 w 5"/>
                <a:gd name="T1" fmla="*/ 1 h 3"/>
                <a:gd name="T2" fmla="*/ 3 w 5"/>
                <a:gd name="T3" fmla="*/ 1 h 3"/>
                <a:gd name="T4" fmla="*/ 5 w 5"/>
                <a:gd name="T5" fmla="*/ 3 h 3"/>
                <a:gd name="T6" fmla="*/ 3 w 5"/>
                <a:gd name="T7" fmla="*/ 1 h 3"/>
                <a:gd name="T8" fmla="*/ 2 w 5"/>
                <a:gd name="T9" fmla="*/ 1 h 3"/>
                <a:gd name="T10" fmla="*/ 0 w 5"/>
                <a:gd name="T11" fmla="*/ 1 h 3"/>
                <a:gd name="T12" fmla="*/ 0 w 5"/>
                <a:gd name="T13" fmla="*/ 1 h 3"/>
                <a:gd name="T14" fmla="*/ 0 w 5"/>
                <a:gd name="T15" fmla="*/ 0 h 3"/>
                <a:gd name="T16" fmla="*/ 0 w 5"/>
                <a:gd name="T17" fmla="*/ 0 h 3"/>
                <a:gd name="T18" fmla="*/ 3 w 5"/>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3" y="1"/>
                  </a:moveTo>
                  <a:lnTo>
                    <a:pt x="3" y="1"/>
                  </a:lnTo>
                  <a:lnTo>
                    <a:pt x="5" y="3"/>
                  </a:lnTo>
                  <a:lnTo>
                    <a:pt x="3" y="1"/>
                  </a:lnTo>
                  <a:lnTo>
                    <a:pt x="2" y="1"/>
                  </a:lnTo>
                  <a:lnTo>
                    <a:pt x="0" y="1"/>
                  </a:lnTo>
                  <a:lnTo>
                    <a:pt x="0" y="1"/>
                  </a:lnTo>
                  <a:lnTo>
                    <a:pt x="0" y="0"/>
                  </a:lnTo>
                  <a:lnTo>
                    <a:pt x="0" y="0"/>
                  </a:lnTo>
                  <a:lnTo>
                    <a:pt x="3"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129"/>
            <p:cNvSpPr/>
            <p:nvPr/>
          </p:nvSpPr>
          <p:spPr bwMode="auto">
            <a:xfrm>
              <a:off x="5125320" y="5152271"/>
              <a:ext cx="79868" cy="104438"/>
            </a:xfrm>
            <a:custGeom>
              <a:avLst/>
              <a:gdLst>
                <a:gd name="T0" fmla="*/ 20 w 26"/>
                <a:gd name="T1" fmla="*/ 0 h 34"/>
                <a:gd name="T2" fmla="*/ 20 w 26"/>
                <a:gd name="T3" fmla="*/ 0 h 34"/>
                <a:gd name="T4" fmla="*/ 22 w 26"/>
                <a:gd name="T5" fmla="*/ 0 h 34"/>
                <a:gd name="T6" fmla="*/ 23 w 26"/>
                <a:gd name="T7" fmla="*/ 0 h 34"/>
                <a:gd name="T8" fmla="*/ 26 w 26"/>
                <a:gd name="T9" fmla="*/ 1 h 34"/>
                <a:gd name="T10" fmla="*/ 26 w 26"/>
                <a:gd name="T11" fmla="*/ 1 h 34"/>
                <a:gd name="T12" fmla="*/ 23 w 26"/>
                <a:gd name="T13" fmla="*/ 6 h 34"/>
                <a:gd name="T14" fmla="*/ 22 w 26"/>
                <a:gd name="T15" fmla="*/ 10 h 34"/>
                <a:gd name="T16" fmla="*/ 22 w 26"/>
                <a:gd name="T17" fmla="*/ 13 h 34"/>
                <a:gd name="T18" fmla="*/ 22 w 26"/>
                <a:gd name="T19" fmla="*/ 13 h 34"/>
                <a:gd name="T20" fmla="*/ 23 w 26"/>
                <a:gd name="T21" fmla="*/ 13 h 34"/>
                <a:gd name="T22" fmla="*/ 23 w 26"/>
                <a:gd name="T23" fmla="*/ 13 h 34"/>
                <a:gd name="T24" fmla="*/ 19 w 26"/>
                <a:gd name="T25" fmla="*/ 19 h 34"/>
                <a:gd name="T26" fmla="*/ 14 w 26"/>
                <a:gd name="T27" fmla="*/ 24 h 34"/>
                <a:gd name="T28" fmla="*/ 14 w 26"/>
                <a:gd name="T29" fmla="*/ 24 h 34"/>
                <a:gd name="T30" fmla="*/ 9 w 26"/>
                <a:gd name="T31" fmla="*/ 29 h 34"/>
                <a:gd name="T32" fmla="*/ 3 w 26"/>
                <a:gd name="T33" fmla="*/ 34 h 34"/>
                <a:gd name="T34" fmla="*/ 3 w 26"/>
                <a:gd name="T35" fmla="*/ 34 h 34"/>
                <a:gd name="T36" fmla="*/ 3 w 26"/>
                <a:gd name="T37" fmla="*/ 31 h 34"/>
                <a:gd name="T38" fmla="*/ 0 w 26"/>
                <a:gd name="T39" fmla="*/ 29 h 34"/>
                <a:gd name="T40" fmla="*/ 0 w 26"/>
                <a:gd name="T41" fmla="*/ 29 h 34"/>
                <a:gd name="T42" fmla="*/ 6 w 26"/>
                <a:gd name="T43" fmla="*/ 26 h 34"/>
                <a:gd name="T44" fmla="*/ 9 w 26"/>
                <a:gd name="T45" fmla="*/ 23 h 34"/>
                <a:gd name="T46" fmla="*/ 12 w 26"/>
                <a:gd name="T47" fmla="*/ 20 h 34"/>
                <a:gd name="T48" fmla="*/ 13 w 26"/>
                <a:gd name="T49" fmla="*/ 16 h 34"/>
                <a:gd name="T50" fmla="*/ 13 w 26"/>
                <a:gd name="T51" fmla="*/ 16 h 34"/>
                <a:gd name="T52" fmla="*/ 16 w 26"/>
                <a:gd name="T53" fmla="*/ 9 h 34"/>
                <a:gd name="T54" fmla="*/ 20 w 26"/>
                <a:gd name="T5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 h="34">
                  <a:moveTo>
                    <a:pt x="20" y="0"/>
                  </a:moveTo>
                  <a:lnTo>
                    <a:pt x="20" y="0"/>
                  </a:lnTo>
                  <a:lnTo>
                    <a:pt x="22" y="0"/>
                  </a:lnTo>
                  <a:lnTo>
                    <a:pt x="23" y="0"/>
                  </a:lnTo>
                  <a:lnTo>
                    <a:pt x="26" y="1"/>
                  </a:lnTo>
                  <a:lnTo>
                    <a:pt x="26" y="1"/>
                  </a:lnTo>
                  <a:lnTo>
                    <a:pt x="23" y="6"/>
                  </a:lnTo>
                  <a:lnTo>
                    <a:pt x="22" y="10"/>
                  </a:lnTo>
                  <a:lnTo>
                    <a:pt x="22" y="13"/>
                  </a:lnTo>
                  <a:lnTo>
                    <a:pt x="22" y="13"/>
                  </a:lnTo>
                  <a:lnTo>
                    <a:pt x="23" y="13"/>
                  </a:lnTo>
                  <a:lnTo>
                    <a:pt x="23" y="13"/>
                  </a:lnTo>
                  <a:lnTo>
                    <a:pt x="19" y="19"/>
                  </a:lnTo>
                  <a:lnTo>
                    <a:pt x="14" y="24"/>
                  </a:lnTo>
                  <a:lnTo>
                    <a:pt x="14" y="24"/>
                  </a:lnTo>
                  <a:lnTo>
                    <a:pt x="9" y="29"/>
                  </a:lnTo>
                  <a:lnTo>
                    <a:pt x="3" y="34"/>
                  </a:lnTo>
                  <a:lnTo>
                    <a:pt x="3" y="34"/>
                  </a:lnTo>
                  <a:lnTo>
                    <a:pt x="3" y="31"/>
                  </a:lnTo>
                  <a:lnTo>
                    <a:pt x="0" y="29"/>
                  </a:lnTo>
                  <a:lnTo>
                    <a:pt x="0" y="29"/>
                  </a:lnTo>
                  <a:lnTo>
                    <a:pt x="6" y="26"/>
                  </a:lnTo>
                  <a:lnTo>
                    <a:pt x="9" y="23"/>
                  </a:lnTo>
                  <a:lnTo>
                    <a:pt x="12" y="20"/>
                  </a:lnTo>
                  <a:lnTo>
                    <a:pt x="13" y="16"/>
                  </a:lnTo>
                  <a:lnTo>
                    <a:pt x="13" y="16"/>
                  </a:lnTo>
                  <a:lnTo>
                    <a:pt x="16" y="9"/>
                  </a:lnTo>
                  <a:lnTo>
                    <a:pt x="2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130"/>
            <p:cNvSpPr/>
            <p:nvPr/>
          </p:nvSpPr>
          <p:spPr bwMode="auto">
            <a:xfrm>
              <a:off x="5125320" y="5152271"/>
              <a:ext cx="79868" cy="104438"/>
            </a:xfrm>
            <a:custGeom>
              <a:avLst/>
              <a:gdLst>
                <a:gd name="T0" fmla="*/ 20 w 26"/>
                <a:gd name="T1" fmla="*/ 0 h 34"/>
                <a:gd name="T2" fmla="*/ 20 w 26"/>
                <a:gd name="T3" fmla="*/ 0 h 34"/>
                <a:gd name="T4" fmla="*/ 22 w 26"/>
                <a:gd name="T5" fmla="*/ 0 h 34"/>
                <a:gd name="T6" fmla="*/ 23 w 26"/>
                <a:gd name="T7" fmla="*/ 0 h 34"/>
                <a:gd name="T8" fmla="*/ 26 w 26"/>
                <a:gd name="T9" fmla="*/ 1 h 34"/>
                <a:gd name="T10" fmla="*/ 26 w 26"/>
                <a:gd name="T11" fmla="*/ 1 h 34"/>
                <a:gd name="T12" fmla="*/ 23 w 26"/>
                <a:gd name="T13" fmla="*/ 6 h 34"/>
                <a:gd name="T14" fmla="*/ 22 w 26"/>
                <a:gd name="T15" fmla="*/ 10 h 34"/>
                <a:gd name="T16" fmla="*/ 22 w 26"/>
                <a:gd name="T17" fmla="*/ 13 h 34"/>
                <a:gd name="T18" fmla="*/ 22 w 26"/>
                <a:gd name="T19" fmla="*/ 13 h 34"/>
                <a:gd name="T20" fmla="*/ 23 w 26"/>
                <a:gd name="T21" fmla="*/ 13 h 34"/>
                <a:gd name="T22" fmla="*/ 23 w 26"/>
                <a:gd name="T23" fmla="*/ 13 h 34"/>
                <a:gd name="T24" fmla="*/ 19 w 26"/>
                <a:gd name="T25" fmla="*/ 19 h 34"/>
                <a:gd name="T26" fmla="*/ 14 w 26"/>
                <a:gd name="T27" fmla="*/ 24 h 34"/>
                <a:gd name="T28" fmla="*/ 14 w 26"/>
                <a:gd name="T29" fmla="*/ 24 h 34"/>
                <a:gd name="T30" fmla="*/ 9 w 26"/>
                <a:gd name="T31" fmla="*/ 29 h 34"/>
                <a:gd name="T32" fmla="*/ 3 w 26"/>
                <a:gd name="T33" fmla="*/ 34 h 34"/>
                <a:gd name="T34" fmla="*/ 3 w 26"/>
                <a:gd name="T35" fmla="*/ 34 h 34"/>
                <a:gd name="T36" fmla="*/ 3 w 26"/>
                <a:gd name="T37" fmla="*/ 31 h 34"/>
                <a:gd name="T38" fmla="*/ 0 w 26"/>
                <a:gd name="T39" fmla="*/ 29 h 34"/>
                <a:gd name="T40" fmla="*/ 0 w 26"/>
                <a:gd name="T41" fmla="*/ 29 h 34"/>
                <a:gd name="T42" fmla="*/ 6 w 26"/>
                <a:gd name="T43" fmla="*/ 26 h 34"/>
                <a:gd name="T44" fmla="*/ 9 w 26"/>
                <a:gd name="T45" fmla="*/ 23 h 34"/>
                <a:gd name="T46" fmla="*/ 12 w 26"/>
                <a:gd name="T47" fmla="*/ 20 h 34"/>
                <a:gd name="T48" fmla="*/ 13 w 26"/>
                <a:gd name="T49" fmla="*/ 16 h 34"/>
                <a:gd name="T50" fmla="*/ 13 w 26"/>
                <a:gd name="T51" fmla="*/ 16 h 34"/>
                <a:gd name="T52" fmla="*/ 16 w 26"/>
                <a:gd name="T53" fmla="*/ 9 h 34"/>
                <a:gd name="T54" fmla="*/ 20 w 26"/>
                <a:gd name="T5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 h="34">
                  <a:moveTo>
                    <a:pt x="20" y="0"/>
                  </a:moveTo>
                  <a:lnTo>
                    <a:pt x="20" y="0"/>
                  </a:lnTo>
                  <a:lnTo>
                    <a:pt x="22" y="0"/>
                  </a:lnTo>
                  <a:lnTo>
                    <a:pt x="23" y="0"/>
                  </a:lnTo>
                  <a:lnTo>
                    <a:pt x="26" y="1"/>
                  </a:lnTo>
                  <a:lnTo>
                    <a:pt x="26" y="1"/>
                  </a:lnTo>
                  <a:lnTo>
                    <a:pt x="23" y="6"/>
                  </a:lnTo>
                  <a:lnTo>
                    <a:pt x="22" y="10"/>
                  </a:lnTo>
                  <a:lnTo>
                    <a:pt x="22" y="13"/>
                  </a:lnTo>
                  <a:lnTo>
                    <a:pt x="22" y="13"/>
                  </a:lnTo>
                  <a:lnTo>
                    <a:pt x="23" y="13"/>
                  </a:lnTo>
                  <a:lnTo>
                    <a:pt x="23" y="13"/>
                  </a:lnTo>
                  <a:lnTo>
                    <a:pt x="19" y="19"/>
                  </a:lnTo>
                  <a:lnTo>
                    <a:pt x="14" y="24"/>
                  </a:lnTo>
                  <a:lnTo>
                    <a:pt x="14" y="24"/>
                  </a:lnTo>
                  <a:lnTo>
                    <a:pt x="9" y="29"/>
                  </a:lnTo>
                  <a:lnTo>
                    <a:pt x="3" y="34"/>
                  </a:lnTo>
                  <a:lnTo>
                    <a:pt x="3" y="34"/>
                  </a:lnTo>
                  <a:lnTo>
                    <a:pt x="3" y="31"/>
                  </a:lnTo>
                  <a:lnTo>
                    <a:pt x="0" y="29"/>
                  </a:lnTo>
                  <a:lnTo>
                    <a:pt x="0" y="29"/>
                  </a:lnTo>
                  <a:lnTo>
                    <a:pt x="6" y="26"/>
                  </a:lnTo>
                  <a:lnTo>
                    <a:pt x="9" y="23"/>
                  </a:lnTo>
                  <a:lnTo>
                    <a:pt x="12" y="20"/>
                  </a:lnTo>
                  <a:lnTo>
                    <a:pt x="13" y="16"/>
                  </a:lnTo>
                  <a:lnTo>
                    <a:pt x="13" y="16"/>
                  </a:lnTo>
                  <a:lnTo>
                    <a:pt x="16" y="9"/>
                  </a:lnTo>
                  <a:lnTo>
                    <a:pt x="2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147"/>
            <p:cNvSpPr/>
            <p:nvPr/>
          </p:nvSpPr>
          <p:spPr bwMode="auto">
            <a:xfrm>
              <a:off x="4197646" y="4408902"/>
              <a:ext cx="18433" cy="18429"/>
            </a:xfrm>
            <a:custGeom>
              <a:avLst/>
              <a:gdLst>
                <a:gd name="T0" fmla="*/ 3 w 5"/>
                <a:gd name="T1" fmla="*/ 0 h 4"/>
                <a:gd name="T2" fmla="*/ 3 w 5"/>
                <a:gd name="T3" fmla="*/ 0 h 4"/>
                <a:gd name="T4" fmla="*/ 4 w 5"/>
                <a:gd name="T5" fmla="*/ 0 h 4"/>
                <a:gd name="T6" fmla="*/ 5 w 5"/>
                <a:gd name="T7" fmla="*/ 3 h 4"/>
                <a:gd name="T8" fmla="*/ 5 w 5"/>
                <a:gd name="T9" fmla="*/ 3 h 4"/>
                <a:gd name="T10" fmla="*/ 5 w 5"/>
                <a:gd name="T11" fmla="*/ 4 h 4"/>
                <a:gd name="T12" fmla="*/ 4 w 5"/>
                <a:gd name="T13" fmla="*/ 4 h 4"/>
                <a:gd name="T14" fmla="*/ 1 w 5"/>
                <a:gd name="T15" fmla="*/ 3 h 4"/>
                <a:gd name="T16" fmla="*/ 1 w 5"/>
                <a:gd name="T17" fmla="*/ 3 h 4"/>
                <a:gd name="T18" fmla="*/ 0 w 5"/>
                <a:gd name="T19" fmla="*/ 1 h 4"/>
                <a:gd name="T20" fmla="*/ 1 w 5"/>
                <a:gd name="T21" fmla="*/ 1 h 4"/>
                <a:gd name="T22" fmla="*/ 3 w 5"/>
                <a:gd name="T23" fmla="*/ 1 h 4"/>
                <a:gd name="T24" fmla="*/ 3 w 5"/>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4">
                  <a:moveTo>
                    <a:pt x="3" y="0"/>
                  </a:moveTo>
                  <a:lnTo>
                    <a:pt x="3" y="0"/>
                  </a:lnTo>
                  <a:lnTo>
                    <a:pt x="4" y="0"/>
                  </a:lnTo>
                  <a:lnTo>
                    <a:pt x="5" y="3"/>
                  </a:lnTo>
                  <a:lnTo>
                    <a:pt x="5" y="3"/>
                  </a:lnTo>
                  <a:lnTo>
                    <a:pt x="5" y="4"/>
                  </a:lnTo>
                  <a:lnTo>
                    <a:pt x="4" y="4"/>
                  </a:lnTo>
                  <a:lnTo>
                    <a:pt x="1" y="3"/>
                  </a:lnTo>
                  <a:lnTo>
                    <a:pt x="1" y="3"/>
                  </a:lnTo>
                  <a:lnTo>
                    <a:pt x="0" y="1"/>
                  </a:lnTo>
                  <a:lnTo>
                    <a:pt x="1" y="1"/>
                  </a:lnTo>
                  <a:lnTo>
                    <a:pt x="3" y="1"/>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148"/>
            <p:cNvSpPr/>
            <p:nvPr/>
          </p:nvSpPr>
          <p:spPr bwMode="auto">
            <a:xfrm>
              <a:off x="4197646" y="4408902"/>
              <a:ext cx="18433" cy="18429"/>
            </a:xfrm>
            <a:custGeom>
              <a:avLst/>
              <a:gdLst>
                <a:gd name="T0" fmla="*/ 3 w 5"/>
                <a:gd name="T1" fmla="*/ 0 h 4"/>
                <a:gd name="T2" fmla="*/ 3 w 5"/>
                <a:gd name="T3" fmla="*/ 0 h 4"/>
                <a:gd name="T4" fmla="*/ 4 w 5"/>
                <a:gd name="T5" fmla="*/ 0 h 4"/>
                <a:gd name="T6" fmla="*/ 5 w 5"/>
                <a:gd name="T7" fmla="*/ 3 h 4"/>
                <a:gd name="T8" fmla="*/ 5 w 5"/>
                <a:gd name="T9" fmla="*/ 3 h 4"/>
                <a:gd name="T10" fmla="*/ 5 w 5"/>
                <a:gd name="T11" fmla="*/ 4 h 4"/>
                <a:gd name="T12" fmla="*/ 4 w 5"/>
                <a:gd name="T13" fmla="*/ 4 h 4"/>
                <a:gd name="T14" fmla="*/ 1 w 5"/>
                <a:gd name="T15" fmla="*/ 3 h 4"/>
                <a:gd name="T16" fmla="*/ 1 w 5"/>
                <a:gd name="T17" fmla="*/ 3 h 4"/>
                <a:gd name="T18" fmla="*/ 0 w 5"/>
                <a:gd name="T19" fmla="*/ 1 h 4"/>
                <a:gd name="T20" fmla="*/ 1 w 5"/>
                <a:gd name="T21" fmla="*/ 1 h 4"/>
                <a:gd name="T22" fmla="*/ 3 w 5"/>
                <a:gd name="T23" fmla="*/ 1 h 4"/>
                <a:gd name="T24" fmla="*/ 3 w 5"/>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4">
                  <a:moveTo>
                    <a:pt x="3" y="0"/>
                  </a:moveTo>
                  <a:lnTo>
                    <a:pt x="3" y="0"/>
                  </a:lnTo>
                  <a:lnTo>
                    <a:pt x="4" y="0"/>
                  </a:lnTo>
                  <a:lnTo>
                    <a:pt x="5" y="3"/>
                  </a:lnTo>
                  <a:lnTo>
                    <a:pt x="5" y="3"/>
                  </a:lnTo>
                  <a:lnTo>
                    <a:pt x="5" y="4"/>
                  </a:lnTo>
                  <a:lnTo>
                    <a:pt x="4" y="4"/>
                  </a:lnTo>
                  <a:lnTo>
                    <a:pt x="1" y="3"/>
                  </a:lnTo>
                  <a:lnTo>
                    <a:pt x="1" y="3"/>
                  </a:lnTo>
                  <a:lnTo>
                    <a:pt x="0" y="1"/>
                  </a:lnTo>
                  <a:lnTo>
                    <a:pt x="1" y="1"/>
                  </a:lnTo>
                  <a:lnTo>
                    <a:pt x="3" y="1"/>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151"/>
            <p:cNvSpPr/>
            <p:nvPr/>
          </p:nvSpPr>
          <p:spPr bwMode="auto">
            <a:xfrm>
              <a:off x="4117782" y="4396616"/>
              <a:ext cx="12287" cy="12287"/>
            </a:xfrm>
            <a:custGeom>
              <a:avLst/>
              <a:gdLst>
                <a:gd name="T0" fmla="*/ 4 w 4"/>
                <a:gd name="T1" fmla="*/ 0 h 6"/>
                <a:gd name="T2" fmla="*/ 4 w 4"/>
                <a:gd name="T3" fmla="*/ 0 h 6"/>
                <a:gd name="T4" fmla="*/ 4 w 4"/>
                <a:gd name="T5" fmla="*/ 4 h 6"/>
                <a:gd name="T6" fmla="*/ 4 w 4"/>
                <a:gd name="T7" fmla="*/ 6 h 6"/>
                <a:gd name="T8" fmla="*/ 3 w 4"/>
                <a:gd name="T9" fmla="*/ 6 h 6"/>
                <a:gd name="T10" fmla="*/ 3 w 4"/>
                <a:gd name="T11" fmla="*/ 6 h 6"/>
                <a:gd name="T12" fmla="*/ 0 w 4"/>
                <a:gd name="T13" fmla="*/ 1 h 6"/>
                <a:gd name="T14" fmla="*/ 0 w 4"/>
                <a:gd name="T15" fmla="*/ 1 h 6"/>
                <a:gd name="T16" fmla="*/ 3 w 4"/>
                <a:gd name="T17" fmla="*/ 0 h 6"/>
                <a:gd name="T18" fmla="*/ 4 w 4"/>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0"/>
                  </a:moveTo>
                  <a:lnTo>
                    <a:pt x="4" y="0"/>
                  </a:lnTo>
                  <a:lnTo>
                    <a:pt x="4" y="4"/>
                  </a:lnTo>
                  <a:lnTo>
                    <a:pt x="4" y="6"/>
                  </a:lnTo>
                  <a:lnTo>
                    <a:pt x="3" y="6"/>
                  </a:lnTo>
                  <a:lnTo>
                    <a:pt x="3" y="6"/>
                  </a:lnTo>
                  <a:lnTo>
                    <a:pt x="0" y="1"/>
                  </a:lnTo>
                  <a:lnTo>
                    <a:pt x="0" y="1"/>
                  </a:lnTo>
                  <a:lnTo>
                    <a:pt x="3" y="0"/>
                  </a:lnTo>
                  <a:lnTo>
                    <a:pt x="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152"/>
            <p:cNvSpPr/>
            <p:nvPr/>
          </p:nvSpPr>
          <p:spPr bwMode="auto">
            <a:xfrm>
              <a:off x="4117782" y="4396616"/>
              <a:ext cx="12287" cy="12287"/>
            </a:xfrm>
            <a:custGeom>
              <a:avLst/>
              <a:gdLst>
                <a:gd name="T0" fmla="*/ 4 w 4"/>
                <a:gd name="T1" fmla="*/ 0 h 6"/>
                <a:gd name="T2" fmla="*/ 4 w 4"/>
                <a:gd name="T3" fmla="*/ 0 h 6"/>
                <a:gd name="T4" fmla="*/ 4 w 4"/>
                <a:gd name="T5" fmla="*/ 4 h 6"/>
                <a:gd name="T6" fmla="*/ 4 w 4"/>
                <a:gd name="T7" fmla="*/ 6 h 6"/>
                <a:gd name="T8" fmla="*/ 3 w 4"/>
                <a:gd name="T9" fmla="*/ 6 h 6"/>
                <a:gd name="T10" fmla="*/ 3 w 4"/>
                <a:gd name="T11" fmla="*/ 6 h 6"/>
                <a:gd name="T12" fmla="*/ 0 w 4"/>
                <a:gd name="T13" fmla="*/ 1 h 6"/>
                <a:gd name="T14" fmla="*/ 0 w 4"/>
                <a:gd name="T15" fmla="*/ 1 h 6"/>
                <a:gd name="T16" fmla="*/ 3 w 4"/>
                <a:gd name="T17" fmla="*/ 0 h 6"/>
                <a:gd name="T18" fmla="*/ 4 w 4"/>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0"/>
                  </a:moveTo>
                  <a:lnTo>
                    <a:pt x="4" y="0"/>
                  </a:lnTo>
                  <a:lnTo>
                    <a:pt x="4" y="4"/>
                  </a:lnTo>
                  <a:lnTo>
                    <a:pt x="4" y="6"/>
                  </a:lnTo>
                  <a:lnTo>
                    <a:pt x="3" y="6"/>
                  </a:lnTo>
                  <a:lnTo>
                    <a:pt x="3" y="6"/>
                  </a:lnTo>
                  <a:lnTo>
                    <a:pt x="0" y="1"/>
                  </a:lnTo>
                  <a:lnTo>
                    <a:pt x="0" y="1"/>
                  </a:lnTo>
                  <a:lnTo>
                    <a:pt x="3" y="0"/>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153"/>
            <p:cNvSpPr/>
            <p:nvPr/>
          </p:nvSpPr>
          <p:spPr bwMode="auto">
            <a:xfrm>
              <a:off x="4123924" y="4476484"/>
              <a:ext cx="18433" cy="24574"/>
            </a:xfrm>
            <a:custGeom>
              <a:avLst/>
              <a:gdLst>
                <a:gd name="T0" fmla="*/ 8 w 8"/>
                <a:gd name="T1" fmla="*/ 0 h 7"/>
                <a:gd name="T2" fmla="*/ 8 w 8"/>
                <a:gd name="T3" fmla="*/ 0 h 7"/>
                <a:gd name="T4" fmla="*/ 8 w 8"/>
                <a:gd name="T5" fmla="*/ 2 h 7"/>
                <a:gd name="T6" fmla="*/ 6 w 8"/>
                <a:gd name="T7" fmla="*/ 3 h 7"/>
                <a:gd name="T8" fmla="*/ 0 w 8"/>
                <a:gd name="T9" fmla="*/ 7 h 7"/>
                <a:gd name="T10" fmla="*/ 0 w 8"/>
                <a:gd name="T11" fmla="*/ 7 h 7"/>
                <a:gd name="T12" fmla="*/ 0 w 8"/>
                <a:gd name="T13" fmla="*/ 4 h 7"/>
                <a:gd name="T14" fmla="*/ 2 w 8"/>
                <a:gd name="T15" fmla="*/ 3 h 7"/>
                <a:gd name="T16" fmla="*/ 8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0"/>
                  </a:moveTo>
                  <a:lnTo>
                    <a:pt x="8" y="0"/>
                  </a:lnTo>
                  <a:lnTo>
                    <a:pt x="8" y="2"/>
                  </a:lnTo>
                  <a:lnTo>
                    <a:pt x="6" y="3"/>
                  </a:lnTo>
                  <a:lnTo>
                    <a:pt x="0" y="7"/>
                  </a:lnTo>
                  <a:lnTo>
                    <a:pt x="0" y="7"/>
                  </a:lnTo>
                  <a:lnTo>
                    <a:pt x="0" y="4"/>
                  </a:lnTo>
                  <a:lnTo>
                    <a:pt x="2" y="3"/>
                  </a:lnTo>
                  <a:lnTo>
                    <a:pt x="8"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Freeform 154"/>
            <p:cNvSpPr/>
            <p:nvPr/>
          </p:nvSpPr>
          <p:spPr bwMode="auto">
            <a:xfrm>
              <a:off x="4123924" y="4476484"/>
              <a:ext cx="18433" cy="24574"/>
            </a:xfrm>
            <a:custGeom>
              <a:avLst/>
              <a:gdLst>
                <a:gd name="T0" fmla="*/ 8 w 8"/>
                <a:gd name="T1" fmla="*/ 0 h 7"/>
                <a:gd name="T2" fmla="*/ 8 w 8"/>
                <a:gd name="T3" fmla="*/ 0 h 7"/>
                <a:gd name="T4" fmla="*/ 8 w 8"/>
                <a:gd name="T5" fmla="*/ 2 h 7"/>
                <a:gd name="T6" fmla="*/ 6 w 8"/>
                <a:gd name="T7" fmla="*/ 3 h 7"/>
                <a:gd name="T8" fmla="*/ 0 w 8"/>
                <a:gd name="T9" fmla="*/ 7 h 7"/>
                <a:gd name="T10" fmla="*/ 0 w 8"/>
                <a:gd name="T11" fmla="*/ 7 h 7"/>
                <a:gd name="T12" fmla="*/ 0 w 8"/>
                <a:gd name="T13" fmla="*/ 4 h 7"/>
                <a:gd name="T14" fmla="*/ 2 w 8"/>
                <a:gd name="T15" fmla="*/ 3 h 7"/>
                <a:gd name="T16" fmla="*/ 8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0"/>
                  </a:moveTo>
                  <a:lnTo>
                    <a:pt x="8" y="0"/>
                  </a:lnTo>
                  <a:lnTo>
                    <a:pt x="8" y="2"/>
                  </a:lnTo>
                  <a:lnTo>
                    <a:pt x="6" y="3"/>
                  </a:lnTo>
                  <a:lnTo>
                    <a:pt x="0" y="7"/>
                  </a:lnTo>
                  <a:lnTo>
                    <a:pt x="0" y="7"/>
                  </a:lnTo>
                  <a:lnTo>
                    <a:pt x="0" y="4"/>
                  </a:lnTo>
                  <a:lnTo>
                    <a:pt x="2" y="3"/>
                  </a:lnTo>
                  <a:lnTo>
                    <a:pt x="8"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155"/>
            <p:cNvSpPr/>
            <p:nvPr/>
          </p:nvSpPr>
          <p:spPr bwMode="auto">
            <a:xfrm>
              <a:off x="3614013" y="3579529"/>
              <a:ext cx="6145" cy="12287"/>
            </a:xfrm>
            <a:custGeom>
              <a:avLst/>
              <a:gdLst>
                <a:gd name="T0" fmla="*/ 3 w 3"/>
                <a:gd name="T1" fmla="*/ 4 h 4"/>
                <a:gd name="T2" fmla="*/ 3 w 3"/>
                <a:gd name="T3" fmla="*/ 4 h 4"/>
                <a:gd name="T4" fmla="*/ 0 w 3"/>
                <a:gd name="T5" fmla="*/ 1 h 4"/>
                <a:gd name="T6" fmla="*/ 0 w 3"/>
                <a:gd name="T7" fmla="*/ 1 h 4"/>
                <a:gd name="T8" fmla="*/ 0 w 3"/>
                <a:gd name="T9" fmla="*/ 0 h 4"/>
                <a:gd name="T10" fmla="*/ 0 w 3"/>
                <a:gd name="T11" fmla="*/ 0 h 4"/>
                <a:gd name="T12" fmla="*/ 3 w 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4"/>
                  </a:moveTo>
                  <a:lnTo>
                    <a:pt x="3" y="4"/>
                  </a:lnTo>
                  <a:lnTo>
                    <a:pt x="0" y="1"/>
                  </a:lnTo>
                  <a:lnTo>
                    <a:pt x="0" y="1"/>
                  </a:lnTo>
                  <a:lnTo>
                    <a:pt x="0" y="0"/>
                  </a:lnTo>
                  <a:lnTo>
                    <a:pt x="0" y="0"/>
                  </a:lnTo>
                  <a:lnTo>
                    <a:pt x="3"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156"/>
            <p:cNvSpPr/>
            <p:nvPr/>
          </p:nvSpPr>
          <p:spPr bwMode="auto">
            <a:xfrm>
              <a:off x="3614013" y="3579529"/>
              <a:ext cx="6145" cy="12287"/>
            </a:xfrm>
            <a:custGeom>
              <a:avLst/>
              <a:gdLst>
                <a:gd name="T0" fmla="*/ 3 w 3"/>
                <a:gd name="T1" fmla="*/ 4 h 4"/>
                <a:gd name="T2" fmla="*/ 3 w 3"/>
                <a:gd name="T3" fmla="*/ 4 h 4"/>
                <a:gd name="T4" fmla="*/ 0 w 3"/>
                <a:gd name="T5" fmla="*/ 1 h 4"/>
                <a:gd name="T6" fmla="*/ 0 w 3"/>
                <a:gd name="T7" fmla="*/ 1 h 4"/>
                <a:gd name="T8" fmla="*/ 0 w 3"/>
                <a:gd name="T9" fmla="*/ 0 h 4"/>
                <a:gd name="T10" fmla="*/ 0 w 3"/>
                <a:gd name="T11" fmla="*/ 0 h 4"/>
                <a:gd name="T12" fmla="*/ 3 w 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4"/>
                  </a:moveTo>
                  <a:lnTo>
                    <a:pt x="3" y="4"/>
                  </a:lnTo>
                  <a:lnTo>
                    <a:pt x="0" y="1"/>
                  </a:lnTo>
                  <a:lnTo>
                    <a:pt x="0" y="1"/>
                  </a:lnTo>
                  <a:lnTo>
                    <a:pt x="0" y="0"/>
                  </a:lnTo>
                  <a:lnTo>
                    <a:pt x="0" y="0"/>
                  </a:lnTo>
                  <a:lnTo>
                    <a:pt x="3"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157"/>
            <p:cNvSpPr/>
            <p:nvPr/>
          </p:nvSpPr>
          <p:spPr bwMode="auto">
            <a:xfrm>
              <a:off x="4062490" y="4439622"/>
              <a:ext cx="0" cy="30716"/>
            </a:xfrm>
            <a:custGeom>
              <a:avLst/>
              <a:gdLst>
                <a:gd name="T0" fmla="*/ 1 w 1"/>
                <a:gd name="T1" fmla="*/ 0 h 10"/>
                <a:gd name="T2" fmla="*/ 1 w 1"/>
                <a:gd name="T3" fmla="*/ 0 h 10"/>
                <a:gd name="T4" fmla="*/ 1 w 1"/>
                <a:gd name="T5" fmla="*/ 5 h 10"/>
                <a:gd name="T6" fmla="*/ 1 w 1"/>
                <a:gd name="T7" fmla="*/ 8 h 10"/>
                <a:gd name="T8" fmla="*/ 0 w 1"/>
                <a:gd name="T9" fmla="*/ 10 h 10"/>
                <a:gd name="T10" fmla="*/ 0 w 1"/>
                <a:gd name="T11" fmla="*/ 10 h 10"/>
                <a:gd name="T12" fmla="*/ 0 w 1"/>
                <a:gd name="T13" fmla="*/ 4 h 10"/>
                <a:gd name="T14" fmla="*/ 0 w 1"/>
                <a:gd name="T15" fmla="*/ 3 h 10"/>
                <a:gd name="T16" fmla="*/ 1 w 1"/>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0">
                  <a:moveTo>
                    <a:pt x="1" y="0"/>
                  </a:moveTo>
                  <a:lnTo>
                    <a:pt x="1" y="0"/>
                  </a:lnTo>
                  <a:lnTo>
                    <a:pt x="1" y="5"/>
                  </a:lnTo>
                  <a:lnTo>
                    <a:pt x="1" y="8"/>
                  </a:lnTo>
                  <a:lnTo>
                    <a:pt x="0" y="10"/>
                  </a:lnTo>
                  <a:lnTo>
                    <a:pt x="0" y="10"/>
                  </a:lnTo>
                  <a:lnTo>
                    <a:pt x="0" y="4"/>
                  </a:lnTo>
                  <a:lnTo>
                    <a:pt x="0" y="3"/>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158"/>
            <p:cNvSpPr/>
            <p:nvPr/>
          </p:nvSpPr>
          <p:spPr bwMode="auto">
            <a:xfrm>
              <a:off x="4062490" y="4439622"/>
              <a:ext cx="0" cy="30716"/>
            </a:xfrm>
            <a:custGeom>
              <a:avLst/>
              <a:gdLst>
                <a:gd name="T0" fmla="*/ 1 w 1"/>
                <a:gd name="T1" fmla="*/ 0 h 10"/>
                <a:gd name="T2" fmla="*/ 1 w 1"/>
                <a:gd name="T3" fmla="*/ 0 h 10"/>
                <a:gd name="T4" fmla="*/ 1 w 1"/>
                <a:gd name="T5" fmla="*/ 5 h 10"/>
                <a:gd name="T6" fmla="*/ 1 w 1"/>
                <a:gd name="T7" fmla="*/ 8 h 10"/>
                <a:gd name="T8" fmla="*/ 0 w 1"/>
                <a:gd name="T9" fmla="*/ 10 h 10"/>
                <a:gd name="T10" fmla="*/ 0 w 1"/>
                <a:gd name="T11" fmla="*/ 10 h 10"/>
                <a:gd name="T12" fmla="*/ 0 w 1"/>
                <a:gd name="T13" fmla="*/ 4 h 10"/>
                <a:gd name="T14" fmla="*/ 0 w 1"/>
                <a:gd name="T15" fmla="*/ 3 h 10"/>
                <a:gd name="T16" fmla="*/ 1 w 1"/>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0">
                  <a:moveTo>
                    <a:pt x="1" y="0"/>
                  </a:moveTo>
                  <a:lnTo>
                    <a:pt x="1" y="0"/>
                  </a:lnTo>
                  <a:lnTo>
                    <a:pt x="1" y="5"/>
                  </a:lnTo>
                  <a:lnTo>
                    <a:pt x="1" y="8"/>
                  </a:lnTo>
                  <a:lnTo>
                    <a:pt x="0" y="10"/>
                  </a:lnTo>
                  <a:lnTo>
                    <a:pt x="0" y="10"/>
                  </a:lnTo>
                  <a:lnTo>
                    <a:pt x="0" y="4"/>
                  </a:lnTo>
                  <a:lnTo>
                    <a:pt x="0" y="3"/>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61"/>
            <p:cNvSpPr/>
            <p:nvPr/>
          </p:nvSpPr>
          <p:spPr bwMode="auto">
            <a:xfrm>
              <a:off x="4031773" y="4488771"/>
              <a:ext cx="18433" cy="24574"/>
            </a:xfrm>
            <a:custGeom>
              <a:avLst/>
              <a:gdLst>
                <a:gd name="T0" fmla="*/ 4 w 4"/>
                <a:gd name="T1" fmla="*/ 0 h 8"/>
                <a:gd name="T2" fmla="*/ 4 w 4"/>
                <a:gd name="T3" fmla="*/ 0 h 8"/>
                <a:gd name="T4" fmla="*/ 4 w 4"/>
                <a:gd name="T5" fmla="*/ 3 h 8"/>
                <a:gd name="T6" fmla="*/ 3 w 4"/>
                <a:gd name="T7" fmla="*/ 3 h 8"/>
                <a:gd name="T8" fmla="*/ 3 w 4"/>
                <a:gd name="T9" fmla="*/ 5 h 8"/>
                <a:gd name="T10" fmla="*/ 3 w 4"/>
                <a:gd name="T11" fmla="*/ 8 h 8"/>
                <a:gd name="T12" fmla="*/ 3 w 4"/>
                <a:gd name="T13" fmla="*/ 8 h 8"/>
                <a:gd name="T14" fmla="*/ 1 w 4"/>
                <a:gd name="T15" fmla="*/ 8 h 8"/>
                <a:gd name="T16" fmla="*/ 1 w 4"/>
                <a:gd name="T17" fmla="*/ 6 h 8"/>
                <a:gd name="T18" fmla="*/ 1 w 4"/>
                <a:gd name="T19" fmla="*/ 6 h 8"/>
                <a:gd name="T20" fmla="*/ 0 w 4"/>
                <a:gd name="T21" fmla="*/ 5 h 8"/>
                <a:gd name="T22" fmla="*/ 0 w 4"/>
                <a:gd name="T23" fmla="*/ 5 h 8"/>
                <a:gd name="T24" fmla="*/ 0 w 4"/>
                <a:gd name="T25" fmla="*/ 5 h 8"/>
                <a:gd name="T26" fmla="*/ 0 w 4"/>
                <a:gd name="T27" fmla="*/ 3 h 8"/>
                <a:gd name="T28" fmla="*/ 0 w 4"/>
                <a:gd name="T29" fmla="*/ 0 h 8"/>
                <a:gd name="T30" fmla="*/ 1 w 4"/>
                <a:gd name="T31" fmla="*/ 0 h 8"/>
                <a:gd name="T32" fmla="*/ 4 w 4"/>
                <a:gd name="T3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8">
                  <a:moveTo>
                    <a:pt x="4" y="0"/>
                  </a:moveTo>
                  <a:lnTo>
                    <a:pt x="4" y="0"/>
                  </a:lnTo>
                  <a:lnTo>
                    <a:pt x="4" y="3"/>
                  </a:lnTo>
                  <a:lnTo>
                    <a:pt x="3" y="3"/>
                  </a:lnTo>
                  <a:lnTo>
                    <a:pt x="3" y="5"/>
                  </a:lnTo>
                  <a:lnTo>
                    <a:pt x="3" y="8"/>
                  </a:lnTo>
                  <a:lnTo>
                    <a:pt x="3" y="8"/>
                  </a:lnTo>
                  <a:lnTo>
                    <a:pt x="1" y="8"/>
                  </a:lnTo>
                  <a:lnTo>
                    <a:pt x="1" y="6"/>
                  </a:lnTo>
                  <a:lnTo>
                    <a:pt x="1" y="6"/>
                  </a:lnTo>
                  <a:lnTo>
                    <a:pt x="0" y="5"/>
                  </a:lnTo>
                  <a:lnTo>
                    <a:pt x="0" y="5"/>
                  </a:lnTo>
                  <a:lnTo>
                    <a:pt x="0" y="5"/>
                  </a:lnTo>
                  <a:lnTo>
                    <a:pt x="0" y="3"/>
                  </a:lnTo>
                  <a:lnTo>
                    <a:pt x="0" y="0"/>
                  </a:lnTo>
                  <a:lnTo>
                    <a:pt x="1" y="0"/>
                  </a:lnTo>
                  <a:lnTo>
                    <a:pt x="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162"/>
            <p:cNvSpPr/>
            <p:nvPr/>
          </p:nvSpPr>
          <p:spPr bwMode="auto">
            <a:xfrm>
              <a:off x="4031773" y="4488771"/>
              <a:ext cx="18433" cy="24574"/>
            </a:xfrm>
            <a:custGeom>
              <a:avLst/>
              <a:gdLst>
                <a:gd name="T0" fmla="*/ 4 w 4"/>
                <a:gd name="T1" fmla="*/ 0 h 8"/>
                <a:gd name="T2" fmla="*/ 4 w 4"/>
                <a:gd name="T3" fmla="*/ 0 h 8"/>
                <a:gd name="T4" fmla="*/ 4 w 4"/>
                <a:gd name="T5" fmla="*/ 3 h 8"/>
                <a:gd name="T6" fmla="*/ 3 w 4"/>
                <a:gd name="T7" fmla="*/ 3 h 8"/>
                <a:gd name="T8" fmla="*/ 3 w 4"/>
                <a:gd name="T9" fmla="*/ 5 h 8"/>
                <a:gd name="T10" fmla="*/ 3 w 4"/>
                <a:gd name="T11" fmla="*/ 8 h 8"/>
                <a:gd name="T12" fmla="*/ 3 w 4"/>
                <a:gd name="T13" fmla="*/ 8 h 8"/>
                <a:gd name="T14" fmla="*/ 1 w 4"/>
                <a:gd name="T15" fmla="*/ 8 h 8"/>
                <a:gd name="T16" fmla="*/ 1 w 4"/>
                <a:gd name="T17" fmla="*/ 6 h 8"/>
                <a:gd name="T18" fmla="*/ 1 w 4"/>
                <a:gd name="T19" fmla="*/ 6 h 8"/>
                <a:gd name="T20" fmla="*/ 0 w 4"/>
                <a:gd name="T21" fmla="*/ 5 h 8"/>
                <a:gd name="T22" fmla="*/ 0 w 4"/>
                <a:gd name="T23" fmla="*/ 5 h 8"/>
                <a:gd name="T24" fmla="*/ 0 w 4"/>
                <a:gd name="T25" fmla="*/ 5 h 8"/>
                <a:gd name="T26" fmla="*/ 0 w 4"/>
                <a:gd name="T27" fmla="*/ 3 h 8"/>
                <a:gd name="T28" fmla="*/ 0 w 4"/>
                <a:gd name="T29" fmla="*/ 0 h 8"/>
                <a:gd name="T30" fmla="*/ 1 w 4"/>
                <a:gd name="T31" fmla="*/ 0 h 8"/>
                <a:gd name="T32" fmla="*/ 4 w 4"/>
                <a:gd name="T3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8">
                  <a:moveTo>
                    <a:pt x="4" y="0"/>
                  </a:moveTo>
                  <a:lnTo>
                    <a:pt x="4" y="0"/>
                  </a:lnTo>
                  <a:lnTo>
                    <a:pt x="4" y="3"/>
                  </a:lnTo>
                  <a:lnTo>
                    <a:pt x="3" y="3"/>
                  </a:lnTo>
                  <a:lnTo>
                    <a:pt x="3" y="5"/>
                  </a:lnTo>
                  <a:lnTo>
                    <a:pt x="3" y="8"/>
                  </a:lnTo>
                  <a:lnTo>
                    <a:pt x="3" y="8"/>
                  </a:lnTo>
                  <a:lnTo>
                    <a:pt x="1" y="8"/>
                  </a:lnTo>
                  <a:lnTo>
                    <a:pt x="1" y="6"/>
                  </a:lnTo>
                  <a:lnTo>
                    <a:pt x="1" y="6"/>
                  </a:lnTo>
                  <a:lnTo>
                    <a:pt x="0" y="5"/>
                  </a:lnTo>
                  <a:lnTo>
                    <a:pt x="0" y="5"/>
                  </a:lnTo>
                  <a:lnTo>
                    <a:pt x="0" y="5"/>
                  </a:lnTo>
                  <a:lnTo>
                    <a:pt x="0" y="3"/>
                  </a:lnTo>
                  <a:lnTo>
                    <a:pt x="0" y="0"/>
                  </a:lnTo>
                  <a:lnTo>
                    <a:pt x="1" y="0"/>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163"/>
            <p:cNvSpPr/>
            <p:nvPr/>
          </p:nvSpPr>
          <p:spPr bwMode="auto">
            <a:xfrm>
              <a:off x="3601726" y="3591817"/>
              <a:ext cx="6145" cy="12287"/>
            </a:xfrm>
            <a:custGeom>
              <a:avLst/>
              <a:gdLst>
                <a:gd name="T0" fmla="*/ 0 w 3"/>
                <a:gd name="T1" fmla="*/ 0 h 4"/>
                <a:gd name="T2" fmla="*/ 0 w 3"/>
                <a:gd name="T3" fmla="*/ 0 h 4"/>
                <a:gd name="T4" fmla="*/ 3 w 3"/>
                <a:gd name="T5" fmla="*/ 4 h 4"/>
                <a:gd name="T6" fmla="*/ 3 w 3"/>
                <a:gd name="T7" fmla="*/ 4 h 4"/>
                <a:gd name="T8" fmla="*/ 1 w 3"/>
                <a:gd name="T9" fmla="*/ 3 h 4"/>
                <a:gd name="T10" fmla="*/ 1 w 3"/>
                <a:gd name="T11" fmla="*/ 4 h 4"/>
                <a:gd name="T12" fmla="*/ 1 w 3"/>
                <a:gd name="T13" fmla="*/ 3 h 4"/>
                <a:gd name="T14" fmla="*/ 1 w 3"/>
                <a:gd name="T15" fmla="*/ 3 h 4"/>
                <a:gd name="T16" fmla="*/ 0 w 3"/>
                <a:gd name="T17" fmla="*/ 0 h 4"/>
                <a:gd name="T18" fmla="*/ 0 w 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0"/>
                  </a:moveTo>
                  <a:lnTo>
                    <a:pt x="0" y="0"/>
                  </a:lnTo>
                  <a:lnTo>
                    <a:pt x="3" y="4"/>
                  </a:lnTo>
                  <a:lnTo>
                    <a:pt x="3" y="4"/>
                  </a:lnTo>
                  <a:lnTo>
                    <a:pt x="1" y="3"/>
                  </a:lnTo>
                  <a:lnTo>
                    <a:pt x="1" y="4"/>
                  </a:lnTo>
                  <a:lnTo>
                    <a:pt x="1" y="3"/>
                  </a:lnTo>
                  <a:lnTo>
                    <a:pt x="1"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Freeform 164"/>
            <p:cNvSpPr/>
            <p:nvPr/>
          </p:nvSpPr>
          <p:spPr bwMode="auto">
            <a:xfrm>
              <a:off x="3601726" y="3591817"/>
              <a:ext cx="6145" cy="12287"/>
            </a:xfrm>
            <a:custGeom>
              <a:avLst/>
              <a:gdLst>
                <a:gd name="T0" fmla="*/ 0 w 3"/>
                <a:gd name="T1" fmla="*/ 0 h 4"/>
                <a:gd name="T2" fmla="*/ 0 w 3"/>
                <a:gd name="T3" fmla="*/ 0 h 4"/>
                <a:gd name="T4" fmla="*/ 3 w 3"/>
                <a:gd name="T5" fmla="*/ 4 h 4"/>
                <a:gd name="T6" fmla="*/ 3 w 3"/>
                <a:gd name="T7" fmla="*/ 4 h 4"/>
                <a:gd name="T8" fmla="*/ 1 w 3"/>
                <a:gd name="T9" fmla="*/ 3 h 4"/>
                <a:gd name="T10" fmla="*/ 1 w 3"/>
                <a:gd name="T11" fmla="*/ 4 h 4"/>
                <a:gd name="T12" fmla="*/ 1 w 3"/>
                <a:gd name="T13" fmla="*/ 3 h 4"/>
                <a:gd name="T14" fmla="*/ 1 w 3"/>
                <a:gd name="T15" fmla="*/ 3 h 4"/>
                <a:gd name="T16" fmla="*/ 0 w 3"/>
                <a:gd name="T17" fmla="*/ 0 h 4"/>
                <a:gd name="T18" fmla="*/ 0 w 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0"/>
                  </a:moveTo>
                  <a:lnTo>
                    <a:pt x="0" y="0"/>
                  </a:lnTo>
                  <a:lnTo>
                    <a:pt x="3" y="4"/>
                  </a:lnTo>
                  <a:lnTo>
                    <a:pt x="3" y="4"/>
                  </a:lnTo>
                  <a:lnTo>
                    <a:pt x="1" y="3"/>
                  </a:lnTo>
                  <a:lnTo>
                    <a:pt x="1" y="4"/>
                  </a:lnTo>
                  <a:lnTo>
                    <a:pt x="1" y="3"/>
                  </a:lnTo>
                  <a:lnTo>
                    <a:pt x="1" y="3"/>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6" name="Rectangle 165"/>
            <p:cNvSpPr>
              <a:spLocks noChangeArrowheads="1"/>
            </p:cNvSpPr>
            <p:nvPr/>
          </p:nvSpPr>
          <p:spPr bwMode="auto">
            <a:xfrm>
              <a:off x="3540291" y="343208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67" name="Rectangle 166"/>
            <p:cNvSpPr>
              <a:spLocks noChangeArrowheads="1"/>
            </p:cNvSpPr>
            <p:nvPr/>
          </p:nvSpPr>
          <p:spPr bwMode="auto">
            <a:xfrm>
              <a:off x="3540291" y="343208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68" name="Freeform 167"/>
            <p:cNvSpPr/>
            <p:nvPr/>
          </p:nvSpPr>
          <p:spPr bwMode="auto">
            <a:xfrm>
              <a:off x="3915043" y="4562493"/>
              <a:ext cx="30720" cy="18429"/>
            </a:xfrm>
            <a:custGeom>
              <a:avLst/>
              <a:gdLst>
                <a:gd name="T0" fmla="*/ 10 w 10"/>
                <a:gd name="T1" fmla="*/ 0 h 6"/>
                <a:gd name="T2" fmla="*/ 10 w 10"/>
                <a:gd name="T3" fmla="*/ 0 h 6"/>
                <a:gd name="T4" fmla="*/ 10 w 10"/>
                <a:gd name="T5" fmla="*/ 2 h 6"/>
                <a:gd name="T6" fmla="*/ 10 w 10"/>
                <a:gd name="T7" fmla="*/ 3 h 6"/>
                <a:gd name="T8" fmla="*/ 10 w 10"/>
                <a:gd name="T9" fmla="*/ 3 h 6"/>
                <a:gd name="T10" fmla="*/ 9 w 10"/>
                <a:gd name="T11" fmla="*/ 5 h 6"/>
                <a:gd name="T12" fmla="*/ 9 w 10"/>
                <a:gd name="T13" fmla="*/ 5 h 6"/>
                <a:gd name="T14" fmla="*/ 7 w 10"/>
                <a:gd name="T15" fmla="*/ 5 h 6"/>
                <a:gd name="T16" fmla="*/ 7 w 10"/>
                <a:gd name="T17" fmla="*/ 5 h 6"/>
                <a:gd name="T18" fmla="*/ 7 w 10"/>
                <a:gd name="T19" fmla="*/ 5 h 6"/>
                <a:gd name="T20" fmla="*/ 7 w 10"/>
                <a:gd name="T21" fmla="*/ 5 h 6"/>
                <a:gd name="T22" fmla="*/ 7 w 10"/>
                <a:gd name="T23" fmla="*/ 5 h 6"/>
                <a:gd name="T24" fmla="*/ 7 w 10"/>
                <a:gd name="T25" fmla="*/ 5 h 6"/>
                <a:gd name="T26" fmla="*/ 7 w 10"/>
                <a:gd name="T27" fmla="*/ 5 h 6"/>
                <a:gd name="T28" fmla="*/ 7 w 10"/>
                <a:gd name="T29" fmla="*/ 5 h 6"/>
                <a:gd name="T30" fmla="*/ 7 w 10"/>
                <a:gd name="T31" fmla="*/ 5 h 6"/>
                <a:gd name="T32" fmla="*/ 7 w 10"/>
                <a:gd name="T33" fmla="*/ 5 h 6"/>
                <a:gd name="T34" fmla="*/ 7 w 10"/>
                <a:gd name="T35" fmla="*/ 5 h 6"/>
                <a:gd name="T36" fmla="*/ 3 w 10"/>
                <a:gd name="T37" fmla="*/ 6 h 6"/>
                <a:gd name="T38" fmla="*/ 0 w 10"/>
                <a:gd name="T39" fmla="*/ 5 h 6"/>
                <a:gd name="T40" fmla="*/ 0 w 10"/>
                <a:gd name="T41" fmla="*/ 5 h 6"/>
                <a:gd name="T42" fmla="*/ 3 w 10"/>
                <a:gd name="T43" fmla="*/ 5 h 6"/>
                <a:gd name="T44" fmla="*/ 6 w 10"/>
                <a:gd name="T45" fmla="*/ 3 h 6"/>
                <a:gd name="T46" fmla="*/ 6 w 10"/>
                <a:gd name="T47" fmla="*/ 3 h 6"/>
                <a:gd name="T48" fmla="*/ 7 w 10"/>
                <a:gd name="T49" fmla="*/ 3 h 6"/>
                <a:gd name="T50" fmla="*/ 7 w 10"/>
                <a:gd name="T51" fmla="*/ 3 h 6"/>
                <a:gd name="T52" fmla="*/ 7 w 10"/>
                <a:gd name="T53" fmla="*/ 3 h 6"/>
                <a:gd name="T54" fmla="*/ 7 w 10"/>
                <a:gd name="T55" fmla="*/ 3 h 6"/>
                <a:gd name="T56" fmla="*/ 7 w 10"/>
                <a:gd name="T57" fmla="*/ 3 h 6"/>
                <a:gd name="T58" fmla="*/ 6 w 10"/>
                <a:gd name="T59" fmla="*/ 3 h 6"/>
                <a:gd name="T60" fmla="*/ 6 w 10"/>
                <a:gd name="T61" fmla="*/ 3 h 6"/>
                <a:gd name="T62" fmla="*/ 6 w 10"/>
                <a:gd name="T63" fmla="*/ 3 h 6"/>
                <a:gd name="T64" fmla="*/ 7 w 10"/>
                <a:gd name="T65" fmla="*/ 3 h 6"/>
                <a:gd name="T66" fmla="*/ 7 w 10"/>
                <a:gd name="T67" fmla="*/ 3 h 6"/>
                <a:gd name="T68" fmla="*/ 9 w 10"/>
                <a:gd name="T69" fmla="*/ 2 h 6"/>
                <a:gd name="T70" fmla="*/ 9 w 10"/>
                <a:gd name="T71" fmla="*/ 2 h 6"/>
                <a:gd name="T72" fmla="*/ 10 w 10"/>
                <a:gd name="T7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 h="6">
                  <a:moveTo>
                    <a:pt x="10" y="0"/>
                  </a:moveTo>
                  <a:lnTo>
                    <a:pt x="10" y="0"/>
                  </a:lnTo>
                  <a:lnTo>
                    <a:pt x="10" y="2"/>
                  </a:lnTo>
                  <a:lnTo>
                    <a:pt x="10" y="3"/>
                  </a:lnTo>
                  <a:lnTo>
                    <a:pt x="10" y="3"/>
                  </a:lnTo>
                  <a:lnTo>
                    <a:pt x="9" y="5"/>
                  </a:lnTo>
                  <a:lnTo>
                    <a:pt x="9" y="5"/>
                  </a:lnTo>
                  <a:lnTo>
                    <a:pt x="7" y="5"/>
                  </a:lnTo>
                  <a:lnTo>
                    <a:pt x="7" y="5"/>
                  </a:lnTo>
                  <a:lnTo>
                    <a:pt x="7" y="5"/>
                  </a:lnTo>
                  <a:lnTo>
                    <a:pt x="7" y="5"/>
                  </a:lnTo>
                  <a:lnTo>
                    <a:pt x="7" y="5"/>
                  </a:lnTo>
                  <a:lnTo>
                    <a:pt x="7" y="5"/>
                  </a:lnTo>
                  <a:lnTo>
                    <a:pt x="7" y="5"/>
                  </a:lnTo>
                  <a:lnTo>
                    <a:pt x="7" y="5"/>
                  </a:lnTo>
                  <a:lnTo>
                    <a:pt x="7" y="5"/>
                  </a:lnTo>
                  <a:lnTo>
                    <a:pt x="7" y="5"/>
                  </a:lnTo>
                  <a:lnTo>
                    <a:pt x="7" y="5"/>
                  </a:lnTo>
                  <a:lnTo>
                    <a:pt x="3" y="6"/>
                  </a:lnTo>
                  <a:lnTo>
                    <a:pt x="0" y="5"/>
                  </a:lnTo>
                  <a:lnTo>
                    <a:pt x="0" y="5"/>
                  </a:lnTo>
                  <a:lnTo>
                    <a:pt x="3" y="5"/>
                  </a:lnTo>
                  <a:lnTo>
                    <a:pt x="6" y="3"/>
                  </a:lnTo>
                  <a:lnTo>
                    <a:pt x="6" y="3"/>
                  </a:lnTo>
                  <a:lnTo>
                    <a:pt x="7" y="3"/>
                  </a:lnTo>
                  <a:lnTo>
                    <a:pt x="7" y="3"/>
                  </a:lnTo>
                  <a:lnTo>
                    <a:pt x="7" y="3"/>
                  </a:lnTo>
                  <a:lnTo>
                    <a:pt x="7" y="3"/>
                  </a:lnTo>
                  <a:lnTo>
                    <a:pt x="7" y="3"/>
                  </a:lnTo>
                  <a:lnTo>
                    <a:pt x="6" y="3"/>
                  </a:lnTo>
                  <a:lnTo>
                    <a:pt x="6" y="3"/>
                  </a:lnTo>
                  <a:lnTo>
                    <a:pt x="6" y="3"/>
                  </a:lnTo>
                  <a:lnTo>
                    <a:pt x="7" y="3"/>
                  </a:lnTo>
                  <a:lnTo>
                    <a:pt x="7" y="3"/>
                  </a:lnTo>
                  <a:lnTo>
                    <a:pt x="9" y="2"/>
                  </a:lnTo>
                  <a:lnTo>
                    <a:pt x="9" y="2"/>
                  </a:lnTo>
                  <a:lnTo>
                    <a:pt x="1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9" name="Freeform 168"/>
            <p:cNvSpPr/>
            <p:nvPr/>
          </p:nvSpPr>
          <p:spPr bwMode="auto">
            <a:xfrm>
              <a:off x="3915043" y="4562493"/>
              <a:ext cx="30720" cy="18429"/>
            </a:xfrm>
            <a:custGeom>
              <a:avLst/>
              <a:gdLst>
                <a:gd name="T0" fmla="*/ 10 w 10"/>
                <a:gd name="T1" fmla="*/ 0 h 6"/>
                <a:gd name="T2" fmla="*/ 10 w 10"/>
                <a:gd name="T3" fmla="*/ 0 h 6"/>
                <a:gd name="T4" fmla="*/ 10 w 10"/>
                <a:gd name="T5" fmla="*/ 2 h 6"/>
                <a:gd name="T6" fmla="*/ 10 w 10"/>
                <a:gd name="T7" fmla="*/ 3 h 6"/>
                <a:gd name="T8" fmla="*/ 10 w 10"/>
                <a:gd name="T9" fmla="*/ 3 h 6"/>
                <a:gd name="T10" fmla="*/ 9 w 10"/>
                <a:gd name="T11" fmla="*/ 5 h 6"/>
                <a:gd name="T12" fmla="*/ 9 w 10"/>
                <a:gd name="T13" fmla="*/ 5 h 6"/>
                <a:gd name="T14" fmla="*/ 7 w 10"/>
                <a:gd name="T15" fmla="*/ 5 h 6"/>
                <a:gd name="T16" fmla="*/ 7 w 10"/>
                <a:gd name="T17" fmla="*/ 5 h 6"/>
                <a:gd name="T18" fmla="*/ 7 w 10"/>
                <a:gd name="T19" fmla="*/ 5 h 6"/>
                <a:gd name="T20" fmla="*/ 7 w 10"/>
                <a:gd name="T21" fmla="*/ 5 h 6"/>
                <a:gd name="T22" fmla="*/ 7 w 10"/>
                <a:gd name="T23" fmla="*/ 5 h 6"/>
                <a:gd name="T24" fmla="*/ 7 w 10"/>
                <a:gd name="T25" fmla="*/ 5 h 6"/>
                <a:gd name="T26" fmla="*/ 7 w 10"/>
                <a:gd name="T27" fmla="*/ 5 h 6"/>
                <a:gd name="T28" fmla="*/ 7 w 10"/>
                <a:gd name="T29" fmla="*/ 5 h 6"/>
                <a:gd name="T30" fmla="*/ 7 w 10"/>
                <a:gd name="T31" fmla="*/ 5 h 6"/>
                <a:gd name="T32" fmla="*/ 7 w 10"/>
                <a:gd name="T33" fmla="*/ 5 h 6"/>
                <a:gd name="T34" fmla="*/ 7 w 10"/>
                <a:gd name="T35" fmla="*/ 5 h 6"/>
                <a:gd name="T36" fmla="*/ 3 w 10"/>
                <a:gd name="T37" fmla="*/ 6 h 6"/>
                <a:gd name="T38" fmla="*/ 0 w 10"/>
                <a:gd name="T39" fmla="*/ 5 h 6"/>
                <a:gd name="T40" fmla="*/ 0 w 10"/>
                <a:gd name="T41" fmla="*/ 5 h 6"/>
                <a:gd name="T42" fmla="*/ 3 w 10"/>
                <a:gd name="T43" fmla="*/ 5 h 6"/>
                <a:gd name="T44" fmla="*/ 6 w 10"/>
                <a:gd name="T45" fmla="*/ 3 h 6"/>
                <a:gd name="T46" fmla="*/ 6 w 10"/>
                <a:gd name="T47" fmla="*/ 3 h 6"/>
                <a:gd name="T48" fmla="*/ 7 w 10"/>
                <a:gd name="T49" fmla="*/ 3 h 6"/>
                <a:gd name="T50" fmla="*/ 7 w 10"/>
                <a:gd name="T51" fmla="*/ 3 h 6"/>
                <a:gd name="T52" fmla="*/ 7 w 10"/>
                <a:gd name="T53" fmla="*/ 3 h 6"/>
                <a:gd name="T54" fmla="*/ 7 w 10"/>
                <a:gd name="T55" fmla="*/ 3 h 6"/>
                <a:gd name="T56" fmla="*/ 7 w 10"/>
                <a:gd name="T57" fmla="*/ 3 h 6"/>
                <a:gd name="T58" fmla="*/ 6 w 10"/>
                <a:gd name="T59" fmla="*/ 3 h 6"/>
                <a:gd name="T60" fmla="*/ 6 w 10"/>
                <a:gd name="T61" fmla="*/ 3 h 6"/>
                <a:gd name="T62" fmla="*/ 6 w 10"/>
                <a:gd name="T63" fmla="*/ 3 h 6"/>
                <a:gd name="T64" fmla="*/ 7 w 10"/>
                <a:gd name="T65" fmla="*/ 3 h 6"/>
                <a:gd name="T66" fmla="*/ 7 w 10"/>
                <a:gd name="T67" fmla="*/ 3 h 6"/>
                <a:gd name="T68" fmla="*/ 9 w 10"/>
                <a:gd name="T69" fmla="*/ 2 h 6"/>
                <a:gd name="T70" fmla="*/ 9 w 10"/>
                <a:gd name="T71" fmla="*/ 2 h 6"/>
                <a:gd name="T72" fmla="*/ 10 w 10"/>
                <a:gd name="T7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 h="6">
                  <a:moveTo>
                    <a:pt x="10" y="0"/>
                  </a:moveTo>
                  <a:lnTo>
                    <a:pt x="10" y="0"/>
                  </a:lnTo>
                  <a:lnTo>
                    <a:pt x="10" y="2"/>
                  </a:lnTo>
                  <a:lnTo>
                    <a:pt x="10" y="3"/>
                  </a:lnTo>
                  <a:lnTo>
                    <a:pt x="10" y="3"/>
                  </a:lnTo>
                  <a:lnTo>
                    <a:pt x="9" y="5"/>
                  </a:lnTo>
                  <a:lnTo>
                    <a:pt x="9" y="5"/>
                  </a:lnTo>
                  <a:lnTo>
                    <a:pt x="7" y="5"/>
                  </a:lnTo>
                  <a:lnTo>
                    <a:pt x="7" y="5"/>
                  </a:lnTo>
                  <a:lnTo>
                    <a:pt x="7" y="5"/>
                  </a:lnTo>
                  <a:lnTo>
                    <a:pt x="7" y="5"/>
                  </a:lnTo>
                  <a:lnTo>
                    <a:pt x="7" y="5"/>
                  </a:lnTo>
                  <a:lnTo>
                    <a:pt x="7" y="5"/>
                  </a:lnTo>
                  <a:lnTo>
                    <a:pt x="7" y="5"/>
                  </a:lnTo>
                  <a:lnTo>
                    <a:pt x="7" y="5"/>
                  </a:lnTo>
                  <a:lnTo>
                    <a:pt x="7" y="5"/>
                  </a:lnTo>
                  <a:lnTo>
                    <a:pt x="7" y="5"/>
                  </a:lnTo>
                  <a:lnTo>
                    <a:pt x="7" y="5"/>
                  </a:lnTo>
                  <a:lnTo>
                    <a:pt x="3" y="6"/>
                  </a:lnTo>
                  <a:lnTo>
                    <a:pt x="0" y="5"/>
                  </a:lnTo>
                  <a:lnTo>
                    <a:pt x="0" y="5"/>
                  </a:lnTo>
                  <a:lnTo>
                    <a:pt x="3" y="5"/>
                  </a:lnTo>
                  <a:lnTo>
                    <a:pt x="6" y="3"/>
                  </a:lnTo>
                  <a:lnTo>
                    <a:pt x="6" y="3"/>
                  </a:lnTo>
                  <a:lnTo>
                    <a:pt x="7" y="3"/>
                  </a:lnTo>
                  <a:lnTo>
                    <a:pt x="7" y="3"/>
                  </a:lnTo>
                  <a:lnTo>
                    <a:pt x="7" y="3"/>
                  </a:lnTo>
                  <a:lnTo>
                    <a:pt x="7" y="3"/>
                  </a:lnTo>
                  <a:lnTo>
                    <a:pt x="7" y="3"/>
                  </a:lnTo>
                  <a:lnTo>
                    <a:pt x="6" y="3"/>
                  </a:lnTo>
                  <a:lnTo>
                    <a:pt x="6" y="3"/>
                  </a:lnTo>
                  <a:lnTo>
                    <a:pt x="6" y="3"/>
                  </a:lnTo>
                  <a:lnTo>
                    <a:pt x="7" y="3"/>
                  </a:lnTo>
                  <a:lnTo>
                    <a:pt x="7" y="3"/>
                  </a:lnTo>
                  <a:lnTo>
                    <a:pt x="9" y="2"/>
                  </a:lnTo>
                  <a:lnTo>
                    <a:pt x="9" y="2"/>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0" name="Freeform 169"/>
            <p:cNvSpPr/>
            <p:nvPr/>
          </p:nvSpPr>
          <p:spPr bwMode="auto">
            <a:xfrm>
              <a:off x="3546432" y="3419797"/>
              <a:ext cx="12287" cy="12287"/>
            </a:xfrm>
            <a:custGeom>
              <a:avLst/>
              <a:gdLst>
                <a:gd name="T0" fmla="*/ 4 w 4"/>
                <a:gd name="T1" fmla="*/ 0 h 4"/>
                <a:gd name="T2" fmla="*/ 4 w 4"/>
                <a:gd name="T3" fmla="*/ 0 h 4"/>
                <a:gd name="T4" fmla="*/ 3 w 4"/>
                <a:gd name="T5" fmla="*/ 2 h 4"/>
                <a:gd name="T6" fmla="*/ 3 w 4"/>
                <a:gd name="T7" fmla="*/ 2 h 4"/>
                <a:gd name="T8" fmla="*/ 2 w 4"/>
                <a:gd name="T9" fmla="*/ 3 h 4"/>
                <a:gd name="T10" fmla="*/ 2 w 4"/>
                <a:gd name="T11" fmla="*/ 3 h 4"/>
                <a:gd name="T12" fmla="*/ 2 w 4"/>
                <a:gd name="T13" fmla="*/ 4 h 4"/>
                <a:gd name="T14" fmla="*/ 2 w 4"/>
                <a:gd name="T15" fmla="*/ 4 h 4"/>
                <a:gd name="T16" fmla="*/ 0 w 4"/>
                <a:gd name="T17" fmla="*/ 4 h 4"/>
                <a:gd name="T18" fmla="*/ 0 w 4"/>
                <a:gd name="T19" fmla="*/ 4 h 4"/>
                <a:gd name="T20" fmla="*/ 0 w 4"/>
                <a:gd name="T21" fmla="*/ 3 h 4"/>
                <a:gd name="T22" fmla="*/ 0 w 4"/>
                <a:gd name="T23" fmla="*/ 3 h 4"/>
                <a:gd name="T24" fmla="*/ 0 w 4"/>
                <a:gd name="T25" fmla="*/ 3 h 4"/>
                <a:gd name="T26" fmla="*/ 0 w 4"/>
                <a:gd name="T27" fmla="*/ 3 h 4"/>
                <a:gd name="T28" fmla="*/ 0 w 4"/>
                <a:gd name="T29" fmla="*/ 3 h 4"/>
                <a:gd name="T30" fmla="*/ 0 w 4"/>
                <a:gd name="T31" fmla="*/ 3 h 4"/>
                <a:gd name="T32" fmla="*/ 4 w 4"/>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4" y="0"/>
                  </a:moveTo>
                  <a:lnTo>
                    <a:pt x="4" y="0"/>
                  </a:lnTo>
                  <a:lnTo>
                    <a:pt x="3" y="2"/>
                  </a:lnTo>
                  <a:lnTo>
                    <a:pt x="3" y="2"/>
                  </a:lnTo>
                  <a:lnTo>
                    <a:pt x="2" y="3"/>
                  </a:lnTo>
                  <a:lnTo>
                    <a:pt x="2" y="3"/>
                  </a:lnTo>
                  <a:lnTo>
                    <a:pt x="2" y="4"/>
                  </a:lnTo>
                  <a:lnTo>
                    <a:pt x="2" y="4"/>
                  </a:lnTo>
                  <a:lnTo>
                    <a:pt x="0" y="4"/>
                  </a:lnTo>
                  <a:lnTo>
                    <a:pt x="0" y="4"/>
                  </a:lnTo>
                  <a:lnTo>
                    <a:pt x="0" y="3"/>
                  </a:lnTo>
                  <a:lnTo>
                    <a:pt x="0" y="3"/>
                  </a:lnTo>
                  <a:lnTo>
                    <a:pt x="0" y="3"/>
                  </a:lnTo>
                  <a:lnTo>
                    <a:pt x="0" y="3"/>
                  </a:lnTo>
                  <a:lnTo>
                    <a:pt x="0" y="3"/>
                  </a:lnTo>
                  <a:lnTo>
                    <a:pt x="0" y="3"/>
                  </a:lnTo>
                  <a:lnTo>
                    <a:pt x="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1" name="Freeform 170"/>
            <p:cNvSpPr/>
            <p:nvPr/>
          </p:nvSpPr>
          <p:spPr bwMode="auto">
            <a:xfrm>
              <a:off x="3546432" y="3419797"/>
              <a:ext cx="12287" cy="12287"/>
            </a:xfrm>
            <a:custGeom>
              <a:avLst/>
              <a:gdLst>
                <a:gd name="T0" fmla="*/ 4 w 4"/>
                <a:gd name="T1" fmla="*/ 0 h 4"/>
                <a:gd name="T2" fmla="*/ 4 w 4"/>
                <a:gd name="T3" fmla="*/ 0 h 4"/>
                <a:gd name="T4" fmla="*/ 3 w 4"/>
                <a:gd name="T5" fmla="*/ 2 h 4"/>
                <a:gd name="T6" fmla="*/ 3 w 4"/>
                <a:gd name="T7" fmla="*/ 2 h 4"/>
                <a:gd name="T8" fmla="*/ 2 w 4"/>
                <a:gd name="T9" fmla="*/ 3 h 4"/>
                <a:gd name="T10" fmla="*/ 2 w 4"/>
                <a:gd name="T11" fmla="*/ 3 h 4"/>
                <a:gd name="T12" fmla="*/ 2 w 4"/>
                <a:gd name="T13" fmla="*/ 4 h 4"/>
                <a:gd name="T14" fmla="*/ 2 w 4"/>
                <a:gd name="T15" fmla="*/ 4 h 4"/>
                <a:gd name="T16" fmla="*/ 0 w 4"/>
                <a:gd name="T17" fmla="*/ 4 h 4"/>
                <a:gd name="T18" fmla="*/ 0 w 4"/>
                <a:gd name="T19" fmla="*/ 4 h 4"/>
                <a:gd name="T20" fmla="*/ 0 w 4"/>
                <a:gd name="T21" fmla="*/ 3 h 4"/>
                <a:gd name="T22" fmla="*/ 0 w 4"/>
                <a:gd name="T23" fmla="*/ 3 h 4"/>
                <a:gd name="T24" fmla="*/ 0 w 4"/>
                <a:gd name="T25" fmla="*/ 3 h 4"/>
                <a:gd name="T26" fmla="*/ 0 w 4"/>
                <a:gd name="T27" fmla="*/ 3 h 4"/>
                <a:gd name="T28" fmla="*/ 0 w 4"/>
                <a:gd name="T29" fmla="*/ 3 h 4"/>
                <a:gd name="T30" fmla="*/ 0 w 4"/>
                <a:gd name="T31" fmla="*/ 3 h 4"/>
                <a:gd name="T32" fmla="*/ 4 w 4"/>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4" y="0"/>
                  </a:moveTo>
                  <a:lnTo>
                    <a:pt x="4" y="0"/>
                  </a:lnTo>
                  <a:lnTo>
                    <a:pt x="3" y="2"/>
                  </a:lnTo>
                  <a:lnTo>
                    <a:pt x="3" y="2"/>
                  </a:lnTo>
                  <a:lnTo>
                    <a:pt x="2" y="3"/>
                  </a:lnTo>
                  <a:lnTo>
                    <a:pt x="2" y="3"/>
                  </a:lnTo>
                  <a:lnTo>
                    <a:pt x="2" y="4"/>
                  </a:lnTo>
                  <a:lnTo>
                    <a:pt x="2" y="4"/>
                  </a:lnTo>
                  <a:lnTo>
                    <a:pt x="0" y="4"/>
                  </a:lnTo>
                  <a:lnTo>
                    <a:pt x="0" y="4"/>
                  </a:lnTo>
                  <a:lnTo>
                    <a:pt x="0" y="3"/>
                  </a:lnTo>
                  <a:lnTo>
                    <a:pt x="0" y="3"/>
                  </a:lnTo>
                  <a:lnTo>
                    <a:pt x="0" y="3"/>
                  </a:lnTo>
                  <a:lnTo>
                    <a:pt x="0" y="3"/>
                  </a:lnTo>
                  <a:lnTo>
                    <a:pt x="0" y="3"/>
                  </a:lnTo>
                  <a:lnTo>
                    <a:pt x="0" y="3"/>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2" name="Freeform 171"/>
            <p:cNvSpPr/>
            <p:nvPr/>
          </p:nvSpPr>
          <p:spPr bwMode="auto">
            <a:xfrm>
              <a:off x="3528004" y="3432083"/>
              <a:ext cx="6145" cy="6142"/>
            </a:xfrm>
            <a:custGeom>
              <a:avLst/>
              <a:gdLst>
                <a:gd name="T0" fmla="*/ 2 w 2"/>
                <a:gd name="T1" fmla="*/ 0 h 2"/>
                <a:gd name="T2" fmla="*/ 2 w 2"/>
                <a:gd name="T3" fmla="*/ 0 h 2"/>
                <a:gd name="T4" fmla="*/ 2 w 2"/>
                <a:gd name="T5" fmla="*/ 0 h 2"/>
                <a:gd name="T6" fmla="*/ 0 w 2"/>
                <a:gd name="T7" fmla="*/ 2 h 2"/>
                <a:gd name="T8" fmla="*/ 0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2"/>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3" name="Freeform 172"/>
            <p:cNvSpPr/>
            <p:nvPr/>
          </p:nvSpPr>
          <p:spPr bwMode="auto">
            <a:xfrm>
              <a:off x="3528004" y="3432083"/>
              <a:ext cx="6145" cy="6142"/>
            </a:xfrm>
            <a:custGeom>
              <a:avLst/>
              <a:gdLst>
                <a:gd name="T0" fmla="*/ 2 w 2"/>
                <a:gd name="T1" fmla="*/ 0 h 2"/>
                <a:gd name="T2" fmla="*/ 2 w 2"/>
                <a:gd name="T3" fmla="*/ 0 h 2"/>
                <a:gd name="T4" fmla="*/ 2 w 2"/>
                <a:gd name="T5" fmla="*/ 0 h 2"/>
                <a:gd name="T6" fmla="*/ 0 w 2"/>
                <a:gd name="T7" fmla="*/ 2 h 2"/>
                <a:gd name="T8" fmla="*/ 0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2"/>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6" name="Freeform 175"/>
            <p:cNvSpPr/>
            <p:nvPr/>
          </p:nvSpPr>
          <p:spPr bwMode="auto">
            <a:xfrm>
              <a:off x="3571007" y="3616390"/>
              <a:ext cx="6145" cy="18429"/>
            </a:xfrm>
            <a:custGeom>
              <a:avLst/>
              <a:gdLst>
                <a:gd name="T0" fmla="*/ 0 w 1"/>
                <a:gd name="T1" fmla="*/ 0 h 7"/>
                <a:gd name="T2" fmla="*/ 0 w 1"/>
                <a:gd name="T3" fmla="*/ 0 h 7"/>
                <a:gd name="T4" fmla="*/ 0 w 1"/>
                <a:gd name="T5" fmla="*/ 3 h 7"/>
                <a:gd name="T6" fmla="*/ 0 w 1"/>
                <a:gd name="T7" fmla="*/ 3 h 7"/>
                <a:gd name="T8" fmla="*/ 1 w 1"/>
                <a:gd name="T9" fmla="*/ 7 h 7"/>
                <a:gd name="T10" fmla="*/ 1 w 1"/>
                <a:gd name="T11" fmla="*/ 7 h 7"/>
                <a:gd name="T12" fmla="*/ 1 w 1"/>
                <a:gd name="T13" fmla="*/ 0 h 7"/>
                <a:gd name="T14" fmla="*/ 1 w 1"/>
                <a:gd name="T15" fmla="*/ 0 h 7"/>
                <a:gd name="T16" fmla="*/ 0 w 1"/>
                <a:gd name="T17" fmla="*/ 0 h 7"/>
                <a:gd name="T18" fmla="*/ 0 w 1"/>
                <a:gd name="T19" fmla="*/ 1 h 7"/>
                <a:gd name="T20" fmla="*/ 0 w 1"/>
                <a:gd name="T21" fmla="*/ 1 h 7"/>
                <a:gd name="T22" fmla="*/ 0 w 1"/>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7">
                  <a:moveTo>
                    <a:pt x="0" y="0"/>
                  </a:moveTo>
                  <a:lnTo>
                    <a:pt x="0" y="0"/>
                  </a:lnTo>
                  <a:lnTo>
                    <a:pt x="0" y="3"/>
                  </a:lnTo>
                  <a:lnTo>
                    <a:pt x="0" y="3"/>
                  </a:lnTo>
                  <a:lnTo>
                    <a:pt x="1" y="7"/>
                  </a:lnTo>
                  <a:lnTo>
                    <a:pt x="1" y="7"/>
                  </a:lnTo>
                  <a:lnTo>
                    <a:pt x="1" y="0"/>
                  </a:lnTo>
                  <a:lnTo>
                    <a:pt x="1" y="0"/>
                  </a:lnTo>
                  <a:lnTo>
                    <a:pt x="0" y="0"/>
                  </a:lnTo>
                  <a:lnTo>
                    <a:pt x="0" y="1"/>
                  </a:lnTo>
                  <a:lnTo>
                    <a:pt x="0"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7" name="Freeform 176"/>
            <p:cNvSpPr/>
            <p:nvPr/>
          </p:nvSpPr>
          <p:spPr bwMode="auto">
            <a:xfrm>
              <a:off x="3571007" y="3616390"/>
              <a:ext cx="6145" cy="18429"/>
            </a:xfrm>
            <a:custGeom>
              <a:avLst/>
              <a:gdLst>
                <a:gd name="T0" fmla="*/ 0 w 1"/>
                <a:gd name="T1" fmla="*/ 0 h 7"/>
                <a:gd name="T2" fmla="*/ 0 w 1"/>
                <a:gd name="T3" fmla="*/ 0 h 7"/>
                <a:gd name="T4" fmla="*/ 0 w 1"/>
                <a:gd name="T5" fmla="*/ 3 h 7"/>
                <a:gd name="T6" fmla="*/ 0 w 1"/>
                <a:gd name="T7" fmla="*/ 3 h 7"/>
                <a:gd name="T8" fmla="*/ 1 w 1"/>
                <a:gd name="T9" fmla="*/ 7 h 7"/>
                <a:gd name="T10" fmla="*/ 1 w 1"/>
                <a:gd name="T11" fmla="*/ 7 h 7"/>
                <a:gd name="T12" fmla="*/ 1 w 1"/>
                <a:gd name="T13" fmla="*/ 0 h 7"/>
                <a:gd name="T14" fmla="*/ 1 w 1"/>
                <a:gd name="T15" fmla="*/ 0 h 7"/>
                <a:gd name="T16" fmla="*/ 0 w 1"/>
                <a:gd name="T17" fmla="*/ 0 h 7"/>
                <a:gd name="T18" fmla="*/ 0 w 1"/>
                <a:gd name="T19" fmla="*/ 1 h 7"/>
                <a:gd name="T20" fmla="*/ 0 w 1"/>
                <a:gd name="T21" fmla="*/ 1 h 7"/>
                <a:gd name="T22" fmla="*/ 0 w 1"/>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7">
                  <a:moveTo>
                    <a:pt x="0" y="0"/>
                  </a:moveTo>
                  <a:lnTo>
                    <a:pt x="0" y="0"/>
                  </a:lnTo>
                  <a:lnTo>
                    <a:pt x="0" y="3"/>
                  </a:lnTo>
                  <a:lnTo>
                    <a:pt x="0" y="3"/>
                  </a:lnTo>
                  <a:lnTo>
                    <a:pt x="1" y="7"/>
                  </a:lnTo>
                  <a:lnTo>
                    <a:pt x="1" y="7"/>
                  </a:lnTo>
                  <a:lnTo>
                    <a:pt x="1" y="0"/>
                  </a:lnTo>
                  <a:lnTo>
                    <a:pt x="1" y="0"/>
                  </a:lnTo>
                  <a:lnTo>
                    <a:pt x="0" y="0"/>
                  </a:lnTo>
                  <a:lnTo>
                    <a:pt x="0" y="1"/>
                  </a:lnTo>
                  <a:lnTo>
                    <a:pt x="0"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8" name="Freeform 177"/>
            <p:cNvSpPr/>
            <p:nvPr/>
          </p:nvSpPr>
          <p:spPr bwMode="auto">
            <a:xfrm>
              <a:off x="3528004" y="3444372"/>
              <a:ext cx="6145" cy="0"/>
            </a:xfrm>
            <a:custGeom>
              <a:avLst/>
              <a:gdLst>
                <a:gd name="T0" fmla="*/ 0 w 2"/>
                <a:gd name="T1" fmla="*/ 0 w 2"/>
                <a:gd name="T2" fmla="*/ 1 w 2"/>
                <a:gd name="T3" fmla="*/ 1 w 2"/>
                <a:gd name="T4" fmla="*/ 2 w 2"/>
                <a:gd name="T5" fmla="*/ 2 w 2"/>
                <a:gd name="T6" fmla="*/ 2 w 2"/>
                <a:gd name="T7" fmla="*/ 0 w 2"/>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2">
                  <a:moveTo>
                    <a:pt x="0" y="0"/>
                  </a:moveTo>
                  <a:lnTo>
                    <a:pt x="0" y="0"/>
                  </a:lnTo>
                  <a:lnTo>
                    <a:pt x="1" y="0"/>
                  </a:lnTo>
                  <a:lnTo>
                    <a:pt x="1" y="0"/>
                  </a:lnTo>
                  <a:lnTo>
                    <a:pt x="2" y="0"/>
                  </a:lnTo>
                  <a:lnTo>
                    <a:pt x="2"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9" name="Freeform 178"/>
            <p:cNvSpPr/>
            <p:nvPr/>
          </p:nvSpPr>
          <p:spPr bwMode="auto">
            <a:xfrm>
              <a:off x="3528004" y="3444372"/>
              <a:ext cx="6145" cy="0"/>
            </a:xfrm>
            <a:custGeom>
              <a:avLst/>
              <a:gdLst>
                <a:gd name="T0" fmla="*/ 0 w 2"/>
                <a:gd name="T1" fmla="*/ 0 w 2"/>
                <a:gd name="T2" fmla="*/ 1 w 2"/>
                <a:gd name="T3" fmla="*/ 1 w 2"/>
                <a:gd name="T4" fmla="*/ 2 w 2"/>
                <a:gd name="T5" fmla="*/ 2 w 2"/>
                <a:gd name="T6" fmla="*/ 2 w 2"/>
                <a:gd name="T7" fmla="*/ 0 w 2"/>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2">
                  <a:moveTo>
                    <a:pt x="0" y="0"/>
                  </a:moveTo>
                  <a:lnTo>
                    <a:pt x="0" y="0"/>
                  </a:lnTo>
                  <a:lnTo>
                    <a:pt x="1" y="0"/>
                  </a:lnTo>
                  <a:lnTo>
                    <a:pt x="1" y="0"/>
                  </a:lnTo>
                  <a:lnTo>
                    <a:pt x="2" y="0"/>
                  </a:lnTo>
                  <a:lnTo>
                    <a:pt x="2" y="0"/>
                  </a:lnTo>
                  <a:lnTo>
                    <a:pt x="2"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0" name="Freeform 179"/>
            <p:cNvSpPr/>
            <p:nvPr/>
          </p:nvSpPr>
          <p:spPr bwMode="auto">
            <a:xfrm>
              <a:off x="3546432" y="3493520"/>
              <a:ext cx="12287" cy="12287"/>
            </a:xfrm>
            <a:custGeom>
              <a:avLst/>
              <a:gdLst>
                <a:gd name="T0" fmla="*/ 0 w 4"/>
                <a:gd name="T1" fmla="*/ 0 h 6"/>
                <a:gd name="T2" fmla="*/ 0 w 4"/>
                <a:gd name="T3" fmla="*/ 0 h 6"/>
                <a:gd name="T4" fmla="*/ 0 w 4"/>
                <a:gd name="T5" fmla="*/ 1 h 6"/>
                <a:gd name="T6" fmla="*/ 2 w 4"/>
                <a:gd name="T7" fmla="*/ 1 h 6"/>
                <a:gd name="T8" fmla="*/ 3 w 4"/>
                <a:gd name="T9" fmla="*/ 3 h 6"/>
                <a:gd name="T10" fmla="*/ 4 w 4"/>
                <a:gd name="T11" fmla="*/ 6 h 6"/>
                <a:gd name="T12" fmla="*/ 4 w 4"/>
                <a:gd name="T13" fmla="*/ 6 h 6"/>
                <a:gd name="T14" fmla="*/ 4 w 4"/>
                <a:gd name="T15" fmla="*/ 6 h 6"/>
                <a:gd name="T16" fmla="*/ 4 w 4"/>
                <a:gd name="T17" fmla="*/ 6 h 6"/>
                <a:gd name="T18" fmla="*/ 3 w 4"/>
                <a:gd name="T19" fmla="*/ 4 h 6"/>
                <a:gd name="T20" fmla="*/ 3 w 4"/>
                <a:gd name="T21" fmla="*/ 4 h 6"/>
                <a:gd name="T22" fmla="*/ 3 w 4"/>
                <a:gd name="T23" fmla="*/ 3 h 6"/>
                <a:gd name="T24" fmla="*/ 3 w 4"/>
                <a:gd name="T25" fmla="*/ 3 h 6"/>
                <a:gd name="T26" fmla="*/ 3 w 4"/>
                <a:gd name="T27" fmla="*/ 1 h 6"/>
                <a:gd name="T28" fmla="*/ 3 w 4"/>
                <a:gd name="T29" fmla="*/ 1 h 6"/>
                <a:gd name="T30" fmla="*/ 2 w 4"/>
                <a:gd name="T31" fmla="*/ 0 h 6"/>
                <a:gd name="T32" fmla="*/ 2 w 4"/>
                <a:gd name="T33" fmla="*/ 0 h 6"/>
                <a:gd name="T34" fmla="*/ 0 w 4"/>
                <a:gd name="T3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0" y="0"/>
                  </a:moveTo>
                  <a:lnTo>
                    <a:pt x="0" y="0"/>
                  </a:lnTo>
                  <a:lnTo>
                    <a:pt x="0" y="1"/>
                  </a:lnTo>
                  <a:lnTo>
                    <a:pt x="2" y="1"/>
                  </a:lnTo>
                  <a:lnTo>
                    <a:pt x="3" y="3"/>
                  </a:lnTo>
                  <a:lnTo>
                    <a:pt x="4" y="6"/>
                  </a:lnTo>
                  <a:lnTo>
                    <a:pt x="4" y="6"/>
                  </a:lnTo>
                  <a:lnTo>
                    <a:pt x="4" y="6"/>
                  </a:lnTo>
                  <a:lnTo>
                    <a:pt x="4" y="6"/>
                  </a:lnTo>
                  <a:lnTo>
                    <a:pt x="3" y="4"/>
                  </a:lnTo>
                  <a:lnTo>
                    <a:pt x="3" y="4"/>
                  </a:lnTo>
                  <a:lnTo>
                    <a:pt x="3" y="3"/>
                  </a:lnTo>
                  <a:lnTo>
                    <a:pt x="3" y="3"/>
                  </a:lnTo>
                  <a:lnTo>
                    <a:pt x="3" y="1"/>
                  </a:lnTo>
                  <a:lnTo>
                    <a:pt x="3" y="1"/>
                  </a:lnTo>
                  <a:lnTo>
                    <a:pt x="2"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1" name="Freeform 180"/>
            <p:cNvSpPr/>
            <p:nvPr/>
          </p:nvSpPr>
          <p:spPr bwMode="auto">
            <a:xfrm>
              <a:off x="3546432" y="3493520"/>
              <a:ext cx="12287" cy="12287"/>
            </a:xfrm>
            <a:custGeom>
              <a:avLst/>
              <a:gdLst>
                <a:gd name="T0" fmla="*/ 0 w 4"/>
                <a:gd name="T1" fmla="*/ 0 h 6"/>
                <a:gd name="T2" fmla="*/ 0 w 4"/>
                <a:gd name="T3" fmla="*/ 0 h 6"/>
                <a:gd name="T4" fmla="*/ 0 w 4"/>
                <a:gd name="T5" fmla="*/ 1 h 6"/>
                <a:gd name="T6" fmla="*/ 2 w 4"/>
                <a:gd name="T7" fmla="*/ 1 h 6"/>
                <a:gd name="T8" fmla="*/ 3 w 4"/>
                <a:gd name="T9" fmla="*/ 3 h 6"/>
                <a:gd name="T10" fmla="*/ 4 w 4"/>
                <a:gd name="T11" fmla="*/ 6 h 6"/>
                <a:gd name="T12" fmla="*/ 4 w 4"/>
                <a:gd name="T13" fmla="*/ 6 h 6"/>
                <a:gd name="T14" fmla="*/ 4 w 4"/>
                <a:gd name="T15" fmla="*/ 6 h 6"/>
                <a:gd name="T16" fmla="*/ 4 w 4"/>
                <a:gd name="T17" fmla="*/ 6 h 6"/>
                <a:gd name="T18" fmla="*/ 3 w 4"/>
                <a:gd name="T19" fmla="*/ 4 h 6"/>
                <a:gd name="T20" fmla="*/ 3 w 4"/>
                <a:gd name="T21" fmla="*/ 4 h 6"/>
                <a:gd name="T22" fmla="*/ 3 w 4"/>
                <a:gd name="T23" fmla="*/ 3 h 6"/>
                <a:gd name="T24" fmla="*/ 3 w 4"/>
                <a:gd name="T25" fmla="*/ 3 h 6"/>
                <a:gd name="T26" fmla="*/ 3 w 4"/>
                <a:gd name="T27" fmla="*/ 1 h 6"/>
                <a:gd name="T28" fmla="*/ 3 w 4"/>
                <a:gd name="T29" fmla="*/ 1 h 6"/>
                <a:gd name="T30" fmla="*/ 2 w 4"/>
                <a:gd name="T31" fmla="*/ 0 h 6"/>
                <a:gd name="T32" fmla="*/ 2 w 4"/>
                <a:gd name="T33" fmla="*/ 0 h 6"/>
                <a:gd name="T34" fmla="*/ 0 w 4"/>
                <a:gd name="T3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0" y="0"/>
                  </a:moveTo>
                  <a:lnTo>
                    <a:pt x="0" y="0"/>
                  </a:lnTo>
                  <a:lnTo>
                    <a:pt x="0" y="1"/>
                  </a:lnTo>
                  <a:lnTo>
                    <a:pt x="2" y="1"/>
                  </a:lnTo>
                  <a:lnTo>
                    <a:pt x="3" y="3"/>
                  </a:lnTo>
                  <a:lnTo>
                    <a:pt x="4" y="6"/>
                  </a:lnTo>
                  <a:lnTo>
                    <a:pt x="4" y="6"/>
                  </a:lnTo>
                  <a:lnTo>
                    <a:pt x="4" y="6"/>
                  </a:lnTo>
                  <a:lnTo>
                    <a:pt x="4" y="6"/>
                  </a:lnTo>
                  <a:lnTo>
                    <a:pt x="3" y="4"/>
                  </a:lnTo>
                  <a:lnTo>
                    <a:pt x="3" y="4"/>
                  </a:lnTo>
                  <a:lnTo>
                    <a:pt x="3" y="3"/>
                  </a:lnTo>
                  <a:lnTo>
                    <a:pt x="3" y="3"/>
                  </a:lnTo>
                  <a:lnTo>
                    <a:pt x="3" y="1"/>
                  </a:lnTo>
                  <a:lnTo>
                    <a:pt x="3" y="1"/>
                  </a:lnTo>
                  <a:lnTo>
                    <a:pt x="2" y="0"/>
                  </a:lnTo>
                  <a:lnTo>
                    <a:pt x="2"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2" name="Freeform 181"/>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3" name="Freeform 182"/>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4" name="Freeform 183"/>
            <p:cNvSpPr/>
            <p:nvPr/>
          </p:nvSpPr>
          <p:spPr bwMode="auto">
            <a:xfrm>
              <a:off x="3546432" y="3493520"/>
              <a:ext cx="6145" cy="24574"/>
            </a:xfrm>
            <a:custGeom>
              <a:avLst/>
              <a:gdLst>
                <a:gd name="T0" fmla="*/ 0 w 1"/>
                <a:gd name="T1" fmla="*/ 0 h 8"/>
                <a:gd name="T2" fmla="*/ 0 w 1"/>
                <a:gd name="T3" fmla="*/ 0 h 8"/>
                <a:gd name="T4" fmla="*/ 1 w 1"/>
                <a:gd name="T5" fmla="*/ 8 h 8"/>
                <a:gd name="T6" fmla="*/ 1 w 1"/>
                <a:gd name="T7" fmla="*/ 8 h 8"/>
                <a:gd name="T8" fmla="*/ 1 w 1"/>
                <a:gd name="T9" fmla="*/ 6 h 8"/>
                <a:gd name="T10" fmla="*/ 1 w 1"/>
                <a:gd name="T11" fmla="*/ 6 h 8"/>
                <a:gd name="T12" fmla="*/ 0 w 1"/>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0"/>
                  </a:moveTo>
                  <a:lnTo>
                    <a:pt x="0" y="0"/>
                  </a:lnTo>
                  <a:lnTo>
                    <a:pt x="1" y="8"/>
                  </a:lnTo>
                  <a:lnTo>
                    <a:pt x="1" y="8"/>
                  </a:lnTo>
                  <a:lnTo>
                    <a:pt x="1" y="6"/>
                  </a:lnTo>
                  <a:lnTo>
                    <a:pt x="1" y="6"/>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5" name="Freeform 184"/>
            <p:cNvSpPr/>
            <p:nvPr/>
          </p:nvSpPr>
          <p:spPr bwMode="auto">
            <a:xfrm>
              <a:off x="3546432" y="3493520"/>
              <a:ext cx="6145" cy="24574"/>
            </a:xfrm>
            <a:custGeom>
              <a:avLst/>
              <a:gdLst>
                <a:gd name="T0" fmla="*/ 0 w 1"/>
                <a:gd name="T1" fmla="*/ 0 h 8"/>
                <a:gd name="T2" fmla="*/ 0 w 1"/>
                <a:gd name="T3" fmla="*/ 0 h 8"/>
                <a:gd name="T4" fmla="*/ 1 w 1"/>
                <a:gd name="T5" fmla="*/ 8 h 8"/>
                <a:gd name="T6" fmla="*/ 1 w 1"/>
                <a:gd name="T7" fmla="*/ 8 h 8"/>
                <a:gd name="T8" fmla="*/ 1 w 1"/>
                <a:gd name="T9" fmla="*/ 6 h 8"/>
                <a:gd name="T10" fmla="*/ 1 w 1"/>
                <a:gd name="T11" fmla="*/ 6 h 8"/>
                <a:gd name="T12" fmla="*/ 0 w 1"/>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0"/>
                  </a:moveTo>
                  <a:lnTo>
                    <a:pt x="0" y="0"/>
                  </a:lnTo>
                  <a:lnTo>
                    <a:pt x="1" y="8"/>
                  </a:lnTo>
                  <a:lnTo>
                    <a:pt x="1" y="8"/>
                  </a:lnTo>
                  <a:lnTo>
                    <a:pt x="1" y="6"/>
                  </a:lnTo>
                  <a:lnTo>
                    <a:pt x="1" y="6"/>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6" name="Rectangle 185"/>
            <p:cNvSpPr>
              <a:spLocks noChangeArrowheads="1"/>
            </p:cNvSpPr>
            <p:nvPr/>
          </p:nvSpPr>
          <p:spPr bwMode="auto">
            <a:xfrm>
              <a:off x="3546432" y="3462800"/>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87" name="Rectangle 186"/>
            <p:cNvSpPr>
              <a:spLocks noChangeArrowheads="1"/>
            </p:cNvSpPr>
            <p:nvPr/>
          </p:nvSpPr>
          <p:spPr bwMode="auto">
            <a:xfrm>
              <a:off x="3546432" y="3462800"/>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90" name="Freeform 189"/>
            <p:cNvSpPr/>
            <p:nvPr/>
          </p:nvSpPr>
          <p:spPr bwMode="auto">
            <a:xfrm>
              <a:off x="3546432" y="3456659"/>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1" name="Freeform 190"/>
            <p:cNvSpPr/>
            <p:nvPr/>
          </p:nvSpPr>
          <p:spPr bwMode="auto">
            <a:xfrm>
              <a:off x="3546432" y="3456659"/>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2" name="Rectangle 191"/>
            <p:cNvSpPr>
              <a:spLocks noChangeArrowheads="1"/>
            </p:cNvSpPr>
            <p:nvPr/>
          </p:nvSpPr>
          <p:spPr bwMode="auto">
            <a:xfrm>
              <a:off x="3546432"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93" name="Rectangle 192"/>
            <p:cNvSpPr>
              <a:spLocks noChangeArrowheads="1"/>
            </p:cNvSpPr>
            <p:nvPr/>
          </p:nvSpPr>
          <p:spPr bwMode="auto">
            <a:xfrm>
              <a:off x="3546432"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96" name="Freeform 195"/>
            <p:cNvSpPr/>
            <p:nvPr/>
          </p:nvSpPr>
          <p:spPr bwMode="auto">
            <a:xfrm>
              <a:off x="3521858" y="3518093"/>
              <a:ext cx="6145" cy="12287"/>
            </a:xfrm>
            <a:custGeom>
              <a:avLst/>
              <a:gdLst>
                <a:gd name="T0" fmla="*/ 2 w 2"/>
                <a:gd name="T1" fmla="*/ 0 h 4"/>
                <a:gd name="T2" fmla="*/ 2 w 2"/>
                <a:gd name="T3" fmla="*/ 0 h 4"/>
                <a:gd name="T4" fmla="*/ 0 w 2"/>
                <a:gd name="T5" fmla="*/ 2 h 4"/>
                <a:gd name="T6" fmla="*/ 0 w 2"/>
                <a:gd name="T7" fmla="*/ 2 h 4"/>
                <a:gd name="T8" fmla="*/ 0 w 2"/>
                <a:gd name="T9" fmla="*/ 4 h 4"/>
                <a:gd name="T10" fmla="*/ 0 w 2"/>
                <a:gd name="T11" fmla="*/ 2 h 4"/>
                <a:gd name="T12" fmla="*/ 0 w 2"/>
                <a:gd name="T13" fmla="*/ 2 h 4"/>
                <a:gd name="T14" fmla="*/ 0 w 2"/>
                <a:gd name="T15" fmla="*/ 2 h 4"/>
                <a:gd name="T16" fmla="*/ 0 w 2"/>
                <a:gd name="T17" fmla="*/ 2 h 4"/>
                <a:gd name="T18" fmla="*/ 2 w 2"/>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2" y="0"/>
                  </a:moveTo>
                  <a:lnTo>
                    <a:pt x="2" y="0"/>
                  </a:lnTo>
                  <a:lnTo>
                    <a:pt x="0" y="2"/>
                  </a:lnTo>
                  <a:lnTo>
                    <a:pt x="0" y="2"/>
                  </a:lnTo>
                  <a:lnTo>
                    <a:pt x="0" y="4"/>
                  </a:lnTo>
                  <a:lnTo>
                    <a:pt x="0" y="2"/>
                  </a:lnTo>
                  <a:lnTo>
                    <a:pt x="0" y="2"/>
                  </a:lnTo>
                  <a:lnTo>
                    <a:pt x="0" y="2"/>
                  </a:lnTo>
                  <a:lnTo>
                    <a:pt x="0" y="2"/>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7" name="Freeform 196"/>
            <p:cNvSpPr/>
            <p:nvPr/>
          </p:nvSpPr>
          <p:spPr bwMode="auto">
            <a:xfrm>
              <a:off x="3521858" y="3518093"/>
              <a:ext cx="6145" cy="12287"/>
            </a:xfrm>
            <a:custGeom>
              <a:avLst/>
              <a:gdLst>
                <a:gd name="T0" fmla="*/ 2 w 2"/>
                <a:gd name="T1" fmla="*/ 0 h 4"/>
                <a:gd name="T2" fmla="*/ 2 w 2"/>
                <a:gd name="T3" fmla="*/ 0 h 4"/>
                <a:gd name="T4" fmla="*/ 0 w 2"/>
                <a:gd name="T5" fmla="*/ 2 h 4"/>
                <a:gd name="T6" fmla="*/ 0 w 2"/>
                <a:gd name="T7" fmla="*/ 2 h 4"/>
                <a:gd name="T8" fmla="*/ 0 w 2"/>
                <a:gd name="T9" fmla="*/ 4 h 4"/>
                <a:gd name="T10" fmla="*/ 0 w 2"/>
                <a:gd name="T11" fmla="*/ 2 h 4"/>
                <a:gd name="T12" fmla="*/ 0 w 2"/>
                <a:gd name="T13" fmla="*/ 2 h 4"/>
                <a:gd name="T14" fmla="*/ 0 w 2"/>
                <a:gd name="T15" fmla="*/ 2 h 4"/>
                <a:gd name="T16" fmla="*/ 0 w 2"/>
                <a:gd name="T17" fmla="*/ 2 h 4"/>
                <a:gd name="T18" fmla="*/ 2 w 2"/>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2" y="0"/>
                  </a:moveTo>
                  <a:lnTo>
                    <a:pt x="2" y="0"/>
                  </a:lnTo>
                  <a:lnTo>
                    <a:pt x="0" y="2"/>
                  </a:lnTo>
                  <a:lnTo>
                    <a:pt x="0" y="2"/>
                  </a:lnTo>
                  <a:lnTo>
                    <a:pt x="0" y="4"/>
                  </a:lnTo>
                  <a:lnTo>
                    <a:pt x="0" y="2"/>
                  </a:lnTo>
                  <a:lnTo>
                    <a:pt x="0" y="2"/>
                  </a:lnTo>
                  <a:lnTo>
                    <a:pt x="0" y="2"/>
                  </a:lnTo>
                  <a:lnTo>
                    <a:pt x="0" y="2"/>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8" name="Freeform 197"/>
            <p:cNvSpPr/>
            <p:nvPr/>
          </p:nvSpPr>
          <p:spPr bwMode="auto">
            <a:xfrm>
              <a:off x="3540291" y="3462800"/>
              <a:ext cx="0" cy="12287"/>
            </a:xfrm>
            <a:custGeom>
              <a:avLst/>
              <a:gdLst>
                <a:gd name="T0" fmla="*/ 3 h 4"/>
                <a:gd name="T1" fmla="*/ 3 h 4"/>
                <a:gd name="T2" fmla="*/ 4 h 4"/>
                <a:gd name="T3" fmla="*/ 3 h 4"/>
                <a:gd name="T4" fmla="*/ 3 h 4"/>
                <a:gd name="T5" fmla="*/ 0 h 4"/>
                <a:gd name="T6" fmla="*/ 3 h 4"/>
              </a:gdLst>
              <a:ahLst/>
              <a:cxnLst>
                <a:cxn ang="0">
                  <a:pos x="0" y="T0"/>
                </a:cxn>
                <a:cxn ang="0">
                  <a:pos x="0" y="T1"/>
                </a:cxn>
                <a:cxn ang="0">
                  <a:pos x="0" y="T2"/>
                </a:cxn>
                <a:cxn ang="0">
                  <a:pos x="0" y="T3"/>
                </a:cxn>
                <a:cxn ang="0">
                  <a:pos x="0" y="T4"/>
                </a:cxn>
                <a:cxn ang="0">
                  <a:pos x="0" y="T5"/>
                </a:cxn>
                <a:cxn ang="0">
                  <a:pos x="0" y="T6"/>
                </a:cxn>
              </a:cxnLst>
              <a:rect l="0" t="0" r="r" b="b"/>
              <a:pathLst>
                <a:path h="4">
                  <a:moveTo>
                    <a:pt x="0" y="3"/>
                  </a:moveTo>
                  <a:lnTo>
                    <a:pt x="0" y="3"/>
                  </a:lnTo>
                  <a:lnTo>
                    <a:pt x="0" y="4"/>
                  </a:lnTo>
                  <a:lnTo>
                    <a:pt x="0" y="3"/>
                  </a:lnTo>
                  <a:lnTo>
                    <a:pt x="0" y="3"/>
                  </a:lnTo>
                  <a:lnTo>
                    <a:pt x="0" y="0"/>
                  </a:lnTo>
                  <a:lnTo>
                    <a:pt x="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9" name="Freeform 198"/>
            <p:cNvSpPr/>
            <p:nvPr/>
          </p:nvSpPr>
          <p:spPr bwMode="auto">
            <a:xfrm>
              <a:off x="3540291" y="3462800"/>
              <a:ext cx="0" cy="12287"/>
            </a:xfrm>
            <a:custGeom>
              <a:avLst/>
              <a:gdLst>
                <a:gd name="T0" fmla="*/ 3 h 4"/>
                <a:gd name="T1" fmla="*/ 3 h 4"/>
                <a:gd name="T2" fmla="*/ 4 h 4"/>
                <a:gd name="T3" fmla="*/ 3 h 4"/>
                <a:gd name="T4" fmla="*/ 3 h 4"/>
                <a:gd name="T5" fmla="*/ 0 h 4"/>
                <a:gd name="T6" fmla="*/ 3 h 4"/>
              </a:gdLst>
              <a:ahLst/>
              <a:cxnLst>
                <a:cxn ang="0">
                  <a:pos x="0" y="T0"/>
                </a:cxn>
                <a:cxn ang="0">
                  <a:pos x="0" y="T1"/>
                </a:cxn>
                <a:cxn ang="0">
                  <a:pos x="0" y="T2"/>
                </a:cxn>
                <a:cxn ang="0">
                  <a:pos x="0" y="T3"/>
                </a:cxn>
                <a:cxn ang="0">
                  <a:pos x="0" y="T4"/>
                </a:cxn>
                <a:cxn ang="0">
                  <a:pos x="0" y="T5"/>
                </a:cxn>
                <a:cxn ang="0">
                  <a:pos x="0" y="T6"/>
                </a:cxn>
              </a:cxnLst>
              <a:rect l="0" t="0" r="r" b="b"/>
              <a:pathLst>
                <a:path h="4">
                  <a:moveTo>
                    <a:pt x="0" y="3"/>
                  </a:moveTo>
                  <a:lnTo>
                    <a:pt x="0" y="3"/>
                  </a:lnTo>
                  <a:lnTo>
                    <a:pt x="0" y="4"/>
                  </a:lnTo>
                  <a:lnTo>
                    <a:pt x="0" y="3"/>
                  </a:lnTo>
                  <a:lnTo>
                    <a:pt x="0" y="3"/>
                  </a:lnTo>
                  <a:lnTo>
                    <a:pt x="0" y="0"/>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0" name="Freeform 199"/>
            <p:cNvSpPr/>
            <p:nvPr/>
          </p:nvSpPr>
          <p:spPr bwMode="auto">
            <a:xfrm>
              <a:off x="3515717" y="3518093"/>
              <a:ext cx="6145" cy="12287"/>
            </a:xfrm>
            <a:custGeom>
              <a:avLst/>
              <a:gdLst>
                <a:gd name="T0" fmla="*/ 1 w 1"/>
                <a:gd name="T1" fmla="*/ 2 h 4"/>
                <a:gd name="T2" fmla="*/ 1 w 1"/>
                <a:gd name="T3" fmla="*/ 2 h 4"/>
                <a:gd name="T4" fmla="*/ 0 w 1"/>
                <a:gd name="T5" fmla="*/ 4 h 4"/>
                <a:gd name="T6" fmla="*/ 0 w 1"/>
                <a:gd name="T7" fmla="*/ 2 h 4"/>
                <a:gd name="T8" fmla="*/ 0 w 1"/>
                <a:gd name="T9" fmla="*/ 2 h 4"/>
                <a:gd name="T10" fmla="*/ 1 w 1"/>
                <a:gd name="T11" fmla="*/ 0 h 4"/>
                <a:gd name="T12" fmla="*/ 1 w 1"/>
                <a:gd name="T13" fmla="*/ 0 h 4"/>
                <a:gd name="T14" fmla="*/ 1 w 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4">
                  <a:moveTo>
                    <a:pt x="1" y="2"/>
                  </a:moveTo>
                  <a:lnTo>
                    <a:pt x="1" y="2"/>
                  </a:lnTo>
                  <a:lnTo>
                    <a:pt x="0" y="4"/>
                  </a:lnTo>
                  <a:lnTo>
                    <a:pt x="0" y="2"/>
                  </a:lnTo>
                  <a:lnTo>
                    <a:pt x="0" y="2"/>
                  </a:lnTo>
                  <a:lnTo>
                    <a:pt x="1" y="0"/>
                  </a:lnTo>
                  <a:lnTo>
                    <a:pt x="1" y="0"/>
                  </a:lnTo>
                  <a:lnTo>
                    <a:pt x="1"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1" name="Freeform 200"/>
            <p:cNvSpPr/>
            <p:nvPr/>
          </p:nvSpPr>
          <p:spPr bwMode="auto">
            <a:xfrm>
              <a:off x="3515717" y="3518093"/>
              <a:ext cx="6145" cy="12287"/>
            </a:xfrm>
            <a:custGeom>
              <a:avLst/>
              <a:gdLst>
                <a:gd name="T0" fmla="*/ 1 w 1"/>
                <a:gd name="T1" fmla="*/ 2 h 4"/>
                <a:gd name="T2" fmla="*/ 1 w 1"/>
                <a:gd name="T3" fmla="*/ 2 h 4"/>
                <a:gd name="T4" fmla="*/ 0 w 1"/>
                <a:gd name="T5" fmla="*/ 4 h 4"/>
                <a:gd name="T6" fmla="*/ 0 w 1"/>
                <a:gd name="T7" fmla="*/ 2 h 4"/>
                <a:gd name="T8" fmla="*/ 0 w 1"/>
                <a:gd name="T9" fmla="*/ 2 h 4"/>
                <a:gd name="T10" fmla="*/ 1 w 1"/>
                <a:gd name="T11" fmla="*/ 0 h 4"/>
                <a:gd name="T12" fmla="*/ 1 w 1"/>
                <a:gd name="T13" fmla="*/ 0 h 4"/>
                <a:gd name="T14" fmla="*/ 1 w 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4">
                  <a:moveTo>
                    <a:pt x="1" y="2"/>
                  </a:moveTo>
                  <a:lnTo>
                    <a:pt x="1" y="2"/>
                  </a:lnTo>
                  <a:lnTo>
                    <a:pt x="0" y="4"/>
                  </a:lnTo>
                  <a:lnTo>
                    <a:pt x="0" y="2"/>
                  </a:lnTo>
                  <a:lnTo>
                    <a:pt x="0" y="2"/>
                  </a:lnTo>
                  <a:lnTo>
                    <a:pt x="1" y="0"/>
                  </a:lnTo>
                  <a:lnTo>
                    <a:pt x="1" y="0"/>
                  </a:lnTo>
                  <a:lnTo>
                    <a:pt x="1"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2" name="Rectangle 201"/>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03" name="Rectangle 202"/>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04" name="Freeform 203"/>
            <p:cNvSpPr/>
            <p:nvPr/>
          </p:nvSpPr>
          <p:spPr bwMode="auto">
            <a:xfrm>
              <a:off x="3546432" y="3444372"/>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5" name="Freeform 204"/>
            <p:cNvSpPr/>
            <p:nvPr/>
          </p:nvSpPr>
          <p:spPr bwMode="auto">
            <a:xfrm>
              <a:off x="3546432" y="3444372"/>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6" name="Rectangle 206"/>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07" name="Rectangle 207"/>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08" name="Freeform 208"/>
            <p:cNvSpPr/>
            <p:nvPr/>
          </p:nvSpPr>
          <p:spPr bwMode="auto">
            <a:xfrm>
              <a:off x="3546432" y="344437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9" name="Freeform 209"/>
            <p:cNvSpPr/>
            <p:nvPr/>
          </p:nvSpPr>
          <p:spPr bwMode="auto">
            <a:xfrm>
              <a:off x="3546432" y="344437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0" name="Freeform 210"/>
            <p:cNvSpPr/>
            <p:nvPr/>
          </p:nvSpPr>
          <p:spPr bwMode="auto">
            <a:xfrm>
              <a:off x="3546432" y="3444372"/>
              <a:ext cx="0" cy="0"/>
            </a:xfrm>
            <a:custGeom>
              <a:avLst/>
              <a:gdLst>
                <a:gd name="T0" fmla="*/ 2 w 2"/>
                <a:gd name="T1" fmla="*/ 2 w 2"/>
                <a:gd name="T2" fmla="*/ 2 w 2"/>
                <a:gd name="T3" fmla="*/ 0 w 2"/>
                <a:gd name="T4" fmla="*/ 0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2" y="0"/>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1" name="Freeform 211"/>
            <p:cNvSpPr/>
            <p:nvPr/>
          </p:nvSpPr>
          <p:spPr bwMode="auto">
            <a:xfrm>
              <a:off x="3546432" y="3444372"/>
              <a:ext cx="0" cy="0"/>
            </a:xfrm>
            <a:custGeom>
              <a:avLst/>
              <a:gdLst>
                <a:gd name="T0" fmla="*/ 2 w 2"/>
                <a:gd name="T1" fmla="*/ 2 w 2"/>
                <a:gd name="T2" fmla="*/ 2 w 2"/>
                <a:gd name="T3" fmla="*/ 0 w 2"/>
                <a:gd name="T4" fmla="*/ 0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2" y="0"/>
                  </a:lnTo>
                  <a:lnTo>
                    <a:pt x="0" y="0"/>
                  </a:lnTo>
                  <a:lnTo>
                    <a:pt x="0" y="0"/>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2" name="Rectangle 212"/>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13" name="Rectangle 213"/>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14" name="Freeform 214"/>
            <p:cNvSpPr/>
            <p:nvPr/>
          </p:nvSpPr>
          <p:spPr bwMode="auto">
            <a:xfrm>
              <a:off x="3546432" y="3444372"/>
              <a:ext cx="0" cy="6142"/>
            </a:xfrm>
            <a:custGeom>
              <a:avLst/>
              <a:gdLst>
                <a:gd name="T0" fmla="*/ 0 h 1"/>
                <a:gd name="T1" fmla="*/ 0 h 1"/>
                <a:gd name="T2" fmla="*/ 0 h 1"/>
                <a:gd name="T3" fmla="*/ 1 h 1"/>
                <a:gd name="T4" fmla="*/ 0 h 1"/>
              </a:gdLst>
              <a:ahLst/>
              <a:cxnLst>
                <a:cxn ang="0">
                  <a:pos x="0" y="T0"/>
                </a:cxn>
                <a:cxn ang="0">
                  <a:pos x="0" y="T1"/>
                </a:cxn>
                <a:cxn ang="0">
                  <a:pos x="0" y="T2"/>
                </a:cxn>
                <a:cxn ang="0">
                  <a:pos x="0" y="T3"/>
                </a:cxn>
                <a:cxn ang="0">
                  <a:pos x="0" y="T4"/>
                </a:cxn>
              </a:cxnLst>
              <a:rect l="0" t="0" r="r" b="b"/>
              <a:pathLst>
                <a:path h="1">
                  <a:moveTo>
                    <a:pt x="0" y="0"/>
                  </a:moveTo>
                  <a:lnTo>
                    <a:pt x="0" y="0"/>
                  </a:lnTo>
                  <a:lnTo>
                    <a:pt x="0" y="0"/>
                  </a:lnTo>
                  <a:lnTo>
                    <a:pt x="0"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7" name="Rectangle 217"/>
            <p:cNvSpPr>
              <a:spLocks noChangeArrowheads="1"/>
            </p:cNvSpPr>
            <p:nvPr/>
          </p:nvSpPr>
          <p:spPr bwMode="auto">
            <a:xfrm>
              <a:off x="3540291" y="3456659"/>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18" name="Rectangle 218"/>
            <p:cNvSpPr>
              <a:spLocks noChangeArrowheads="1"/>
            </p:cNvSpPr>
            <p:nvPr/>
          </p:nvSpPr>
          <p:spPr bwMode="auto">
            <a:xfrm>
              <a:off x="3540291" y="3456659"/>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29" name="Rectangle 229"/>
            <p:cNvSpPr>
              <a:spLocks noChangeArrowheads="1"/>
            </p:cNvSpPr>
            <p:nvPr/>
          </p:nvSpPr>
          <p:spPr bwMode="auto">
            <a:xfrm>
              <a:off x="3546432" y="3432083"/>
              <a:ext cx="6145" cy="12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30" name="Rectangle 230"/>
            <p:cNvSpPr>
              <a:spLocks noChangeArrowheads="1"/>
            </p:cNvSpPr>
            <p:nvPr/>
          </p:nvSpPr>
          <p:spPr bwMode="auto">
            <a:xfrm>
              <a:off x="3546432" y="3432083"/>
              <a:ext cx="6145" cy="12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37" name="Rectangle 237"/>
            <p:cNvSpPr>
              <a:spLocks noChangeArrowheads="1"/>
            </p:cNvSpPr>
            <p:nvPr/>
          </p:nvSpPr>
          <p:spPr bwMode="auto">
            <a:xfrm>
              <a:off x="3534145"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38" name="Rectangle 238"/>
            <p:cNvSpPr>
              <a:spLocks noChangeArrowheads="1"/>
            </p:cNvSpPr>
            <p:nvPr/>
          </p:nvSpPr>
          <p:spPr bwMode="auto">
            <a:xfrm>
              <a:off x="3534145"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39" name="Freeform 239"/>
            <p:cNvSpPr/>
            <p:nvPr/>
          </p:nvSpPr>
          <p:spPr bwMode="auto">
            <a:xfrm>
              <a:off x="1605079" y="3579529"/>
              <a:ext cx="24574" cy="43003"/>
            </a:xfrm>
            <a:custGeom>
              <a:avLst/>
              <a:gdLst>
                <a:gd name="T0" fmla="*/ 7 w 7"/>
                <a:gd name="T1" fmla="*/ 12 h 14"/>
                <a:gd name="T2" fmla="*/ 7 w 7"/>
                <a:gd name="T3" fmla="*/ 12 h 14"/>
                <a:gd name="T4" fmla="*/ 3 w 7"/>
                <a:gd name="T5" fmla="*/ 14 h 14"/>
                <a:gd name="T6" fmla="*/ 3 w 7"/>
                <a:gd name="T7" fmla="*/ 14 h 14"/>
                <a:gd name="T8" fmla="*/ 0 w 7"/>
                <a:gd name="T9" fmla="*/ 10 h 14"/>
                <a:gd name="T10" fmla="*/ 0 w 7"/>
                <a:gd name="T11" fmla="*/ 7 h 14"/>
                <a:gd name="T12" fmla="*/ 1 w 7"/>
                <a:gd name="T13" fmla="*/ 0 h 14"/>
                <a:gd name="T14" fmla="*/ 1 w 7"/>
                <a:gd name="T15" fmla="*/ 0 h 14"/>
                <a:gd name="T16" fmla="*/ 4 w 7"/>
                <a:gd name="T17" fmla="*/ 5 h 14"/>
                <a:gd name="T18" fmla="*/ 5 w 7"/>
                <a:gd name="T19" fmla="*/ 8 h 14"/>
                <a:gd name="T20" fmla="*/ 7 w 7"/>
                <a:gd name="T21"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4">
                  <a:moveTo>
                    <a:pt x="7" y="12"/>
                  </a:moveTo>
                  <a:lnTo>
                    <a:pt x="7" y="12"/>
                  </a:lnTo>
                  <a:lnTo>
                    <a:pt x="3" y="14"/>
                  </a:lnTo>
                  <a:lnTo>
                    <a:pt x="3" y="14"/>
                  </a:lnTo>
                  <a:lnTo>
                    <a:pt x="0" y="10"/>
                  </a:lnTo>
                  <a:lnTo>
                    <a:pt x="0" y="7"/>
                  </a:lnTo>
                  <a:lnTo>
                    <a:pt x="1" y="0"/>
                  </a:lnTo>
                  <a:lnTo>
                    <a:pt x="1" y="0"/>
                  </a:lnTo>
                  <a:lnTo>
                    <a:pt x="4" y="5"/>
                  </a:lnTo>
                  <a:lnTo>
                    <a:pt x="5" y="8"/>
                  </a:lnTo>
                  <a:lnTo>
                    <a:pt x="7"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0" name="Freeform 240"/>
            <p:cNvSpPr/>
            <p:nvPr/>
          </p:nvSpPr>
          <p:spPr bwMode="auto">
            <a:xfrm>
              <a:off x="1605079" y="3579529"/>
              <a:ext cx="24574" cy="43003"/>
            </a:xfrm>
            <a:custGeom>
              <a:avLst/>
              <a:gdLst>
                <a:gd name="T0" fmla="*/ 7 w 7"/>
                <a:gd name="T1" fmla="*/ 12 h 14"/>
                <a:gd name="T2" fmla="*/ 7 w 7"/>
                <a:gd name="T3" fmla="*/ 12 h 14"/>
                <a:gd name="T4" fmla="*/ 3 w 7"/>
                <a:gd name="T5" fmla="*/ 14 h 14"/>
                <a:gd name="T6" fmla="*/ 3 w 7"/>
                <a:gd name="T7" fmla="*/ 14 h 14"/>
                <a:gd name="T8" fmla="*/ 0 w 7"/>
                <a:gd name="T9" fmla="*/ 10 h 14"/>
                <a:gd name="T10" fmla="*/ 0 w 7"/>
                <a:gd name="T11" fmla="*/ 7 h 14"/>
                <a:gd name="T12" fmla="*/ 1 w 7"/>
                <a:gd name="T13" fmla="*/ 0 h 14"/>
                <a:gd name="T14" fmla="*/ 1 w 7"/>
                <a:gd name="T15" fmla="*/ 0 h 14"/>
                <a:gd name="T16" fmla="*/ 4 w 7"/>
                <a:gd name="T17" fmla="*/ 5 h 14"/>
                <a:gd name="T18" fmla="*/ 5 w 7"/>
                <a:gd name="T19" fmla="*/ 8 h 14"/>
                <a:gd name="T20" fmla="*/ 7 w 7"/>
                <a:gd name="T21"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4">
                  <a:moveTo>
                    <a:pt x="7" y="12"/>
                  </a:moveTo>
                  <a:lnTo>
                    <a:pt x="7" y="12"/>
                  </a:lnTo>
                  <a:lnTo>
                    <a:pt x="3" y="14"/>
                  </a:lnTo>
                  <a:lnTo>
                    <a:pt x="3" y="14"/>
                  </a:lnTo>
                  <a:lnTo>
                    <a:pt x="0" y="10"/>
                  </a:lnTo>
                  <a:lnTo>
                    <a:pt x="0" y="7"/>
                  </a:lnTo>
                  <a:lnTo>
                    <a:pt x="1" y="0"/>
                  </a:lnTo>
                  <a:lnTo>
                    <a:pt x="1" y="0"/>
                  </a:lnTo>
                  <a:lnTo>
                    <a:pt x="4" y="5"/>
                  </a:lnTo>
                  <a:lnTo>
                    <a:pt x="5" y="8"/>
                  </a:lnTo>
                  <a:lnTo>
                    <a:pt x="7" y="1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7" name="Freeform 247"/>
            <p:cNvSpPr/>
            <p:nvPr/>
          </p:nvSpPr>
          <p:spPr bwMode="auto">
            <a:xfrm>
              <a:off x="1770956" y="3124908"/>
              <a:ext cx="61435" cy="92151"/>
            </a:xfrm>
            <a:custGeom>
              <a:avLst/>
              <a:gdLst>
                <a:gd name="T0" fmla="*/ 14 w 19"/>
                <a:gd name="T1" fmla="*/ 32 h 32"/>
                <a:gd name="T2" fmla="*/ 14 w 19"/>
                <a:gd name="T3" fmla="*/ 32 h 32"/>
                <a:gd name="T4" fmla="*/ 11 w 19"/>
                <a:gd name="T5" fmla="*/ 32 h 32"/>
                <a:gd name="T6" fmla="*/ 10 w 19"/>
                <a:gd name="T7" fmla="*/ 30 h 32"/>
                <a:gd name="T8" fmla="*/ 11 w 19"/>
                <a:gd name="T9" fmla="*/ 26 h 32"/>
                <a:gd name="T10" fmla="*/ 13 w 19"/>
                <a:gd name="T11" fmla="*/ 22 h 32"/>
                <a:gd name="T12" fmla="*/ 11 w 19"/>
                <a:gd name="T13" fmla="*/ 19 h 32"/>
                <a:gd name="T14" fmla="*/ 11 w 19"/>
                <a:gd name="T15" fmla="*/ 17 h 32"/>
                <a:gd name="T16" fmla="*/ 11 w 19"/>
                <a:gd name="T17" fmla="*/ 17 h 32"/>
                <a:gd name="T18" fmla="*/ 7 w 19"/>
                <a:gd name="T19" fmla="*/ 17 h 32"/>
                <a:gd name="T20" fmla="*/ 6 w 19"/>
                <a:gd name="T21" fmla="*/ 20 h 32"/>
                <a:gd name="T22" fmla="*/ 7 w 19"/>
                <a:gd name="T23" fmla="*/ 27 h 32"/>
                <a:gd name="T24" fmla="*/ 7 w 19"/>
                <a:gd name="T25" fmla="*/ 27 h 32"/>
                <a:gd name="T26" fmla="*/ 4 w 19"/>
                <a:gd name="T27" fmla="*/ 24 h 32"/>
                <a:gd name="T28" fmla="*/ 3 w 19"/>
                <a:gd name="T29" fmla="*/ 23 h 32"/>
                <a:gd name="T30" fmla="*/ 4 w 19"/>
                <a:gd name="T31" fmla="*/ 19 h 32"/>
                <a:gd name="T32" fmla="*/ 4 w 19"/>
                <a:gd name="T33" fmla="*/ 19 h 32"/>
                <a:gd name="T34" fmla="*/ 6 w 19"/>
                <a:gd name="T35" fmla="*/ 16 h 32"/>
                <a:gd name="T36" fmla="*/ 6 w 19"/>
                <a:gd name="T37" fmla="*/ 14 h 32"/>
                <a:gd name="T38" fmla="*/ 6 w 19"/>
                <a:gd name="T39" fmla="*/ 14 h 32"/>
                <a:gd name="T40" fmla="*/ 4 w 19"/>
                <a:gd name="T41" fmla="*/ 13 h 32"/>
                <a:gd name="T42" fmla="*/ 0 w 19"/>
                <a:gd name="T43" fmla="*/ 12 h 32"/>
                <a:gd name="T44" fmla="*/ 0 w 19"/>
                <a:gd name="T45" fmla="*/ 12 h 32"/>
                <a:gd name="T46" fmla="*/ 3 w 19"/>
                <a:gd name="T47" fmla="*/ 6 h 32"/>
                <a:gd name="T48" fmla="*/ 4 w 19"/>
                <a:gd name="T49" fmla="*/ 0 h 32"/>
                <a:gd name="T50" fmla="*/ 4 w 19"/>
                <a:gd name="T51" fmla="*/ 0 h 32"/>
                <a:gd name="T52" fmla="*/ 7 w 19"/>
                <a:gd name="T53" fmla="*/ 2 h 32"/>
                <a:gd name="T54" fmla="*/ 7 w 19"/>
                <a:gd name="T55" fmla="*/ 3 h 32"/>
                <a:gd name="T56" fmla="*/ 6 w 19"/>
                <a:gd name="T57" fmla="*/ 9 h 32"/>
                <a:gd name="T58" fmla="*/ 6 w 19"/>
                <a:gd name="T59" fmla="*/ 9 h 32"/>
                <a:gd name="T60" fmla="*/ 9 w 19"/>
                <a:gd name="T61" fmla="*/ 9 h 32"/>
                <a:gd name="T62" fmla="*/ 10 w 19"/>
                <a:gd name="T63" fmla="*/ 9 h 32"/>
                <a:gd name="T64" fmla="*/ 11 w 19"/>
                <a:gd name="T65" fmla="*/ 10 h 32"/>
                <a:gd name="T66" fmla="*/ 14 w 19"/>
                <a:gd name="T67" fmla="*/ 12 h 32"/>
                <a:gd name="T68" fmla="*/ 19 w 19"/>
                <a:gd name="T69" fmla="*/ 10 h 32"/>
                <a:gd name="T70" fmla="*/ 19 w 19"/>
                <a:gd name="T71" fmla="*/ 10 h 32"/>
                <a:gd name="T72" fmla="*/ 16 w 19"/>
                <a:gd name="T73" fmla="*/ 14 h 32"/>
                <a:gd name="T74" fmla="*/ 14 w 19"/>
                <a:gd name="T75" fmla="*/ 20 h 32"/>
                <a:gd name="T76" fmla="*/ 14 w 19"/>
                <a:gd name="T7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2">
                  <a:moveTo>
                    <a:pt x="14" y="32"/>
                  </a:moveTo>
                  <a:lnTo>
                    <a:pt x="14" y="32"/>
                  </a:lnTo>
                  <a:lnTo>
                    <a:pt x="11" y="32"/>
                  </a:lnTo>
                  <a:lnTo>
                    <a:pt x="10" y="30"/>
                  </a:lnTo>
                  <a:lnTo>
                    <a:pt x="11" y="26"/>
                  </a:lnTo>
                  <a:lnTo>
                    <a:pt x="13" y="22"/>
                  </a:lnTo>
                  <a:lnTo>
                    <a:pt x="11" y="19"/>
                  </a:lnTo>
                  <a:lnTo>
                    <a:pt x="11" y="17"/>
                  </a:lnTo>
                  <a:lnTo>
                    <a:pt x="11" y="17"/>
                  </a:lnTo>
                  <a:lnTo>
                    <a:pt x="7" y="17"/>
                  </a:lnTo>
                  <a:lnTo>
                    <a:pt x="6" y="20"/>
                  </a:lnTo>
                  <a:lnTo>
                    <a:pt x="7" y="27"/>
                  </a:lnTo>
                  <a:lnTo>
                    <a:pt x="7" y="27"/>
                  </a:lnTo>
                  <a:lnTo>
                    <a:pt x="4" y="24"/>
                  </a:lnTo>
                  <a:lnTo>
                    <a:pt x="3" y="23"/>
                  </a:lnTo>
                  <a:lnTo>
                    <a:pt x="4" y="19"/>
                  </a:lnTo>
                  <a:lnTo>
                    <a:pt x="4" y="19"/>
                  </a:lnTo>
                  <a:lnTo>
                    <a:pt x="6" y="16"/>
                  </a:lnTo>
                  <a:lnTo>
                    <a:pt x="6" y="14"/>
                  </a:lnTo>
                  <a:lnTo>
                    <a:pt x="6" y="14"/>
                  </a:lnTo>
                  <a:lnTo>
                    <a:pt x="4" y="13"/>
                  </a:lnTo>
                  <a:lnTo>
                    <a:pt x="0" y="12"/>
                  </a:lnTo>
                  <a:lnTo>
                    <a:pt x="0" y="12"/>
                  </a:lnTo>
                  <a:lnTo>
                    <a:pt x="3" y="6"/>
                  </a:lnTo>
                  <a:lnTo>
                    <a:pt x="4" y="0"/>
                  </a:lnTo>
                  <a:lnTo>
                    <a:pt x="4" y="0"/>
                  </a:lnTo>
                  <a:lnTo>
                    <a:pt x="7" y="2"/>
                  </a:lnTo>
                  <a:lnTo>
                    <a:pt x="7" y="3"/>
                  </a:lnTo>
                  <a:lnTo>
                    <a:pt x="6" y="9"/>
                  </a:lnTo>
                  <a:lnTo>
                    <a:pt x="6" y="9"/>
                  </a:lnTo>
                  <a:lnTo>
                    <a:pt x="9" y="9"/>
                  </a:lnTo>
                  <a:lnTo>
                    <a:pt x="10" y="9"/>
                  </a:lnTo>
                  <a:lnTo>
                    <a:pt x="11" y="10"/>
                  </a:lnTo>
                  <a:lnTo>
                    <a:pt x="14" y="12"/>
                  </a:lnTo>
                  <a:lnTo>
                    <a:pt x="19" y="10"/>
                  </a:lnTo>
                  <a:lnTo>
                    <a:pt x="19" y="10"/>
                  </a:lnTo>
                  <a:lnTo>
                    <a:pt x="16" y="14"/>
                  </a:lnTo>
                  <a:lnTo>
                    <a:pt x="14" y="20"/>
                  </a:lnTo>
                  <a:lnTo>
                    <a:pt x="14" y="3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8" name="Freeform 248"/>
            <p:cNvSpPr/>
            <p:nvPr/>
          </p:nvSpPr>
          <p:spPr bwMode="auto">
            <a:xfrm>
              <a:off x="1770956" y="3124908"/>
              <a:ext cx="61435" cy="92151"/>
            </a:xfrm>
            <a:custGeom>
              <a:avLst/>
              <a:gdLst>
                <a:gd name="T0" fmla="*/ 14 w 19"/>
                <a:gd name="T1" fmla="*/ 32 h 32"/>
                <a:gd name="T2" fmla="*/ 14 w 19"/>
                <a:gd name="T3" fmla="*/ 32 h 32"/>
                <a:gd name="T4" fmla="*/ 11 w 19"/>
                <a:gd name="T5" fmla="*/ 32 h 32"/>
                <a:gd name="T6" fmla="*/ 10 w 19"/>
                <a:gd name="T7" fmla="*/ 30 h 32"/>
                <a:gd name="T8" fmla="*/ 11 w 19"/>
                <a:gd name="T9" fmla="*/ 26 h 32"/>
                <a:gd name="T10" fmla="*/ 13 w 19"/>
                <a:gd name="T11" fmla="*/ 22 h 32"/>
                <a:gd name="T12" fmla="*/ 11 w 19"/>
                <a:gd name="T13" fmla="*/ 19 h 32"/>
                <a:gd name="T14" fmla="*/ 11 w 19"/>
                <a:gd name="T15" fmla="*/ 17 h 32"/>
                <a:gd name="T16" fmla="*/ 11 w 19"/>
                <a:gd name="T17" fmla="*/ 17 h 32"/>
                <a:gd name="T18" fmla="*/ 7 w 19"/>
                <a:gd name="T19" fmla="*/ 17 h 32"/>
                <a:gd name="T20" fmla="*/ 6 w 19"/>
                <a:gd name="T21" fmla="*/ 20 h 32"/>
                <a:gd name="T22" fmla="*/ 7 w 19"/>
                <a:gd name="T23" fmla="*/ 27 h 32"/>
                <a:gd name="T24" fmla="*/ 7 w 19"/>
                <a:gd name="T25" fmla="*/ 27 h 32"/>
                <a:gd name="T26" fmla="*/ 4 w 19"/>
                <a:gd name="T27" fmla="*/ 24 h 32"/>
                <a:gd name="T28" fmla="*/ 3 w 19"/>
                <a:gd name="T29" fmla="*/ 23 h 32"/>
                <a:gd name="T30" fmla="*/ 4 w 19"/>
                <a:gd name="T31" fmla="*/ 19 h 32"/>
                <a:gd name="T32" fmla="*/ 4 w 19"/>
                <a:gd name="T33" fmla="*/ 19 h 32"/>
                <a:gd name="T34" fmla="*/ 6 w 19"/>
                <a:gd name="T35" fmla="*/ 16 h 32"/>
                <a:gd name="T36" fmla="*/ 6 w 19"/>
                <a:gd name="T37" fmla="*/ 14 h 32"/>
                <a:gd name="T38" fmla="*/ 6 w 19"/>
                <a:gd name="T39" fmla="*/ 14 h 32"/>
                <a:gd name="T40" fmla="*/ 4 w 19"/>
                <a:gd name="T41" fmla="*/ 13 h 32"/>
                <a:gd name="T42" fmla="*/ 0 w 19"/>
                <a:gd name="T43" fmla="*/ 12 h 32"/>
                <a:gd name="T44" fmla="*/ 0 w 19"/>
                <a:gd name="T45" fmla="*/ 12 h 32"/>
                <a:gd name="T46" fmla="*/ 3 w 19"/>
                <a:gd name="T47" fmla="*/ 6 h 32"/>
                <a:gd name="T48" fmla="*/ 4 w 19"/>
                <a:gd name="T49" fmla="*/ 0 h 32"/>
                <a:gd name="T50" fmla="*/ 4 w 19"/>
                <a:gd name="T51" fmla="*/ 0 h 32"/>
                <a:gd name="T52" fmla="*/ 7 w 19"/>
                <a:gd name="T53" fmla="*/ 2 h 32"/>
                <a:gd name="T54" fmla="*/ 7 w 19"/>
                <a:gd name="T55" fmla="*/ 3 h 32"/>
                <a:gd name="T56" fmla="*/ 6 w 19"/>
                <a:gd name="T57" fmla="*/ 9 h 32"/>
                <a:gd name="T58" fmla="*/ 6 w 19"/>
                <a:gd name="T59" fmla="*/ 9 h 32"/>
                <a:gd name="T60" fmla="*/ 9 w 19"/>
                <a:gd name="T61" fmla="*/ 9 h 32"/>
                <a:gd name="T62" fmla="*/ 10 w 19"/>
                <a:gd name="T63" fmla="*/ 9 h 32"/>
                <a:gd name="T64" fmla="*/ 11 w 19"/>
                <a:gd name="T65" fmla="*/ 10 h 32"/>
                <a:gd name="T66" fmla="*/ 14 w 19"/>
                <a:gd name="T67" fmla="*/ 12 h 32"/>
                <a:gd name="T68" fmla="*/ 19 w 19"/>
                <a:gd name="T69" fmla="*/ 10 h 32"/>
                <a:gd name="T70" fmla="*/ 19 w 19"/>
                <a:gd name="T71" fmla="*/ 10 h 32"/>
                <a:gd name="T72" fmla="*/ 16 w 19"/>
                <a:gd name="T73" fmla="*/ 14 h 32"/>
                <a:gd name="T74" fmla="*/ 14 w 19"/>
                <a:gd name="T75" fmla="*/ 20 h 32"/>
                <a:gd name="T76" fmla="*/ 14 w 19"/>
                <a:gd name="T7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2">
                  <a:moveTo>
                    <a:pt x="14" y="32"/>
                  </a:moveTo>
                  <a:lnTo>
                    <a:pt x="14" y="32"/>
                  </a:lnTo>
                  <a:lnTo>
                    <a:pt x="11" y="32"/>
                  </a:lnTo>
                  <a:lnTo>
                    <a:pt x="10" y="30"/>
                  </a:lnTo>
                  <a:lnTo>
                    <a:pt x="11" y="26"/>
                  </a:lnTo>
                  <a:lnTo>
                    <a:pt x="13" y="22"/>
                  </a:lnTo>
                  <a:lnTo>
                    <a:pt x="11" y="19"/>
                  </a:lnTo>
                  <a:lnTo>
                    <a:pt x="11" y="17"/>
                  </a:lnTo>
                  <a:lnTo>
                    <a:pt x="11" y="17"/>
                  </a:lnTo>
                  <a:lnTo>
                    <a:pt x="7" y="17"/>
                  </a:lnTo>
                  <a:lnTo>
                    <a:pt x="6" y="20"/>
                  </a:lnTo>
                  <a:lnTo>
                    <a:pt x="7" y="27"/>
                  </a:lnTo>
                  <a:lnTo>
                    <a:pt x="7" y="27"/>
                  </a:lnTo>
                  <a:lnTo>
                    <a:pt x="4" y="24"/>
                  </a:lnTo>
                  <a:lnTo>
                    <a:pt x="3" y="23"/>
                  </a:lnTo>
                  <a:lnTo>
                    <a:pt x="4" y="19"/>
                  </a:lnTo>
                  <a:lnTo>
                    <a:pt x="4" y="19"/>
                  </a:lnTo>
                  <a:lnTo>
                    <a:pt x="6" y="16"/>
                  </a:lnTo>
                  <a:lnTo>
                    <a:pt x="6" y="14"/>
                  </a:lnTo>
                  <a:lnTo>
                    <a:pt x="6" y="14"/>
                  </a:lnTo>
                  <a:lnTo>
                    <a:pt x="4" y="13"/>
                  </a:lnTo>
                  <a:lnTo>
                    <a:pt x="0" y="12"/>
                  </a:lnTo>
                  <a:lnTo>
                    <a:pt x="0" y="12"/>
                  </a:lnTo>
                  <a:lnTo>
                    <a:pt x="3" y="6"/>
                  </a:lnTo>
                  <a:lnTo>
                    <a:pt x="4" y="0"/>
                  </a:lnTo>
                  <a:lnTo>
                    <a:pt x="4" y="0"/>
                  </a:lnTo>
                  <a:lnTo>
                    <a:pt x="7" y="2"/>
                  </a:lnTo>
                  <a:lnTo>
                    <a:pt x="7" y="3"/>
                  </a:lnTo>
                  <a:lnTo>
                    <a:pt x="6" y="9"/>
                  </a:lnTo>
                  <a:lnTo>
                    <a:pt x="6" y="9"/>
                  </a:lnTo>
                  <a:lnTo>
                    <a:pt x="9" y="9"/>
                  </a:lnTo>
                  <a:lnTo>
                    <a:pt x="10" y="9"/>
                  </a:lnTo>
                  <a:lnTo>
                    <a:pt x="11" y="10"/>
                  </a:lnTo>
                  <a:lnTo>
                    <a:pt x="14" y="12"/>
                  </a:lnTo>
                  <a:lnTo>
                    <a:pt x="19" y="10"/>
                  </a:lnTo>
                  <a:lnTo>
                    <a:pt x="19" y="10"/>
                  </a:lnTo>
                  <a:lnTo>
                    <a:pt x="16" y="14"/>
                  </a:lnTo>
                  <a:lnTo>
                    <a:pt x="14" y="20"/>
                  </a:lnTo>
                  <a:lnTo>
                    <a:pt x="14" y="3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9" name="Freeform 249"/>
            <p:cNvSpPr/>
            <p:nvPr/>
          </p:nvSpPr>
          <p:spPr bwMode="auto">
            <a:xfrm>
              <a:off x="3546432" y="3450513"/>
              <a:ext cx="0" cy="6142"/>
            </a:xfrm>
            <a:custGeom>
              <a:avLst/>
              <a:gdLst>
                <a:gd name="T0" fmla="*/ 0 h 2"/>
                <a:gd name="T1" fmla="*/ 0 h 2"/>
                <a:gd name="T2" fmla="*/ 2 h 2"/>
                <a:gd name="T3" fmla="*/ 2 h 2"/>
                <a:gd name="T4" fmla="*/ 2 h 2"/>
                <a:gd name="T5" fmla="*/ 2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2"/>
                  </a:lnTo>
                  <a:lnTo>
                    <a:pt x="0"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0" name="Freeform 250"/>
            <p:cNvSpPr/>
            <p:nvPr/>
          </p:nvSpPr>
          <p:spPr bwMode="auto">
            <a:xfrm>
              <a:off x="3546432" y="3450513"/>
              <a:ext cx="0" cy="6142"/>
            </a:xfrm>
            <a:custGeom>
              <a:avLst/>
              <a:gdLst>
                <a:gd name="T0" fmla="*/ 0 h 2"/>
                <a:gd name="T1" fmla="*/ 0 h 2"/>
                <a:gd name="T2" fmla="*/ 2 h 2"/>
                <a:gd name="T3" fmla="*/ 2 h 2"/>
                <a:gd name="T4" fmla="*/ 2 h 2"/>
                <a:gd name="T5" fmla="*/ 2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2"/>
                  </a:ln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1" name="Freeform 251"/>
            <p:cNvSpPr/>
            <p:nvPr/>
          </p:nvSpPr>
          <p:spPr bwMode="auto">
            <a:xfrm>
              <a:off x="3546432" y="3456659"/>
              <a:ext cx="0" cy="0"/>
            </a:xfrm>
            <a:custGeom>
              <a:avLst/>
              <a:gdLst>
                <a:gd name="T0" fmla="*/ 0 w 2"/>
                <a:gd name="T1" fmla="*/ 0 w 2"/>
                <a:gd name="T2" fmla="*/ 2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2" y="0"/>
                  </a:lnTo>
                  <a:lnTo>
                    <a:pt x="2"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2" name="Freeform 252"/>
            <p:cNvSpPr/>
            <p:nvPr/>
          </p:nvSpPr>
          <p:spPr bwMode="auto">
            <a:xfrm>
              <a:off x="3546432" y="3456659"/>
              <a:ext cx="0" cy="0"/>
            </a:xfrm>
            <a:custGeom>
              <a:avLst/>
              <a:gdLst>
                <a:gd name="T0" fmla="*/ 0 w 2"/>
                <a:gd name="T1" fmla="*/ 0 w 2"/>
                <a:gd name="T2" fmla="*/ 2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2" y="0"/>
                  </a:lnTo>
                  <a:lnTo>
                    <a:pt x="2" y="0"/>
                  </a:lnTo>
                  <a:lnTo>
                    <a:pt x="2"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3" name="Freeform 253"/>
            <p:cNvSpPr/>
            <p:nvPr/>
          </p:nvSpPr>
          <p:spPr bwMode="auto">
            <a:xfrm>
              <a:off x="3546432" y="345665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4" name="Freeform 254"/>
            <p:cNvSpPr/>
            <p:nvPr/>
          </p:nvSpPr>
          <p:spPr bwMode="auto">
            <a:xfrm>
              <a:off x="3546432" y="345665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5" name="Freeform 255"/>
            <p:cNvSpPr/>
            <p:nvPr/>
          </p:nvSpPr>
          <p:spPr bwMode="auto">
            <a:xfrm>
              <a:off x="3546432" y="345665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6" name="Freeform 256"/>
            <p:cNvSpPr/>
            <p:nvPr/>
          </p:nvSpPr>
          <p:spPr bwMode="auto">
            <a:xfrm>
              <a:off x="2674052" y="2860736"/>
              <a:ext cx="18433" cy="18429"/>
            </a:xfrm>
            <a:custGeom>
              <a:avLst/>
              <a:gdLst>
                <a:gd name="T0" fmla="*/ 3 w 6"/>
                <a:gd name="T1" fmla="*/ 6 h 6"/>
                <a:gd name="T2" fmla="*/ 3 w 6"/>
                <a:gd name="T3" fmla="*/ 6 h 6"/>
                <a:gd name="T4" fmla="*/ 0 w 6"/>
                <a:gd name="T5" fmla="*/ 3 h 6"/>
                <a:gd name="T6" fmla="*/ 0 w 6"/>
                <a:gd name="T7" fmla="*/ 3 h 6"/>
                <a:gd name="T8" fmla="*/ 2 w 6"/>
                <a:gd name="T9" fmla="*/ 0 h 6"/>
                <a:gd name="T10" fmla="*/ 2 w 6"/>
                <a:gd name="T11" fmla="*/ 0 h 6"/>
                <a:gd name="T12" fmla="*/ 3 w 6"/>
                <a:gd name="T13" fmla="*/ 0 h 6"/>
                <a:gd name="T14" fmla="*/ 3 w 6"/>
                <a:gd name="T15" fmla="*/ 0 h 6"/>
                <a:gd name="T16" fmla="*/ 6 w 6"/>
                <a:gd name="T17" fmla="*/ 1 h 6"/>
                <a:gd name="T18" fmla="*/ 6 w 6"/>
                <a:gd name="T19" fmla="*/ 3 h 6"/>
                <a:gd name="T20" fmla="*/ 6 w 6"/>
                <a:gd name="T21" fmla="*/ 3 h 6"/>
                <a:gd name="T22" fmla="*/ 3 w 6"/>
                <a:gd name="T2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6">
                  <a:moveTo>
                    <a:pt x="3" y="6"/>
                  </a:moveTo>
                  <a:lnTo>
                    <a:pt x="3" y="6"/>
                  </a:lnTo>
                  <a:lnTo>
                    <a:pt x="0" y="3"/>
                  </a:lnTo>
                  <a:lnTo>
                    <a:pt x="0" y="3"/>
                  </a:lnTo>
                  <a:lnTo>
                    <a:pt x="2" y="0"/>
                  </a:lnTo>
                  <a:lnTo>
                    <a:pt x="2" y="0"/>
                  </a:lnTo>
                  <a:lnTo>
                    <a:pt x="3" y="0"/>
                  </a:lnTo>
                  <a:lnTo>
                    <a:pt x="3" y="0"/>
                  </a:lnTo>
                  <a:lnTo>
                    <a:pt x="6" y="1"/>
                  </a:lnTo>
                  <a:lnTo>
                    <a:pt x="6" y="3"/>
                  </a:lnTo>
                  <a:lnTo>
                    <a:pt x="6" y="3"/>
                  </a:lnTo>
                  <a:lnTo>
                    <a:pt x="3"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7" name="Freeform 257"/>
            <p:cNvSpPr/>
            <p:nvPr/>
          </p:nvSpPr>
          <p:spPr bwMode="auto">
            <a:xfrm>
              <a:off x="2674052" y="2860736"/>
              <a:ext cx="18433" cy="18429"/>
            </a:xfrm>
            <a:custGeom>
              <a:avLst/>
              <a:gdLst>
                <a:gd name="T0" fmla="*/ 3 w 6"/>
                <a:gd name="T1" fmla="*/ 6 h 6"/>
                <a:gd name="T2" fmla="*/ 3 w 6"/>
                <a:gd name="T3" fmla="*/ 6 h 6"/>
                <a:gd name="T4" fmla="*/ 0 w 6"/>
                <a:gd name="T5" fmla="*/ 3 h 6"/>
                <a:gd name="T6" fmla="*/ 0 w 6"/>
                <a:gd name="T7" fmla="*/ 3 h 6"/>
                <a:gd name="T8" fmla="*/ 2 w 6"/>
                <a:gd name="T9" fmla="*/ 0 h 6"/>
                <a:gd name="T10" fmla="*/ 2 w 6"/>
                <a:gd name="T11" fmla="*/ 0 h 6"/>
                <a:gd name="T12" fmla="*/ 3 w 6"/>
                <a:gd name="T13" fmla="*/ 0 h 6"/>
                <a:gd name="T14" fmla="*/ 3 w 6"/>
                <a:gd name="T15" fmla="*/ 0 h 6"/>
                <a:gd name="T16" fmla="*/ 6 w 6"/>
                <a:gd name="T17" fmla="*/ 1 h 6"/>
                <a:gd name="T18" fmla="*/ 6 w 6"/>
                <a:gd name="T19" fmla="*/ 3 h 6"/>
                <a:gd name="T20" fmla="*/ 6 w 6"/>
                <a:gd name="T21" fmla="*/ 3 h 6"/>
                <a:gd name="T22" fmla="*/ 3 w 6"/>
                <a:gd name="T2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6">
                  <a:moveTo>
                    <a:pt x="3" y="6"/>
                  </a:moveTo>
                  <a:lnTo>
                    <a:pt x="3" y="6"/>
                  </a:lnTo>
                  <a:lnTo>
                    <a:pt x="0" y="3"/>
                  </a:lnTo>
                  <a:lnTo>
                    <a:pt x="0" y="3"/>
                  </a:lnTo>
                  <a:lnTo>
                    <a:pt x="2" y="0"/>
                  </a:lnTo>
                  <a:lnTo>
                    <a:pt x="2" y="0"/>
                  </a:lnTo>
                  <a:lnTo>
                    <a:pt x="3" y="0"/>
                  </a:lnTo>
                  <a:lnTo>
                    <a:pt x="3" y="0"/>
                  </a:lnTo>
                  <a:lnTo>
                    <a:pt x="6" y="1"/>
                  </a:lnTo>
                  <a:lnTo>
                    <a:pt x="6" y="3"/>
                  </a:lnTo>
                  <a:lnTo>
                    <a:pt x="6" y="3"/>
                  </a:lnTo>
                  <a:lnTo>
                    <a:pt x="3"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8" name="Freeform 258"/>
            <p:cNvSpPr/>
            <p:nvPr/>
          </p:nvSpPr>
          <p:spPr bwMode="auto">
            <a:xfrm>
              <a:off x="2717059" y="2866880"/>
              <a:ext cx="18433" cy="24574"/>
            </a:xfrm>
            <a:custGeom>
              <a:avLst/>
              <a:gdLst>
                <a:gd name="T0" fmla="*/ 2 w 7"/>
                <a:gd name="T1" fmla="*/ 8 h 8"/>
                <a:gd name="T2" fmla="*/ 2 w 7"/>
                <a:gd name="T3" fmla="*/ 8 h 8"/>
                <a:gd name="T4" fmla="*/ 0 w 7"/>
                <a:gd name="T5" fmla="*/ 3 h 8"/>
                <a:gd name="T6" fmla="*/ 0 w 7"/>
                <a:gd name="T7" fmla="*/ 0 h 8"/>
                <a:gd name="T8" fmla="*/ 0 w 7"/>
                <a:gd name="T9" fmla="*/ 0 h 8"/>
                <a:gd name="T10" fmla="*/ 1 w 7"/>
                <a:gd name="T11" fmla="*/ 2 h 8"/>
                <a:gd name="T12" fmla="*/ 4 w 7"/>
                <a:gd name="T13" fmla="*/ 2 h 8"/>
                <a:gd name="T14" fmla="*/ 5 w 7"/>
                <a:gd name="T15" fmla="*/ 3 h 8"/>
                <a:gd name="T16" fmla="*/ 7 w 7"/>
                <a:gd name="T17" fmla="*/ 5 h 8"/>
                <a:gd name="T18" fmla="*/ 7 w 7"/>
                <a:gd name="T19" fmla="*/ 5 h 8"/>
                <a:gd name="T20" fmla="*/ 7 w 7"/>
                <a:gd name="T21" fmla="*/ 6 h 8"/>
                <a:gd name="T22" fmla="*/ 4 w 7"/>
                <a:gd name="T23" fmla="*/ 6 h 8"/>
                <a:gd name="T24" fmla="*/ 2 w 7"/>
                <a:gd name="T25" fmla="*/ 6 h 8"/>
                <a:gd name="T26" fmla="*/ 2 w 7"/>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8">
                  <a:moveTo>
                    <a:pt x="2" y="8"/>
                  </a:moveTo>
                  <a:lnTo>
                    <a:pt x="2" y="8"/>
                  </a:lnTo>
                  <a:lnTo>
                    <a:pt x="0" y="3"/>
                  </a:lnTo>
                  <a:lnTo>
                    <a:pt x="0" y="0"/>
                  </a:lnTo>
                  <a:lnTo>
                    <a:pt x="0" y="0"/>
                  </a:lnTo>
                  <a:lnTo>
                    <a:pt x="1" y="2"/>
                  </a:lnTo>
                  <a:lnTo>
                    <a:pt x="4" y="2"/>
                  </a:lnTo>
                  <a:lnTo>
                    <a:pt x="5" y="3"/>
                  </a:lnTo>
                  <a:lnTo>
                    <a:pt x="7" y="5"/>
                  </a:lnTo>
                  <a:lnTo>
                    <a:pt x="7" y="5"/>
                  </a:lnTo>
                  <a:lnTo>
                    <a:pt x="7" y="6"/>
                  </a:lnTo>
                  <a:lnTo>
                    <a:pt x="4" y="6"/>
                  </a:lnTo>
                  <a:lnTo>
                    <a:pt x="2" y="6"/>
                  </a:lnTo>
                  <a:lnTo>
                    <a:pt x="2"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9" name="Freeform 259"/>
            <p:cNvSpPr/>
            <p:nvPr/>
          </p:nvSpPr>
          <p:spPr bwMode="auto">
            <a:xfrm>
              <a:off x="2717059" y="2866880"/>
              <a:ext cx="18433" cy="24574"/>
            </a:xfrm>
            <a:custGeom>
              <a:avLst/>
              <a:gdLst>
                <a:gd name="T0" fmla="*/ 2 w 7"/>
                <a:gd name="T1" fmla="*/ 8 h 8"/>
                <a:gd name="T2" fmla="*/ 2 w 7"/>
                <a:gd name="T3" fmla="*/ 8 h 8"/>
                <a:gd name="T4" fmla="*/ 0 w 7"/>
                <a:gd name="T5" fmla="*/ 3 h 8"/>
                <a:gd name="T6" fmla="*/ 0 w 7"/>
                <a:gd name="T7" fmla="*/ 0 h 8"/>
                <a:gd name="T8" fmla="*/ 0 w 7"/>
                <a:gd name="T9" fmla="*/ 0 h 8"/>
                <a:gd name="T10" fmla="*/ 1 w 7"/>
                <a:gd name="T11" fmla="*/ 2 h 8"/>
                <a:gd name="T12" fmla="*/ 4 w 7"/>
                <a:gd name="T13" fmla="*/ 2 h 8"/>
                <a:gd name="T14" fmla="*/ 5 w 7"/>
                <a:gd name="T15" fmla="*/ 3 h 8"/>
                <a:gd name="T16" fmla="*/ 7 w 7"/>
                <a:gd name="T17" fmla="*/ 5 h 8"/>
                <a:gd name="T18" fmla="*/ 7 w 7"/>
                <a:gd name="T19" fmla="*/ 5 h 8"/>
                <a:gd name="T20" fmla="*/ 7 w 7"/>
                <a:gd name="T21" fmla="*/ 6 h 8"/>
                <a:gd name="T22" fmla="*/ 4 w 7"/>
                <a:gd name="T23" fmla="*/ 6 h 8"/>
                <a:gd name="T24" fmla="*/ 2 w 7"/>
                <a:gd name="T25" fmla="*/ 6 h 8"/>
                <a:gd name="T26" fmla="*/ 2 w 7"/>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8">
                  <a:moveTo>
                    <a:pt x="2" y="8"/>
                  </a:moveTo>
                  <a:lnTo>
                    <a:pt x="2" y="8"/>
                  </a:lnTo>
                  <a:lnTo>
                    <a:pt x="0" y="3"/>
                  </a:lnTo>
                  <a:lnTo>
                    <a:pt x="0" y="0"/>
                  </a:lnTo>
                  <a:lnTo>
                    <a:pt x="0" y="0"/>
                  </a:lnTo>
                  <a:lnTo>
                    <a:pt x="1" y="2"/>
                  </a:lnTo>
                  <a:lnTo>
                    <a:pt x="4" y="2"/>
                  </a:lnTo>
                  <a:lnTo>
                    <a:pt x="5" y="3"/>
                  </a:lnTo>
                  <a:lnTo>
                    <a:pt x="7" y="5"/>
                  </a:lnTo>
                  <a:lnTo>
                    <a:pt x="7" y="5"/>
                  </a:lnTo>
                  <a:lnTo>
                    <a:pt x="7" y="6"/>
                  </a:lnTo>
                  <a:lnTo>
                    <a:pt x="4" y="6"/>
                  </a:lnTo>
                  <a:lnTo>
                    <a:pt x="2" y="6"/>
                  </a:lnTo>
                  <a:lnTo>
                    <a:pt x="2"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0" name="Freeform 260"/>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1" name="Freeform 261"/>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2" name="Rectangle 262"/>
            <p:cNvSpPr>
              <a:spLocks noChangeArrowheads="1"/>
            </p:cNvSpPr>
            <p:nvPr/>
          </p:nvSpPr>
          <p:spPr bwMode="auto">
            <a:xfrm>
              <a:off x="3546432"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63" name="Rectangle 263"/>
            <p:cNvSpPr>
              <a:spLocks noChangeArrowheads="1"/>
            </p:cNvSpPr>
            <p:nvPr/>
          </p:nvSpPr>
          <p:spPr bwMode="auto">
            <a:xfrm>
              <a:off x="3546432"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64" name="Freeform 264"/>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5" name="Freeform 265"/>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6" name="Rectangle 266"/>
            <p:cNvSpPr>
              <a:spLocks noChangeArrowheads="1"/>
            </p:cNvSpPr>
            <p:nvPr/>
          </p:nvSpPr>
          <p:spPr bwMode="auto">
            <a:xfrm>
              <a:off x="3540291"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67" name="Rectangle 267"/>
            <p:cNvSpPr>
              <a:spLocks noChangeArrowheads="1"/>
            </p:cNvSpPr>
            <p:nvPr/>
          </p:nvSpPr>
          <p:spPr bwMode="auto">
            <a:xfrm>
              <a:off x="3540291"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68" name="Freeform 268"/>
            <p:cNvSpPr/>
            <p:nvPr/>
          </p:nvSpPr>
          <p:spPr bwMode="auto">
            <a:xfrm>
              <a:off x="3509571" y="3352217"/>
              <a:ext cx="12287" cy="30716"/>
            </a:xfrm>
            <a:custGeom>
              <a:avLst/>
              <a:gdLst>
                <a:gd name="T0" fmla="*/ 1 w 4"/>
                <a:gd name="T1" fmla="*/ 6 h 10"/>
                <a:gd name="T2" fmla="*/ 1 w 4"/>
                <a:gd name="T3" fmla="*/ 6 h 10"/>
                <a:gd name="T4" fmla="*/ 0 w 4"/>
                <a:gd name="T5" fmla="*/ 0 h 10"/>
                <a:gd name="T6" fmla="*/ 0 w 4"/>
                <a:gd name="T7" fmla="*/ 0 h 10"/>
                <a:gd name="T8" fmla="*/ 4 w 4"/>
                <a:gd name="T9" fmla="*/ 10 h 10"/>
                <a:gd name="T10" fmla="*/ 4 w 4"/>
                <a:gd name="T11" fmla="*/ 10 h 10"/>
                <a:gd name="T12" fmla="*/ 1 w 4"/>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4" h="10">
                  <a:moveTo>
                    <a:pt x="1" y="6"/>
                  </a:moveTo>
                  <a:lnTo>
                    <a:pt x="1" y="6"/>
                  </a:lnTo>
                  <a:lnTo>
                    <a:pt x="0" y="0"/>
                  </a:lnTo>
                  <a:lnTo>
                    <a:pt x="0" y="0"/>
                  </a:lnTo>
                  <a:lnTo>
                    <a:pt x="4" y="10"/>
                  </a:lnTo>
                  <a:lnTo>
                    <a:pt x="4" y="10"/>
                  </a:lnTo>
                  <a:lnTo>
                    <a:pt x="1"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9" name="Freeform 269"/>
            <p:cNvSpPr/>
            <p:nvPr/>
          </p:nvSpPr>
          <p:spPr bwMode="auto">
            <a:xfrm>
              <a:off x="3509571" y="3352217"/>
              <a:ext cx="12287" cy="30716"/>
            </a:xfrm>
            <a:custGeom>
              <a:avLst/>
              <a:gdLst>
                <a:gd name="T0" fmla="*/ 1 w 4"/>
                <a:gd name="T1" fmla="*/ 6 h 10"/>
                <a:gd name="T2" fmla="*/ 1 w 4"/>
                <a:gd name="T3" fmla="*/ 6 h 10"/>
                <a:gd name="T4" fmla="*/ 0 w 4"/>
                <a:gd name="T5" fmla="*/ 0 h 10"/>
                <a:gd name="T6" fmla="*/ 0 w 4"/>
                <a:gd name="T7" fmla="*/ 0 h 10"/>
                <a:gd name="T8" fmla="*/ 4 w 4"/>
                <a:gd name="T9" fmla="*/ 10 h 10"/>
                <a:gd name="T10" fmla="*/ 4 w 4"/>
                <a:gd name="T11" fmla="*/ 10 h 10"/>
                <a:gd name="T12" fmla="*/ 1 w 4"/>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4" h="10">
                  <a:moveTo>
                    <a:pt x="1" y="6"/>
                  </a:moveTo>
                  <a:lnTo>
                    <a:pt x="1" y="6"/>
                  </a:lnTo>
                  <a:lnTo>
                    <a:pt x="0" y="0"/>
                  </a:lnTo>
                  <a:lnTo>
                    <a:pt x="0" y="0"/>
                  </a:lnTo>
                  <a:lnTo>
                    <a:pt x="4" y="10"/>
                  </a:lnTo>
                  <a:lnTo>
                    <a:pt x="4" y="10"/>
                  </a:lnTo>
                  <a:lnTo>
                    <a:pt x="1"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70" name="Freeform 270"/>
            <p:cNvSpPr/>
            <p:nvPr/>
          </p:nvSpPr>
          <p:spPr bwMode="auto">
            <a:xfrm>
              <a:off x="3761458" y="2897597"/>
              <a:ext cx="24574" cy="24574"/>
            </a:xfrm>
            <a:custGeom>
              <a:avLst/>
              <a:gdLst>
                <a:gd name="T0" fmla="*/ 0 w 7"/>
                <a:gd name="T1" fmla="*/ 8 h 8"/>
                <a:gd name="T2" fmla="*/ 0 w 7"/>
                <a:gd name="T3" fmla="*/ 8 h 8"/>
                <a:gd name="T4" fmla="*/ 2 w 7"/>
                <a:gd name="T5" fmla="*/ 3 h 8"/>
                <a:gd name="T6" fmla="*/ 5 w 7"/>
                <a:gd name="T7" fmla="*/ 0 h 8"/>
                <a:gd name="T8" fmla="*/ 5 w 7"/>
                <a:gd name="T9" fmla="*/ 0 h 8"/>
                <a:gd name="T10" fmla="*/ 7 w 7"/>
                <a:gd name="T11" fmla="*/ 2 h 8"/>
                <a:gd name="T12" fmla="*/ 5 w 7"/>
                <a:gd name="T13" fmla="*/ 5 h 8"/>
                <a:gd name="T14" fmla="*/ 5 w 7"/>
                <a:gd name="T15" fmla="*/ 5 h 8"/>
                <a:gd name="T16" fmla="*/ 4 w 7"/>
                <a:gd name="T17" fmla="*/ 3 h 8"/>
                <a:gd name="T18" fmla="*/ 4 w 7"/>
                <a:gd name="T19" fmla="*/ 3 h 8"/>
                <a:gd name="T20" fmla="*/ 0 w 7"/>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0" y="8"/>
                  </a:moveTo>
                  <a:lnTo>
                    <a:pt x="0" y="8"/>
                  </a:lnTo>
                  <a:lnTo>
                    <a:pt x="2" y="3"/>
                  </a:lnTo>
                  <a:lnTo>
                    <a:pt x="5" y="0"/>
                  </a:lnTo>
                  <a:lnTo>
                    <a:pt x="5" y="0"/>
                  </a:lnTo>
                  <a:lnTo>
                    <a:pt x="7" y="2"/>
                  </a:lnTo>
                  <a:lnTo>
                    <a:pt x="5" y="5"/>
                  </a:lnTo>
                  <a:lnTo>
                    <a:pt x="5" y="5"/>
                  </a:lnTo>
                  <a:lnTo>
                    <a:pt x="4" y="3"/>
                  </a:lnTo>
                  <a:lnTo>
                    <a:pt x="4" y="3"/>
                  </a:lnTo>
                  <a:lnTo>
                    <a:pt x="0"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71" name="Freeform 271"/>
            <p:cNvSpPr/>
            <p:nvPr/>
          </p:nvSpPr>
          <p:spPr bwMode="auto">
            <a:xfrm>
              <a:off x="3761458" y="2897597"/>
              <a:ext cx="24574" cy="24574"/>
            </a:xfrm>
            <a:custGeom>
              <a:avLst/>
              <a:gdLst>
                <a:gd name="T0" fmla="*/ 0 w 7"/>
                <a:gd name="T1" fmla="*/ 8 h 8"/>
                <a:gd name="T2" fmla="*/ 0 w 7"/>
                <a:gd name="T3" fmla="*/ 8 h 8"/>
                <a:gd name="T4" fmla="*/ 2 w 7"/>
                <a:gd name="T5" fmla="*/ 3 h 8"/>
                <a:gd name="T6" fmla="*/ 5 w 7"/>
                <a:gd name="T7" fmla="*/ 0 h 8"/>
                <a:gd name="T8" fmla="*/ 5 w 7"/>
                <a:gd name="T9" fmla="*/ 0 h 8"/>
                <a:gd name="T10" fmla="*/ 7 w 7"/>
                <a:gd name="T11" fmla="*/ 2 h 8"/>
                <a:gd name="T12" fmla="*/ 5 w 7"/>
                <a:gd name="T13" fmla="*/ 5 h 8"/>
                <a:gd name="T14" fmla="*/ 5 w 7"/>
                <a:gd name="T15" fmla="*/ 5 h 8"/>
                <a:gd name="T16" fmla="*/ 4 w 7"/>
                <a:gd name="T17" fmla="*/ 3 h 8"/>
                <a:gd name="T18" fmla="*/ 4 w 7"/>
                <a:gd name="T19" fmla="*/ 3 h 8"/>
                <a:gd name="T20" fmla="*/ 0 w 7"/>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0" y="8"/>
                  </a:moveTo>
                  <a:lnTo>
                    <a:pt x="0" y="8"/>
                  </a:lnTo>
                  <a:lnTo>
                    <a:pt x="2" y="3"/>
                  </a:lnTo>
                  <a:lnTo>
                    <a:pt x="5" y="0"/>
                  </a:lnTo>
                  <a:lnTo>
                    <a:pt x="5" y="0"/>
                  </a:lnTo>
                  <a:lnTo>
                    <a:pt x="7" y="2"/>
                  </a:lnTo>
                  <a:lnTo>
                    <a:pt x="5" y="5"/>
                  </a:lnTo>
                  <a:lnTo>
                    <a:pt x="5" y="5"/>
                  </a:lnTo>
                  <a:lnTo>
                    <a:pt x="4" y="3"/>
                  </a:lnTo>
                  <a:lnTo>
                    <a:pt x="4" y="3"/>
                  </a:lnTo>
                  <a:lnTo>
                    <a:pt x="0"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74" name="Freeform 274"/>
            <p:cNvSpPr/>
            <p:nvPr/>
          </p:nvSpPr>
          <p:spPr bwMode="auto">
            <a:xfrm>
              <a:off x="5622943" y="4396616"/>
              <a:ext cx="18433" cy="30716"/>
            </a:xfrm>
            <a:custGeom>
              <a:avLst/>
              <a:gdLst>
                <a:gd name="T0" fmla="*/ 5 w 6"/>
                <a:gd name="T1" fmla="*/ 0 h 9"/>
                <a:gd name="T2" fmla="*/ 5 w 6"/>
                <a:gd name="T3" fmla="*/ 0 h 9"/>
                <a:gd name="T4" fmla="*/ 6 w 6"/>
                <a:gd name="T5" fmla="*/ 2 h 9"/>
                <a:gd name="T6" fmla="*/ 6 w 6"/>
                <a:gd name="T7" fmla="*/ 5 h 9"/>
                <a:gd name="T8" fmla="*/ 2 w 6"/>
                <a:gd name="T9" fmla="*/ 9 h 9"/>
                <a:gd name="T10" fmla="*/ 2 w 6"/>
                <a:gd name="T11" fmla="*/ 9 h 9"/>
                <a:gd name="T12" fmla="*/ 0 w 6"/>
                <a:gd name="T13" fmla="*/ 6 h 9"/>
                <a:gd name="T14" fmla="*/ 2 w 6"/>
                <a:gd name="T15" fmla="*/ 3 h 9"/>
                <a:gd name="T16" fmla="*/ 5 w 6"/>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9">
                  <a:moveTo>
                    <a:pt x="5" y="0"/>
                  </a:moveTo>
                  <a:lnTo>
                    <a:pt x="5" y="0"/>
                  </a:lnTo>
                  <a:lnTo>
                    <a:pt x="6" y="2"/>
                  </a:lnTo>
                  <a:lnTo>
                    <a:pt x="6" y="5"/>
                  </a:lnTo>
                  <a:lnTo>
                    <a:pt x="2" y="9"/>
                  </a:lnTo>
                  <a:lnTo>
                    <a:pt x="2" y="9"/>
                  </a:lnTo>
                  <a:lnTo>
                    <a:pt x="0" y="6"/>
                  </a:lnTo>
                  <a:lnTo>
                    <a:pt x="2" y="3"/>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77" name="Freeform 277"/>
            <p:cNvSpPr/>
            <p:nvPr/>
          </p:nvSpPr>
          <p:spPr bwMode="auto">
            <a:xfrm>
              <a:off x="1691088" y="3290780"/>
              <a:ext cx="18433" cy="18429"/>
            </a:xfrm>
            <a:custGeom>
              <a:avLst/>
              <a:gdLst>
                <a:gd name="T0" fmla="*/ 1 w 7"/>
                <a:gd name="T1" fmla="*/ 6 h 6"/>
                <a:gd name="T2" fmla="*/ 1 w 7"/>
                <a:gd name="T3" fmla="*/ 6 h 6"/>
                <a:gd name="T4" fmla="*/ 0 w 7"/>
                <a:gd name="T5" fmla="*/ 4 h 6"/>
                <a:gd name="T6" fmla="*/ 1 w 7"/>
                <a:gd name="T7" fmla="*/ 4 h 6"/>
                <a:gd name="T8" fmla="*/ 3 w 7"/>
                <a:gd name="T9" fmla="*/ 1 h 6"/>
                <a:gd name="T10" fmla="*/ 3 w 7"/>
                <a:gd name="T11" fmla="*/ 0 h 6"/>
                <a:gd name="T12" fmla="*/ 3 w 7"/>
                <a:gd name="T13" fmla="*/ 0 h 6"/>
                <a:gd name="T14" fmla="*/ 7 w 7"/>
                <a:gd name="T15" fmla="*/ 0 h 6"/>
                <a:gd name="T16" fmla="*/ 7 w 7"/>
                <a:gd name="T17" fmla="*/ 0 h 6"/>
                <a:gd name="T18" fmla="*/ 6 w 7"/>
                <a:gd name="T19" fmla="*/ 3 h 6"/>
                <a:gd name="T20" fmla="*/ 6 w 7"/>
                <a:gd name="T21" fmla="*/ 6 h 6"/>
                <a:gd name="T22" fmla="*/ 6 w 7"/>
                <a:gd name="T23" fmla="*/ 6 h 6"/>
                <a:gd name="T24" fmla="*/ 3 w 7"/>
                <a:gd name="T25" fmla="*/ 4 h 6"/>
                <a:gd name="T26" fmla="*/ 3 w 7"/>
                <a:gd name="T27" fmla="*/ 4 h 6"/>
                <a:gd name="T28" fmla="*/ 1 w 7"/>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6">
                  <a:moveTo>
                    <a:pt x="1" y="6"/>
                  </a:moveTo>
                  <a:lnTo>
                    <a:pt x="1" y="6"/>
                  </a:lnTo>
                  <a:lnTo>
                    <a:pt x="0" y="4"/>
                  </a:lnTo>
                  <a:lnTo>
                    <a:pt x="1" y="4"/>
                  </a:lnTo>
                  <a:lnTo>
                    <a:pt x="3" y="1"/>
                  </a:lnTo>
                  <a:lnTo>
                    <a:pt x="3" y="0"/>
                  </a:lnTo>
                  <a:lnTo>
                    <a:pt x="3" y="0"/>
                  </a:lnTo>
                  <a:lnTo>
                    <a:pt x="7" y="0"/>
                  </a:lnTo>
                  <a:lnTo>
                    <a:pt x="7" y="0"/>
                  </a:lnTo>
                  <a:lnTo>
                    <a:pt x="6" y="3"/>
                  </a:lnTo>
                  <a:lnTo>
                    <a:pt x="6" y="6"/>
                  </a:lnTo>
                  <a:lnTo>
                    <a:pt x="6" y="6"/>
                  </a:lnTo>
                  <a:lnTo>
                    <a:pt x="3" y="4"/>
                  </a:lnTo>
                  <a:lnTo>
                    <a:pt x="3" y="4"/>
                  </a:lnTo>
                  <a:lnTo>
                    <a:pt x="1"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78" name="Rectangle 278"/>
            <p:cNvSpPr>
              <a:spLocks noChangeArrowheads="1"/>
            </p:cNvSpPr>
            <p:nvPr/>
          </p:nvSpPr>
          <p:spPr bwMode="auto">
            <a:xfrm>
              <a:off x="3546432" y="3456659"/>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79" name="Freeform 279"/>
            <p:cNvSpPr/>
            <p:nvPr/>
          </p:nvSpPr>
          <p:spPr bwMode="auto">
            <a:xfrm>
              <a:off x="3638587" y="3640964"/>
              <a:ext cx="0" cy="12287"/>
            </a:xfrm>
            <a:custGeom>
              <a:avLst/>
              <a:gdLst>
                <a:gd name="T0" fmla="*/ 2 w 2"/>
                <a:gd name="T1" fmla="*/ 1 h 4"/>
                <a:gd name="T2" fmla="*/ 2 w 2"/>
                <a:gd name="T3" fmla="*/ 1 h 4"/>
                <a:gd name="T4" fmla="*/ 2 w 2"/>
                <a:gd name="T5" fmla="*/ 4 h 4"/>
                <a:gd name="T6" fmla="*/ 2 w 2"/>
                <a:gd name="T7" fmla="*/ 4 h 4"/>
                <a:gd name="T8" fmla="*/ 0 w 2"/>
                <a:gd name="T9" fmla="*/ 2 h 4"/>
                <a:gd name="T10" fmla="*/ 0 w 2"/>
                <a:gd name="T11" fmla="*/ 2 h 4"/>
                <a:gd name="T12" fmla="*/ 0 w 2"/>
                <a:gd name="T13" fmla="*/ 1 h 4"/>
                <a:gd name="T14" fmla="*/ 0 w 2"/>
                <a:gd name="T15" fmla="*/ 1 h 4"/>
                <a:gd name="T16" fmla="*/ 0 w 2"/>
                <a:gd name="T17" fmla="*/ 0 h 4"/>
                <a:gd name="T18" fmla="*/ 0 w 2"/>
                <a:gd name="T19" fmla="*/ 0 h 4"/>
                <a:gd name="T20" fmla="*/ 2 w 2"/>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4">
                  <a:moveTo>
                    <a:pt x="2" y="1"/>
                  </a:moveTo>
                  <a:lnTo>
                    <a:pt x="2" y="1"/>
                  </a:lnTo>
                  <a:lnTo>
                    <a:pt x="2" y="4"/>
                  </a:lnTo>
                  <a:lnTo>
                    <a:pt x="2" y="4"/>
                  </a:lnTo>
                  <a:lnTo>
                    <a:pt x="0" y="2"/>
                  </a:lnTo>
                  <a:lnTo>
                    <a:pt x="0" y="2"/>
                  </a:lnTo>
                  <a:lnTo>
                    <a:pt x="0" y="1"/>
                  </a:lnTo>
                  <a:lnTo>
                    <a:pt x="0" y="1"/>
                  </a:lnTo>
                  <a:lnTo>
                    <a:pt x="0" y="0"/>
                  </a:lnTo>
                  <a:lnTo>
                    <a:pt x="0" y="0"/>
                  </a:lnTo>
                  <a:lnTo>
                    <a:pt x="2"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0" name="Freeform 280"/>
            <p:cNvSpPr/>
            <p:nvPr/>
          </p:nvSpPr>
          <p:spPr bwMode="auto">
            <a:xfrm>
              <a:off x="3939618" y="3026611"/>
              <a:ext cx="18433" cy="18429"/>
            </a:xfrm>
            <a:custGeom>
              <a:avLst/>
              <a:gdLst>
                <a:gd name="T0" fmla="*/ 0 w 7"/>
                <a:gd name="T1" fmla="*/ 4 h 7"/>
                <a:gd name="T2" fmla="*/ 0 w 7"/>
                <a:gd name="T3" fmla="*/ 4 h 7"/>
                <a:gd name="T4" fmla="*/ 2 w 7"/>
                <a:gd name="T5" fmla="*/ 3 h 7"/>
                <a:gd name="T6" fmla="*/ 5 w 7"/>
                <a:gd name="T7" fmla="*/ 0 h 7"/>
                <a:gd name="T8" fmla="*/ 5 w 7"/>
                <a:gd name="T9" fmla="*/ 0 h 7"/>
                <a:gd name="T10" fmla="*/ 5 w 7"/>
                <a:gd name="T11" fmla="*/ 0 h 7"/>
                <a:gd name="T12" fmla="*/ 5 w 7"/>
                <a:gd name="T13" fmla="*/ 1 h 7"/>
                <a:gd name="T14" fmla="*/ 5 w 7"/>
                <a:gd name="T15" fmla="*/ 3 h 7"/>
                <a:gd name="T16" fmla="*/ 7 w 7"/>
                <a:gd name="T17" fmla="*/ 3 h 7"/>
                <a:gd name="T18" fmla="*/ 7 w 7"/>
                <a:gd name="T19" fmla="*/ 3 h 7"/>
                <a:gd name="T20" fmla="*/ 5 w 7"/>
                <a:gd name="T21" fmla="*/ 4 h 7"/>
                <a:gd name="T22" fmla="*/ 4 w 7"/>
                <a:gd name="T23" fmla="*/ 3 h 7"/>
                <a:gd name="T24" fmla="*/ 4 w 7"/>
                <a:gd name="T25" fmla="*/ 3 h 7"/>
                <a:gd name="T26" fmla="*/ 2 w 7"/>
                <a:gd name="T27" fmla="*/ 5 h 7"/>
                <a:gd name="T28" fmla="*/ 2 w 7"/>
                <a:gd name="T29" fmla="*/ 5 h 7"/>
                <a:gd name="T30" fmla="*/ 1 w 7"/>
                <a:gd name="T31" fmla="*/ 7 h 7"/>
                <a:gd name="T32" fmla="*/ 0 w 7"/>
                <a:gd name="T33" fmla="*/ 7 h 7"/>
                <a:gd name="T34" fmla="*/ 0 w 7"/>
                <a:gd name="T3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7">
                  <a:moveTo>
                    <a:pt x="0" y="4"/>
                  </a:moveTo>
                  <a:lnTo>
                    <a:pt x="0" y="4"/>
                  </a:lnTo>
                  <a:lnTo>
                    <a:pt x="2" y="3"/>
                  </a:lnTo>
                  <a:lnTo>
                    <a:pt x="5" y="0"/>
                  </a:lnTo>
                  <a:lnTo>
                    <a:pt x="5" y="0"/>
                  </a:lnTo>
                  <a:lnTo>
                    <a:pt x="5" y="0"/>
                  </a:lnTo>
                  <a:lnTo>
                    <a:pt x="5" y="1"/>
                  </a:lnTo>
                  <a:lnTo>
                    <a:pt x="5" y="3"/>
                  </a:lnTo>
                  <a:lnTo>
                    <a:pt x="7" y="3"/>
                  </a:lnTo>
                  <a:lnTo>
                    <a:pt x="7" y="3"/>
                  </a:lnTo>
                  <a:lnTo>
                    <a:pt x="5" y="4"/>
                  </a:lnTo>
                  <a:lnTo>
                    <a:pt x="4" y="3"/>
                  </a:lnTo>
                  <a:lnTo>
                    <a:pt x="4" y="3"/>
                  </a:lnTo>
                  <a:lnTo>
                    <a:pt x="2" y="5"/>
                  </a:lnTo>
                  <a:lnTo>
                    <a:pt x="2" y="5"/>
                  </a:lnTo>
                  <a:lnTo>
                    <a:pt x="1" y="7"/>
                  </a:lnTo>
                  <a:lnTo>
                    <a:pt x="0" y="7"/>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1" name="Freeform 281"/>
            <p:cNvSpPr/>
            <p:nvPr/>
          </p:nvSpPr>
          <p:spPr bwMode="auto">
            <a:xfrm>
              <a:off x="4099351" y="2971318"/>
              <a:ext cx="24574" cy="6142"/>
            </a:xfrm>
            <a:custGeom>
              <a:avLst/>
              <a:gdLst>
                <a:gd name="T0" fmla="*/ 3 w 7"/>
                <a:gd name="T1" fmla="*/ 2 h 3"/>
                <a:gd name="T2" fmla="*/ 3 w 7"/>
                <a:gd name="T3" fmla="*/ 2 h 3"/>
                <a:gd name="T4" fmla="*/ 6 w 7"/>
                <a:gd name="T5" fmla="*/ 0 h 3"/>
                <a:gd name="T6" fmla="*/ 7 w 7"/>
                <a:gd name="T7" fmla="*/ 2 h 3"/>
                <a:gd name="T8" fmla="*/ 7 w 7"/>
                <a:gd name="T9" fmla="*/ 2 h 3"/>
                <a:gd name="T10" fmla="*/ 3 w 7"/>
                <a:gd name="T11" fmla="*/ 3 h 3"/>
                <a:gd name="T12" fmla="*/ 0 w 7"/>
                <a:gd name="T13" fmla="*/ 3 h 3"/>
                <a:gd name="T14" fmla="*/ 0 w 7"/>
                <a:gd name="T15" fmla="*/ 3 h 3"/>
                <a:gd name="T16" fmla="*/ 3 w 7"/>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3" y="2"/>
                  </a:moveTo>
                  <a:lnTo>
                    <a:pt x="3" y="2"/>
                  </a:lnTo>
                  <a:lnTo>
                    <a:pt x="6" y="0"/>
                  </a:lnTo>
                  <a:lnTo>
                    <a:pt x="7" y="2"/>
                  </a:lnTo>
                  <a:lnTo>
                    <a:pt x="7" y="2"/>
                  </a:lnTo>
                  <a:lnTo>
                    <a:pt x="3" y="3"/>
                  </a:lnTo>
                  <a:lnTo>
                    <a:pt x="0" y="3"/>
                  </a:lnTo>
                  <a:lnTo>
                    <a:pt x="0" y="3"/>
                  </a:lnTo>
                  <a:lnTo>
                    <a:pt x="3"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2" name="Freeform 282"/>
            <p:cNvSpPr/>
            <p:nvPr/>
          </p:nvSpPr>
          <p:spPr bwMode="auto">
            <a:xfrm>
              <a:off x="4289801" y="2965177"/>
              <a:ext cx="18433" cy="18429"/>
            </a:xfrm>
            <a:custGeom>
              <a:avLst/>
              <a:gdLst>
                <a:gd name="T0" fmla="*/ 0 w 7"/>
                <a:gd name="T1" fmla="*/ 0 h 5"/>
                <a:gd name="T2" fmla="*/ 0 w 7"/>
                <a:gd name="T3" fmla="*/ 0 h 5"/>
                <a:gd name="T4" fmla="*/ 3 w 7"/>
                <a:gd name="T5" fmla="*/ 0 h 5"/>
                <a:gd name="T6" fmla="*/ 5 w 7"/>
                <a:gd name="T7" fmla="*/ 0 h 5"/>
                <a:gd name="T8" fmla="*/ 7 w 7"/>
                <a:gd name="T9" fmla="*/ 3 h 5"/>
                <a:gd name="T10" fmla="*/ 4 w 7"/>
                <a:gd name="T11" fmla="*/ 5 h 5"/>
                <a:gd name="T12" fmla="*/ 4 w 7"/>
                <a:gd name="T13" fmla="*/ 5 h 5"/>
                <a:gd name="T14" fmla="*/ 3 w 7"/>
                <a:gd name="T15" fmla="*/ 3 h 5"/>
                <a:gd name="T16" fmla="*/ 0 w 7"/>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0" y="0"/>
                  </a:moveTo>
                  <a:lnTo>
                    <a:pt x="0" y="0"/>
                  </a:lnTo>
                  <a:lnTo>
                    <a:pt x="3" y="0"/>
                  </a:lnTo>
                  <a:lnTo>
                    <a:pt x="5" y="0"/>
                  </a:lnTo>
                  <a:lnTo>
                    <a:pt x="7" y="3"/>
                  </a:lnTo>
                  <a:lnTo>
                    <a:pt x="4" y="5"/>
                  </a:lnTo>
                  <a:lnTo>
                    <a:pt x="4" y="5"/>
                  </a:lnTo>
                  <a:lnTo>
                    <a:pt x="3"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3" name="Freeform 283"/>
            <p:cNvSpPr/>
            <p:nvPr/>
          </p:nvSpPr>
          <p:spPr bwMode="auto">
            <a:xfrm>
              <a:off x="3945763" y="3339930"/>
              <a:ext cx="12287" cy="18429"/>
            </a:xfrm>
            <a:custGeom>
              <a:avLst/>
              <a:gdLst>
                <a:gd name="T0" fmla="*/ 0 w 4"/>
                <a:gd name="T1" fmla="*/ 0 h 5"/>
                <a:gd name="T2" fmla="*/ 0 w 4"/>
                <a:gd name="T3" fmla="*/ 0 h 5"/>
                <a:gd name="T4" fmla="*/ 0 w 4"/>
                <a:gd name="T5" fmla="*/ 0 h 5"/>
                <a:gd name="T6" fmla="*/ 1 w 4"/>
                <a:gd name="T7" fmla="*/ 0 h 5"/>
                <a:gd name="T8" fmla="*/ 3 w 4"/>
                <a:gd name="T9" fmla="*/ 1 h 5"/>
                <a:gd name="T10" fmla="*/ 3 w 4"/>
                <a:gd name="T11" fmla="*/ 1 h 5"/>
                <a:gd name="T12" fmla="*/ 4 w 4"/>
                <a:gd name="T13" fmla="*/ 2 h 5"/>
                <a:gd name="T14" fmla="*/ 4 w 4"/>
                <a:gd name="T15" fmla="*/ 2 h 5"/>
                <a:gd name="T16" fmla="*/ 4 w 4"/>
                <a:gd name="T17" fmla="*/ 4 h 5"/>
                <a:gd name="T18" fmla="*/ 4 w 4"/>
                <a:gd name="T19" fmla="*/ 4 h 5"/>
                <a:gd name="T20" fmla="*/ 4 w 4"/>
                <a:gd name="T21" fmla="*/ 4 h 5"/>
                <a:gd name="T22" fmla="*/ 4 w 4"/>
                <a:gd name="T23" fmla="*/ 4 h 5"/>
                <a:gd name="T24" fmla="*/ 1 w 4"/>
                <a:gd name="T25" fmla="*/ 5 h 5"/>
                <a:gd name="T26" fmla="*/ 1 w 4"/>
                <a:gd name="T27" fmla="*/ 5 h 5"/>
                <a:gd name="T28" fmla="*/ 1 w 4"/>
                <a:gd name="T29" fmla="*/ 5 h 5"/>
                <a:gd name="T30" fmla="*/ 1 w 4"/>
                <a:gd name="T31" fmla="*/ 5 h 5"/>
                <a:gd name="T32" fmla="*/ 1 w 4"/>
                <a:gd name="T33" fmla="*/ 4 h 5"/>
                <a:gd name="T34" fmla="*/ 1 w 4"/>
                <a:gd name="T35" fmla="*/ 4 h 5"/>
                <a:gd name="T36" fmla="*/ 1 w 4"/>
                <a:gd name="T37" fmla="*/ 4 h 5"/>
                <a:gd name="T38" fmla="*/ 1 w 4"/>
                <a:gd name="T39" fmla="*/ 2 h 5"/>
                <a:gd name="T40" fmla="*/ 1 w 4"/>
                <a:gd name="T41" fmla="*/ 2 h 5"/>
                <a:gd name="T42" fmla="*/ 0 w 4"/>
                <a:gd name="T43" fmla="*/ 1 h 5"/>
                <a:gd name="T44" fmla="*/ 0 w 4"/>
                <a:gd name="T4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 h="5">
                  <a:moveTo>
                    <a:pt x="0" y="0"/>
                  </a:moveTo>
                  <a:lnTo>
                    <a:pt x="0" y="0"/>
                  </a:lnTo>
                  <a:lnTo>
                    <a:pt x="0" y="0"/>
                  </a:lnTo>
                  <a:lnTo>
                    <a:pt x="1" y="0"/>
                  </a:lnTo>
                  <a:lnTo>
                    <a:pt x="3" y="1"/>
                  </a:lnTo>
                  <a:lnTo>
                    <a:pt x="3" y="1"/>
                  </a:lnTo>
                  <a:lnTo>
                    <a:pt x="4" y="2"/>
                  </a:lnTo>
                  <a:lnTo>
                    <a:pt x="4" y="2"/>
                  </a:lnTo>
                  <a:lnTo>
                    <a:pt x="4" y="4"/>
                  </a:lnTo>
                  <a:lnTo>
                    <a:pt x="4" y="4"/>
                  </a:lnTo>
                  <a:lnTo>
                    <a:pt x="4" y="4"/>
                  </a:lnTo>
                  <a:lnTo>
                    <a:pt x="4" y="4"/>
                  </a:lnTo>
                  <a:lnTo>
                    <a:pt x="1" y="5"/>
                  </a:lnTo>
                  <a:lnTo>
                    <a:pt x="1" y="5"/>
                  </a:lnTo>
                  <a:lnTo>
                    <a:pt x="1" y="5"/>
                  </a:lnTo>
                  <a:lnTo>
                    <a:pt x="1" y="5"/>
                  </a:lnTo>
                  <a:lnTo>
                    <a:pt x="1" y="4"/>
                  </a:lnTo>
                  <a:lnTo>
                    <a:pt x="1" y="4"/>
                  </a:lnTo>
                  <a:lnTo>
                    <a:pt x="1" y="4"/>
                  </a:lnTo>
                  <a:lnTo>
                    <a:pt x="1" y="2"/>
                  </a:lnTo>
                  <a:lnTo>
                    <a:pt x="1" y="2"/>
                  </a:lnTo>
                  <a:lnTo>
                    <a:pt x="0"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4" name="Freeform 284"/>
            <p:cNvSpPr/>
            <p:nvPr/>
          </p:nvSpPr>
          <p:spPr bwMode="auto">
            <a:xfrm>
              <a:off x="3927331" y="3364504"/>
              <a:ext cx="18433" cy="6142"/>
            </a:xfrm>
            <a:custGeom>
              <a:avLst/>
              <a:gdLst>
                <a:gd name="T0" fmla="*/ 0 w 7"/>
                <a:gd name="T1" fmla="*/ 0 h 3"/>
                <a:gd name="T2" fmla="*/ 0 w 7"/>
                <a:gd name="T3" fmla="*/ 0 h 3"/>
                <a:gd name="T4" fmla="*/ 3 w 7"/>
                <a:gd name="T5" fmla="*/ 0 h 3"/>
                <a:gd name="T6" fmla="*/ 5 w 7"/>
                <a:gd name="T7" fmla="*/ 0 h 3"/>
                <a:gd name="T8" fmla="*/ 5 w 7"/>
                <a:gd name="T9" fmla="*/ 0 h 3"/>
                <a:gd name="T10" fmla="*/ 7 w 7"/>
                <a:gd name="T11" fmla="*/ 1 h 3"/>
                <a:gd name="T12" fmla="*/ 6 w 7"/>
                <a:gd name="T13" fmla="*/ 1 h 3"/>
                <a:gd name="T14" fmla="*/ 3 w 7"/>
                <a:gd name="T15" fmla="*/ 3 h 3"/>
                <a:gd name="T16" fmla="*/ 3 w 7"/>
                <a:gd name="T17" fmla="*/ 3 h 3"/>
                <a:gd name="T18" fmla="*/ 3 w 7"/>
                <a:gd name="T19" fmla="*/ 1 h 3"/>
                <a:gd name="T20" fmla="*/ 3 w 7"/>
                <a:gd name="T21" fmla="*/ 1 h 3"/>
                <a:gd name="T22" fmla="*/ 0 w 7"/>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3">
                  <a:moveTo>
                    <a:pt x="0" y="0"/>
                  </a:moveTo>
                  <a:lnTo>
                    <a:pt x="0" y="0"/>
                  </a:lnTo>
                  <a:lnTo>
                    <a:pt x="3" y="0"/>
                  </a:lnTo>
                  <a:lnTo>
                    <a:pt x="5" y="0"/>
                  </a:lnTo>
                  <a:lnTo>
                    <a:pt x="5" y="0"/>
                  </a:lnTo>
                  <a:lnTo>
                    <a:pt x="7" y="1"/>
                  </a:lnTo>
                  <a:lnTo>
                    <a:pt x="6" y="1"/>
                  </a:lnTo>
                  <a:lnTo>
                    <a:pt x="3" y="3"/>
                  </a:lnTo>
                  <a:lnTo>
                    <a:pt x="3" y="3"/>
                  </a:lnTo>
                  <a:lnTo>
                    <a:pt x="3" y="1"/>
                  </a:lnTo>
                  <a:lnTo>
                    <a:pt x="3"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5" name="Freeform 285"/>
            <p:cNvSpPr/>
            <p:nvPr/>
          </p:nvSpPr>
          <p:spPr bwMode="auto">
            <a:xfrm>
              <a:off x="5475499" y="3948141"/>
              <a:ext cx="18433" cy="36861"/>
            </a:xfrm>
            <a:custGeom>
              <a:avLst/>
              <a:gdLst>
                <a:gd name="T0" fmla="*/ 5 w 6"/>
                <a:gd name="T1" fmla="*/ 0 h 13"/>
                <a:gd name="T2" fmla="*/ 5 w 6"/>
                <a:gd name="T3" fmla="*/ 0 h 13"/>
                <a:gd name="T4" fmla="*/ 5 w 6"/>
                <a:gd name="T5" fmla="*/ 2 h 13"/>
                <a:gd name="T6" fmla="*/ 6 w 6"/>
                <a:gd name="T7" fmla="*/ 3 h 13"/>
                <a:gd name="T8" fmla="*/ 6 w 6"/>
                <a:gd name="T9" fmla="*/ 8 h 13"/>
                <a:gd name="T10" fmla="*/ 6 w 6"/>
                <a:gd name="T11" fmla="*/ 8 h 13"/>
                <a:gd name="T12" fmla="*/ 5 w 6"/>
                <a:gd name="T13" fmla="*/ 12 h 13"/>
                <a:gd name="T14" fmla="*/ 2 w 6"/>
                <a:gd name="T15" fmla="*/ 13 h 13"/>
                <a:gd name="T16" fmla="*/ 2 w 6"/>
                <a:gd name="T17" fmla="*/ 13 h 13"/>
                <a:gd name="T18" fmla="*/ 0 w 6"/>
                <a:gd name="T19" fmla="*/ 12 h 13"/>
                <a:gd name="T20" fmla="*/ 0 w 6"/>
                <a:gd name="T21" fmla="*/ 10 h 13"/>
                <a:gd name="T22" fmla="*/ 0 w 6"/>
                <a:gd name="T23" fmla="*/ 8 h 13"/>
                <a:gd name="T24" fmla="*/ 0 w 6"/>
                <a:gd name="T25" fmla="*/ 8 h 13"/>
                <a:gd name="T26" fmla="*/ 5 w 6"/>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3">
                  <a:moveTo>
                    <a:pt x="5" y="0"/>
                  </a:moveTo>
                  <a:lnTo>
                    <a:pt x="5" y="0"/>
                  </a:lnTo>
                  <a:lnTo>
                    <a:pt x="5" y="2"/>
                  </a:lnTo>
                  <a:lnTo>
                    <a:pt x="6" y="3"/>
                  </a:lnTo>
                  <a:lnTo>
                    <a:pt x="6" y="8"/>
                  </a:lnTo>
                  <a:lnTo>
                    <a:pt x="6" y="8"/>
                  </a:lnTo>
                  <a:lnTo>
                    <a:pt x="5" y="12"/>
                  </a:lnTo>
                  <a:lnTo>
                    <a:pt x="2" y="13"/>
                  </a:lnTo>
                  <a:lnTo>
                    <a:pt x="2" y="13"/>
                  </a:lnTo>
                  <a:lnTo>
                    <a:pt x="0" y="12"/>
                  </a:lnTo>
                  <a:lnTo>
                    <a:pt x="0" y="10"/>
                  </a:lnTo>
                  <a:lnTo>
                    <a:pt x="0" y="8"/>
                  </a:lnTo>
                  <a:lnTo>
                    <a:pt x="0" y="8"/>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6" name="Freeform 286"/>
            <p:cNvSpPr/>
            <p:nvPr/>
          </p:nvSpPr>
          <p:spPr bwMode="auto">
            <a:xfrm>
              <a:off x="4590832" y="3843699"/>
              <a:ext cx="18433" cy="18429"/>
            </a:xfrm>
            <a:custGeom>
              <a:avLst/>
              <a:gdLst>
                <a:gd name="T0" fmla="*/ 3 w 6"/>
                <a:gd name="T1" fmla="*/ 0 h 5"/>
                <a:gd name="T2" fmla="*/ 3 w 6"/>
                <a:gd name="T3" fmla="*/ 0 h 5"/>
                <a:gd name="T4" fmla="*/ 6 w 6"/>
                <a:gd name="T5" fmla="*/ 1 h 5"/>
                <a:gd name="T6" fmla="*/ 4 w 6"/>
                <a:gd name="T7" fmla="*/ 3 h 5"/>
                <a:gd name="T8" fmla="*/ 2 w 6"/>
                <a:gd name="T9" fmla="*/ 5 h 5"/>
                <a:gd name="T10" fmla="*/ 2 w 6"/>
                <a:gd name="T11" fmla="*/ 5 h 5"/>
                <a:gd name="T12" fmla="*/ 0 w 6"/>
                <a:gd name="T13" fmla="*/ 4 h 5"/>
                <a:gd name="T14" fmla="*/ 0 w 6"/>
                <a:gd name="T15" fmla="*/ 3 h 5"/>
                <a:gd name="T16" fmla="*/ 0 w 6"/>
                <a:gd name="T17" fmla="*/ 1 h 5"/>
                <a:gd name="T18" fmla="*/ 3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3" y="0"/>
                  </a:moveTo>
                  <a:lnTo>
                    <a:pt x="3" y="0"/>
                  </a:lnTo>
                  <a:lnTo>
                    <a:pt x="6" y="1"/>
                  </a:lnTo>
                  <a:lnTo>
                    <a:pt x="4" y="3"/>
                  </a:lnTo>
                  <a:lnTo>
                    <a:pt x="2" y="5"/>
                  </a:lnTo>
                  <a:lnTo>
                    <a:pt x="2" y="5"/>
                  </a:lnTo>
                  <a:lnTo>
                    <a:pt x="0" y="4"/>
                  </a:lnTo>
                  <a:lnTo>
                    <a:pt x="0" y="3"/>
                  </a:lnTo>
                  <a:lnTo>
                    <a:pt x="0" y="1"/>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7" name="Freeform 287"/>
            <p:cNvSpPr/>
            <p:nvPr/>
          </p:nvSpPr>
          <p:spPr bwMode="auto">
            <a:xfrm>
              <a:off x="3822893" y="4015719"/>
              <a:ext cx="688076" cy="645068"/>
            </a:xfrm>
            <a:custGeom>
              <a:avLst/>
              <a:gdLst>
                <a:gd name="T0" fmla="*/ 207 w 225"/>
                <a:gd name="T1" fmla="*/ 35 h 210"/>
                <a:gd name="T2" fmla="*/ 200 w 225"/>
                <a:gd name="T3" fmla="*/ 57 h 210"/>
                <a:gd name="T4" fmla="*/ 177 w 225"/>
                <a:gd name="T5" fmla="*/ 87 h 210"/>
                <a:gd name="T6" fmla="*/ 161 w 225"/>
                <a:gd name="T7" fmla="*/ 100 h 210"/>
                <a:gd name="T8" fmla="*/ 150 w 225"/>
                <a:gd name="T9" fmla="*/ 100 h 210"/>
                <a:gd name="T10" fmla="*/ 148 w 225"/>
                <a:gd name="T11" fmla="*/ 90 h 210"/>
                <a:gd name="T12" fmla="*/ 156 w 225"/>
                <a:gd name="T13" fmla="*/ 87 h 210"/>
                <a:gd name="T14" fmla="*/ 150 w 225"/>
                <a:gd name="T15" fmla="*/ 86 h 210"/>
                <a:gd name="T16" fmla="*/ 146 w 225"/>
                <a:gd name="T17" fmla="*/ 100 h 210"/>
                <a:gd name="T18" fmla="*/ 150 w 225"/>
                <a:gd name="T19" fmla="*/ 115 h 210"/>
                <a:gd name="T20" fmla="*/ 143 w 225"/>
                <a:gd name="T21" fmla="*/ 127 h 210"/>
                <a:gd name="T22" fmla="*/ 131 w 225"/>
                <a:gd name="T23" fmla="*/ 136 h 210"/>
                <a:gd name="T24" fmla="*/ 130 w 225"/>
                <a:gd name="T25" fmla="*/ 142 h 210"/>
                <a:gd name="T26" fmla="*/ 107 w 225"/>
                <a:gd name="T27" fmla="*/ 153 h 210"/>
                <a:gd name="T28" fmla="*/ 91 w 225"/>
                <a:gd name="T29" fmla="*/ 166 h 210"/>
                <a:gd name="T30" fmla="*/ 64 w 225"/>
                <a:gd name="T31" fmla="*/ 179 h 210"/>
                <a:gd name="T32" fmla="*/ 60 w 225"/>
                <a:gd name="T33" fmla="*/ 190 h 210"/>
                <a:gd name="T34" fmla="*/ 53 w 225"/>
                <a:gd name="T35" fmla="*/ 196 h 210"/>
                <a:gd name="T36" fmla="*/ 34 w 225"/>
                <a:gd name="T37" fmla="*/ 207 h 210"/>
                <a:gd name="T38" fmla="*/ 20 w 225"/>
                <a:gd name="T39" fmla="*/ 199 h 210"/>
                <a:gd name="T40" fmla="*/ 7 w 225"/>
                <a:gd name="T41" fmla="*/ 207 h 210"/>
                <a:gd name="T42" fmla="*/ 4 w 225"/>
                <a:gd name="T43" fmla="*/ 197 h 210"/>
                <a:gd name="T44" fmla="*/ 11 w 225"/>
                <a:gd name="T45" fmla="*/ 193 h 210"/>
                <a:gd name="T46" fmla="*/ 10 w 225"/>
                <a:gd name="T47" fmla="*/ 183 h 210"/>
                <a:gd name="T48" fmla="*/ 31 w 225"/>
                <a:gd name="T49" fmla="*/ 174 h 210"/>
                <a:gd name="T50" fmla="*/ 34 w 225"/>
                <a:gd name="T51" fmla="*/ 173 h 210"/>
                <a:gd name="T52" fmla="*/ 33 w 225"/>
                <a:gd name="T53" fmla="*/ 169 h 210"/>
                <a:gd name="T54" fmla="*/ 33 w 225"/>
                <a:gd name="T55" fmla="*/ 169 h 210"/>
                <a:gd name="T56" fmla="*/ 31 w 225"/>
                <a:gd name="T57" fmla="*/ 164 h 210"/>
                <a:gd name="T58" fmla="*/ 31 w 225"/>
                <a:gd name="T59" fmla="*/ 164 h 210"/>
                <a:gd name="T60" fmla="*/ 43 w 225"/>
                <a:gd name="T61" fmla="*/ 154 h 210"/>
                <a:gd name="T62" fmla="*/ 47 w 225"/>
                <a:gd name="T63" fmla="*/ 160 h 210"/>
                <a:gd name="T64" fmla="*/ 53 w 225"/>
                <a:gd name="T65" fmla="*/ 149 h 210"/>
                <a:gd name="T66" fmla="*/ 56 w 225"/>
                <a:gd name="T67" fmla="*/ 154 h 210"/>
                <a:gd name="T68" fmla="*/ 66 w 225"/>
                <a:gd name="T69" fmla="*/ 146 h 210"/>
                <a:gd name="T70" fmla="*/ 90 w 225"/>
                <a:gd name="T71" fmla="*/ 134 h 210"/>
                <a:gd name="T72" fmla="*/ 96 w 225"/>
                <a:gd name="T73" fmla="*/ 126 h 210"/>
                <a:gd name="T74" fmla="*/ 106 w 225"/>
                <a:gd name="T75" fmla="*/ 117 h 210"/>
                <a:gd name="T76" fmla="*/ 108 w 225"/>
                <a:gd name="T77" fmla="*/ 113 h 210"/>
                <a:gd name="T78" fmla="*/ 113 w 225"/>
                <a:gd name="T79" fmla="*/ 116 h 210"/>
                <a:gd name="T80" fmla="*/ 117 w 225"/>
                <a:gd name="T81" fmla="*/ 106 h 210"/>
                <a:gd name="T82" fmla="*/ 120 w 225"/>
                <a:gd name="T83" fmla="*/ 107 h 210"/>
                <a:gd name="T84" fmla="*/ 130 w 225"/>
                <a:gd name="T85" fmla="*/ 109 h 210"/>
                <a:gd name="T86" fmla="*/ 131 w 225"/>
                <a:gd name="T87" fmla="*/ 97 h 210"/>
                <a:gd name="T88" fmla="*/ 136 w 225"/>
                <a:gd name="T89" fmla="*/ 109 h 210"/>
                <a:gd name="T90" fmla="*/ 140 w 225"/>
                <a:gd name="T91" fmla="*/ 102 h 210"/>
                <a:gd name="T92" fmla="*/ 140 w 225"/>
                <a:gd name="T93" fmla="*/ 90 h 210"/>
                <a:gd name="T94" fmla="*/ 140 w 225"/>
                <a:gd name="T95" fmla="*/ 80 h 210"/>
                <a:gd name="T96" fmla="*/ 160 w 225"/>
                <a:gd name="T97" fmla="*/ 65 h 210"/>
                <a:gd name="T98" fmla="*/ 163 w 225"/>
                <a:gd name="T99" fmla="*/ 70 h 210"/>
                <a:gd name="T100" fmla="*/ 160 w 225"/>
                <a:gd name="T101" fmla="*/ 77 h 210"/>
                <a:gd name="T102" fmla="*/ 174 w 225"/>
                <a:gd name="T103" fmla="*/ 76 h 210"/>
                <a:gd name="T104" fmla="*/ 174 w 225"/>
                <a:gd name="T105" fmla="*/ 63 h 210"/>
                <a:gd name="T106" fmla="*/ 177 w 225"/>
                <a:gd name="T107" fmla="*/ 60 h 210"/>
                <a:gd name="T108" fmla="*/ 178 w 225"/>
                <a:gd name="T109" fmla="*/ 57 h 210"/>
                <a:gd name="T110" fmla="*/ 178 w 225"/>
                <a:gd name="T111" fmla="*/ 50 h 210"/>
                <a:gd name="T112" fmla="*/ 191 w 225"/>
                <a:gd name="T113" fmla="*/ 42 h 210"/>
                <a:gd name="T114" fmla="*/ 217 w 225"/>
                <a:gd name="T115" fmla="*/ 10 h 210"/>
                <a:gd name="T116" fmla="*/ 225 w 225"/>
                <a:gd name="T117" fmla="*/ 7 h 210"/>
                <a:gd name="T118" fmla="*/ 213 w 225"/>
                <a:gd name="T119" fmla="*/ 3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 h="210">
                  <a:moveTo>
                    <a:pt x="210" y="42"/>
                  </a:moveTo>
                  <a:lnTo>
                    <a:pt x="210" y="42"/>
                  </a:lnTo>
                  <a:lnTo>
                    <a:pt x="207" y="39"/>
                  </a:lnTo>
                  <a:lnTo>
                    <a:pt x="208" y="37"/>
                  </a:lnTo>
                  <a:lnTo>
                    <a:pt x="208" y="36"/>
                  </a:lnTo>
                  <a:lnTo>
                    <a:pt x="208" y="35"/>
                  </a:lnTo>
                  <a:lnTo>
                    <a:pt x="208" y="35"/>
                  </a:lnTo>
                  <a:lnTo>
                    <a:pt x="207" y="35"/>
                  </a:lnTo>
                  <a:lnTo>
                    <a:pt x="207" y="35"/>
                  </a:lnTo>
                  <a:lnTo>
                    <a:pt x="207" y="36"/>
                  </a:lnTo>
                  <a:lnTo>
                    <a:pt x="204" y="37"/>
                  </a:lnTo>
                  <a:lnTo>
                    <a:pt x="204" y="37"/>
                  </a:lnTo>
                  <a:lnTo>
                    <a:pt x="207" y="43"/>
                  </a:lnTo>
                  <a:lnTo>
                    <a:pt x="205" y="49"/>
                  </a:lnTo>
                  <a:lnTo>
                    <a:pt x="204" y="53"/>
                  </a:lnTo>
                  <a:lnTo>
                    <a:pt x="200" y="57"/>
                  </a:lnTo>
                  <a:lnTo>
                    <a:pt x="200" y="57"/>
                  </a:lnTo>
                  <a:lnTo>
                    <a:pt x="193" y="65"/>
                  </a:lnTo>
                  <a:lnTo>
                    <a:pt x="193" y="65"/>
                  </a:lnTo>
                  <a:lnTo>
                    <a:pt x="184" y="72"/>
                  </a:lnTo>
                  <a:lnTo>
                    <a:pt x="184" y="72"/>
                  </a:lnTo>
                  <a:lnTo>
                    <a:pt x="180" y="79"/>
                  </a:lnTo>
                  <a:lnTo>
                    <a:pt x="177" y="87"/>
                  </a:lnTo>
                  <a:lnTo>
                    <a:pt x="177" y="87"/>
                  </a:lnTo>
                  <a:lnTo>
                    <a:pt x="174" y="93"/>
                  </a:lnTo>
                  <a:lnTo>
                    <a:pt x="170" y="97"/>
                  </a:lnTo>
                  <a:lnTo>
                    <a:pt x="170" y="97"/>
                  </a:lnTo>
                  <a:lnTo>
                    <a:pt x="167" y="97"/>
                  </a:lnTo>
                  <a:lnTo>
                    <a:pt x="164" y="96"/>
                  </a:lnTo>
                  <a:lnTo>
                    <a:pt x="164" y="96"/>
                  </a:lnTo>
                  <a:lnTo>
                    <a:pt x="164" y="99"/>
                  </a:lnTo>
                  <a:lnTo>
                    <a:pt x="161" y="100"/>
                  </a:lnTo>
                  <a:lnTo>
                    <a:pt x="161" y="100"/>
                  </a:lnTo>
                  <a:lnTo>
                    <a:pt x="158" y="102"/>
                  </a:lnTo>
                  <a:lnTo>
                    <a:pt x="157" y="103"/>
                  </a:lnTo>
                  <a:lnTo>
                    <a:pt x="157" y="103"/>
                  </a:lnTo>
                  <a:lnTo>
                    <a:pt x="154" y="100"/>
                  </a:lnTo>
                  <a:lnTo>
                    <a:pt x="151" y="103"/>
                  </a:lnTo>
                  <a:lnTo>
                    <a:pt x="151" y="103"/>
                  </a:lnTo>
                  <a:lnTo>
                    <a:pt x="150" y="100"/>
                  </a:lnTo>
                  <a:lnTo>
                    <a:pt x="147" y="97"/>
                  </a:lnTo>
                  <a:lnTo>
                    <a:pt x="147" y="97"/>
                  </a:lnTo>
                  <a:lnTo>
                    <a:pt x="147" y="96"/>
                  </a:lnTo>
                  <a:lnTo>
                    <a:pt x="148" y="97"/>
                  </a:lnTo>
                  <a:lnTo>
                    <a:pt x="151" y="99"/>
                  </a:lnTo>
                  <a:lnTo>
                    <a:pt x="151" y="99"/>
                  </a:lnTo>
                  <a:lnTo>
                    <a:pt x="151" y="95"/>
                  </a:lnTo>
                  <a:lnTo>
                    <a:pt x="148" y="90"/>
                  </a:lnTo>
                  <a:lnTo>
                    <a:pt x="148" y="90"/>
                  </a:lnTo>
                  <a:lnTo>
                    <a:pt x="153" y="92"/>
                  </a:lnTo>
                  <a:lnTo>
                    <a:pt x="156" y="93"/>
                  </a:lnTo>
                  <a:lnTo>
                    <a:pt x="156" y="93"/>
                  </a:lnTo>
                  <a:lnTo>
                    <a:pt x="156" y="92"/>
                  </a:lnTo>
                  <a:lnTo>
                    <a:pt x="156" y="90"/>
                  </a:lnTo>
                  <a:lnTo>
                    <a:pt x="156" y="87"/>
                  </a:lnTo>
                  <a:lnTo>
                    <a:pt x="156" y="87"/>
                  </a:lnTo>
                  <a:lnTo>
                    <a:pt x="153" y="86"/>
                  </a:lnTo>
                  <a:lnTo>
                    <a:pt x="150" y="87"/>
                  </a:lnTo>
                  <a:lnTo>
                    <a:pt x="147" y="89"/>
                  </a:lnTo>
                  <a:lnTo>
                    <a:pt x="143" y="89"/>
                  </a:lnTo>
                  <a:lnTo>
                    <a:pt x="143" y="89"/>
                  </a:lnTo>
                  <a:lnTo>
                    <a:pt x="144" y="86"/>
                  </a:lnTo>
                  <a:lnTo>
                    <a:pt x="147" y="86"/>
                  </a:lnTo>
                  <a:lnTo>
                    <a:pt x="150" y="86"/>
                  </a:lnTo>
                  <a:lnTo>
                    <a:pt x="151" y="85"/>
                  </a:lnTo>
                  <a:lnTo>
                    <a:pt x="151" y="85"/>
                  </a:lnTo>
                  <a:lnTo>
                    <a:pt x="147" y="85"/>
                  </a:lnTo>
                  <a:lnTo>
                    <a:pt x="143" y="86"/>
                  </a:lnTo>
                  <a:lnTo>
                    <a:pt x="143" y="86"/>
                  </a:lnTo>
                  <a:lnTo>
                    <a:pt x="143" y="89"/>
                  </a:lnTo>
                  <a:lnTo>
                    <a:pt x="143" y="93"/>
                  </a:lnTo>
                  <a:lnTo>
                    <a:pt x="146" y="100"/>
                  </a:lnTo>
                  <a:lnTo>
                    <a:pt x="146" y="100"/>
                  </a:lnTo>
                  <a:lnTo>
                    <a:pt x="147" y="107"/>
                  </a:lnTo>
                  <a:lnTo>
                    <a:pt x="147" y="107"/>
                  </a:lnTo>
                  <a:lnTo>
                    <a:pt x="147" y="110"/>
                  </a:lnTo>
                  <a:lnTo>
                    <a:pt x="146" y="113"/>
                  </a:lnTo>
                  <a:lnTo>
                    <a:pt x="146" y="113"/>
                  </a:lnTo>
                  <a:lnTo>
                    <a:pt x="147" y="115"/>
                  </a:lnTo>
                  <a:lnTo>
                    <a:pt x="150" y="115"/>
                  </a:lnTo>
                  <a:lnTo>
                    <a:pt x="153" y="113"/>
                  </a:lnTo>
                  <a:lnTo>
                    <a:pt x="153" y="113"/>
                  </a:lnTo>
                  <a:lnTo>
                    <a:pt x="153" y="116"/>
                  </a:lnTo>
                  <a:lnTo>
                    <a:pt x="151" y="119"/>
                  </a:lnTo>
                  <a:lnTo>
                    <a:pt x="147" y="122"/>
                  </a:lnTo>
                  <a:lnTo>
                    <a:pt x="147" y="122"/>
                  </a:lnTo>
                  <a:lnTo>
                    <a:pt x="143" y="124"/>
                  </a:lnTo>
                  <a:lnTo>
                    <a:pt x="143" y="127"/>
                  </a:lnTo>
                  <a:lnTo>
                    <a:pt x="141" y="130"/>
                  </a:lnTo>
                  <a:lnTo>
                    <a:pt x="141" y="130"/>
                  </a:lnTo>
                  <a:lnTo>
                    <a:pt x="138" y="130"/>
                  </a:lnTo>
                  <a:lnTo>
                    <a:pt x="137" y="130"/>
                  </a:lnTo>
                  <a:lnTo>
                    <a:pt x="136" y="129"/>
                  </a:lnTo>
                  <a:lnTo>
                    <a:pt x="136" y="129"/>
                  </a:lnTo>
                  <a:lnTo>
                    <a:pt x="134" y="134"/>
                  </a:lnTo>
                  <a:lnTo>
                    <a:pt x="131" y="136"/>
                  </a:lnTo>
                  <a:lnTo>
                    <a:pt x="131" y="136"/>
                  </a:lnTo>
                  <a:lnTo>
                    <a:pt x="130" y="136"/>
                  </a:lnTo>
                  <a:lnTo>
                    <a:pt x="130" y="136"/>
                  </a:lnTo>
                  <a:lnTo>
                    <a:pt x="130" y="137"/>
                  </a:lnTo>
                  <a:lnTo>
                    <a:pt x="130" y="139"/>
                  </a:lnTo>
                  <a:lnTo>
                    <a:pt x="130" y="140"/>
                  </a:lnTo>
                  <a:lnTo>
                    <a:pt x="130" y="142"/>
                  </a:lnTo>
                  <a:lnTo>
                    <a:pt x="130" y="142"/>
                  </a:lnTo>
                  <a:lnTo>
                    <a:pt x="126" y="140"/>
                  </a:lnTo>
                  <a:lnTo>
                    <a:pt x="123" y="142"/>
                  </a:lnTo>
                  <a:lnTo>
                    <a:pt x="117" y="146"/>
                  </a:lnTo>
                  <a:lnTo>
                    <a:pt x="117" y="146"/>
                  </a:lnTo>
                  <a:lnTo>
                    <a:pt x="113" y="152"/>
                  </a:lnTo>
                  <a:lnTo>
                    <a:pt x="110" y="153"/>
                  </a:lnTo>
                  <a:lnTo>
                    <a:pt x="107" y="153"/>
                  </a:lnTo>
                  <a:lnTo>
                    <a:pt x="107" y="153"/>
                  </a:lnTo>
                  <a:lnTo>
                    <a:pt x="106" y="156"/>
                  </a:lnTo>
                  <a:lnTo>
                    <a:pt x="104" y="159"/>
                  </a:lnTo>
                  <a:lnTo>
                    <a:pt x="100" y="163"/>
                  </a:lnTo>
                  <a:lnTo>
                    <a:pt x="100" y="163"/>
                  </a:lnTo>
                  <a:lnTo>
                    <a:pt x="96" y="164"/>
                  </a:lnTo>
                  <a:lnTo>
                    <a:pt x="96" y="164"/>
                  </a:lnTo>
                  <a:lnTo>
                    <a:pt x="91" y="166"/>
                  </a:lnTo>
                  <a:lnTo>
                    <a:pt x="91" y="166"/>
                  </a:lnTo>
                  <a:lnTo>
                    <a:pt x="90" y="170"/>
                  </a:lnTo>
                  <a:lnTo>
                    <a:pt x="88" y="174"/>
                  </a:lnTo>
                  <a:lnTo>
                    <a:pt x="86" y="177"/>
                  </a:lnTo>
                  <a:lnTo>
                    <a:pt x="81" y="179"/>
                  </a:lnTo>
                  <a:lnTo>
                    <a:pt x="81" y="179"/>
                  </a:lnTo>
                  <a:lnTo>
                    <a:pt x="77" y="180"/>
                  </a:lnTo>
                  <a:lnTo>
                    <a:pt x="73" y="180"/>
                  </a:lnTo>
                  <a:lnTo>
                    <a:pt x="64" y="179"/>
                  </a:lnTo>
                  <a:lnTo>
                    <a:pt x="64" y="179"/>
                  </a:lnTo>
                  <a:lnTo>
                    <a:pt x="60" y="182"/>
                  </a:lnTo>
                  <a:lnTo>
                    <a:pt x="59" y="184"/>
                  </a:lnTo>
                  <a:lnTo>
                    <a:pt x="57" y="187"/>
                  </a:lnTo>
                  <a:lnTo>
                    <a:pt x="53" y="189"/>
                  </a:lnTo>
                  <a:lnTo>
                    <a:pt x="53" y="189"/>
                  </a:lnTo>
                  <a:lnTo>
                    <a:pt x="59" y="190"/>
                  </a:lnTo>
                  <a:lnTo>
                    <a:pt x="60" y="190"/>
                  </a:lnTo>
                  <a:lnTo>
                    <a:pt x="61" y="189"/>
                  </a:lnTo>
                  <a:lnTo>
                    <a:pt x="61" y="189"/>
                  </a:lnTo>
                  <a:lnTo>
                    <a:pt x="61" y="193"/>
                  </a:lnTo>
                  <a:lnTo>
                    <a:pt x="60" y="194"/>
                  </a:lnTo>
                  <a:lnTo>
                    <a:pt x="51" y="199"/>
                  </a:lnTo>
                  <a:lnTo>
                    <a:pt x="51" y="199"/>
                  </a:lnTo>
                  <a:lnTo>
                    <a:pt x="51" y="197"/>
                  </a:lnTo>
                  <a:lnTo>
                    <a:pt x="53" y="196"/>
                  </a:lnTo>
                  <a:lnTo>
                    <a:pt x="53" y="196"/>
                  </a:lnTo>
                  <a:lnTo>
                    <a:pt x="49" y="197"/>
                  </a:lnTo>
                  <a:lnTo>
                    <a:pt x="44" y="200"/>
                  </a:lnTo>
                  <a:lnTo>
                    <a:pt x="44" y="200"/>
                  </a:lnTo>
                  <a:lnTo>
                    <a:pt x="40" y="203"/>
                  </a:lnTo>
                  <a:lnTo>
                    <a:pt x="40" y="203"/>
                  </a:lnTo>
                  <a:lnTo>
                    <a:pt x="34" y="207"/>
                  </a:lnTo>
                  <a:lnTo>
                    <a:pt x="34" y="207"/>
                  </a:lnTo>
                  <a:lnTo>
                    <a:pt x="30" y="210"/>
                  </a:lnTo>
                  <a:lnTo>
                    <a:pt x="24" y="210"/>
                  </a:lnTo>
                  <a:lnTo>
                    <a:pt x="24" y="210"/>
                  </a:lnTo>
                  <a:lnTo>
                    <a:pt x="19" y="209"/>
                  </a:lnTo>
                  <a:lnTo>
                    <a:pt x="11" y="204"/>
                  </a:lnTo>
                  <a:lnTo>
                    <a:pt x="11" y="204"/>
                  </a:lnTo>
                  <a:lnTo>
                    <a:pt x="17" y="203"/>
                  </a:lnTo>
                  <a:lnTo>
                    <a:pt x="20" y="199"/>
                  </a:lnTo>
                  <a:lnTo>
                    <a:pt x="20" y="199"/>
                  </a:lnTo>
                  <a:lnTo>
                    <a:pt x="17" y="200"/>
                  </a:lnTo>
                  <a:lnTo>
                    <a:pt x="13" y="202"/>
                  </a:lnTo>
                  <a:lnTo>
                    <a:pt x="13" y="202"/>
                  </a:lnTo>
                  <a:lnTo>
                    <a:pt x="9" y="203"/>
                  </a:lnTo>
                  <a:lnTo>
                    <a:pt x="7" y="204"/>
                  </a:lnTo>
                  <a:lnTo>
                    <a:pt x="7" y="207"/>
                  </a:lnTo>
                  <a:lnTo>
                    <a:pt x="7" y="207"/>
                  </a:lnTo>
                  <a:lnTo>
                    <a:pt x="6" y="209"/>
                  </a:lnTo>
                  <a:lnTo>
                    <a:pt x="4" y="207"/>
                  </a:lnTo>
                  <a:lnTo>
                    <a:pt x="1" y="204"/>
                  </a:lnTo>
                  <a:lnTo>
                    <a:pt x="1" y="204"/>
                  </a:lnTo>
                  <a:lnTo>
                    <a:pt x="1" y="200"/>
                  </a:lnTo>
                  <a:lnTo>
                    <a:pt x="1" y="197"/>
                  </a:lnTo>
                  <a:lnTo>
                    <a:pt x="4" y="197"/>
                  </a:lnTo>
                  <a:lnTo>
                    <a:pt x="4" y="197"/>
                  </a:lnTo>
                  <a:lnTo>
                    <a:pt x="3" y="196"/>
                  </a:lnTo>
                  <a:lnTo>
                    <a:pt x="1" y="196"/>
                  </a:lnTo>
                  <a:lnTo>
                    <a:pt x="0" y="196"/>
                  </a:lnTo>
                  <a:lnTo>
                    <a:pt x="0" y="193"/>
                  </a:lnTo>
                  <a:lnTo>
                    <a:pt x="0" y="193"/>
                  </a:lnTo>
                  <a:lnTo>
                    <a:pt x="4" y="193"/>
                  </a:lnTo>
                  <a:lnTo>
                    <a:pt x="9" y="193"/>
                  </a:lnTo>
                  <a:lnTo>
                    <a:pt x="11" y="193"/>
                  </a:lnTo>
                  <a:lnTo>
                    <a:pt x="16" y="192"/>
                  </a:lnTo>
                  <a:lnTo>
                    <a:pt x="16" y="192"/>
                  </a:lnTo>
                  <a:lnTo>
                    <a:pt x="14" y="190"/>
                  </a:lnTo>
                  <a:lnTo>
                    <a:pt x="10" y="190"/>
                  </a:lnTo>
                  <a:lnTo>
                    <a:pt x="3" y="192"/>
                  </a:lnTo>
                  <a:lnTo>
                    <a:pt x="3" y="192"/>
                  </a:lnTo>
                  <a:lnTo>
                    <a:pt x="10" y="183"/>
                  </a:lnTo>
                  <a:lnTo>
                    <a:pt x="10" y="183"/>
                  </a:lnTo>
                  <a:lnTo>
                    <a:pt x="14" y="180"/>
                  </a:lnTo>
                  <a:lnTo>
                    <a:pt x="14" y="180"/>
                  </a:lnTo>
                  <a:lnTo>
                    <a:pt x="19" y="179"/>
                  </a:lnTo>
                  <a:lnTo>
                    <a:pt x="19" y="179"/>
                  </a:lnTo>
                  <a:lnTo>
                    <a:pt x="27" y="174"/>
                  </a:lnTo>
                  <a:lnTo>
                    <a:pt x="27" y="174"/>
                  </a:lnTo>
                  <a:lnTo>
                    <a:pt x="31" y="174"/>
                  </a:lnTo>
                  <a:lnTo>
                    <a:pt x="31" y="174"/>
                  </a:lnTo>
                  <a:lnTo>
                    <a:pt x="33" y="173"/>
                  </a:lnTo>
                  <a:lnTo>
                    <a:pt x="34" y="173"/>
                  </a:lnTo>
                  <a:lnTo>
                    <a:pt x="34" y="173"/>
                  </a:lnTo>
                  <a:lnTo>
                    <a:pt x="34" y="173"/>
                  </a:lnTo>
                  <a:lnTo>
                    <a:pt x="34" y="173"/>
                  </a:lnTo>
                  <a:lnTo>
                    <a:pt x="34" y="173"/>
                  </a:lnTo>
                  <a:lnTo>
                    <a:pt x="34" y="173"/>
                  </a:lnTo>
                  <a:lnTo>
                    <a:pt x="34" y="173"/>
                  </a:lnTo>
                  <a:lnTo>
                    <a:pt x="34" y="173"/>
                  </a:lnTo>
                  <a:lnTo>
                    <a:pt x="34" y="173"/>
                  </a:lnTo>
                  <a:lnTo>
                    <a:pt x="34" y="173"/>
                  </a:lnTo>
                  <a:lnTo>
                    <a:pt x="37" y="173"/>
                  </a:lnTo>
                  <a:lnTo>
                    <a:pt x="37" y="173"/>
                  </a:lnTo>
                  <a:lnTo>
                    <a:pt x="34" y="170"/>
                  </a:lnTo>
                  <a:lnTo>
                    <a:pt x="34" y="170"/>
                  </a:lnTo>
                  <a:lnTo>
                    <a:pt x="33" y="169"/>
                  </a:lnTo>
                  <a:lnTo>
                    <a:pt x="33" y="169"/>
                  </a:lnTo>
                  <a:lnTo>
                    <a:pt x="33" y="169"/>
                  </a:lnTo>
                  <a:lnTo>
                    <a:pt x="33" y="169"/>
                  </a:lnTo>
                  <a:lnTo>
                    <a:pt x="33" y="169"/>
                  </a:lnTo>
                  <a:lnTo>
                    <a:pt x="33" y="169"/>
                  </a:lnTo>
                  <a:lnTo>
                    <a:pt x="33" y="169"/>
                  </a:lnTo>
                  <a:lnTo>
                    <a:pt x="33" y="169"/>
                  </a:lnTo>
                  <a:lnTo>
                    <a:pt x="33" y="169"/>
                  </a:lnTo>
                  <a:lnTo>
                    <a:pt x="33" y="169"/>
                  </a:lnTo>
                  <a:lnTo>
                    <a:pt x="33" y="169"/>
                  </a:lnTo>
                  <a:lnTo>
                    <a:pt x="33" y="169"/>
                  </a:lnTo>
                  <a:lnTo>
                    <a:pt x="30" y="167"/>
                  </a:lnTo>
                  <a:lnTo>
                    <a:pt x="27" y="164"/>
                  </a:lnTo>
                  <a:lnTo>
                    <a:pt x="27" y="164"/>
                  </a:lnTo>
                  <a:lnTo>
                    <a:pt x="31" y="164"/>
                  </a:lnTo>
                  <a:lnTo>
                    <a:pt x="31" y="164"/>
                  </a:lnTo>
                  <a:lnTo>
                    <a:pt x="31" y="164"/>
                  </a:lnTo>
                  <a:lnTo>
                    <a:pt x="31" y="164"/>
                  </a:lnTo>
                  <a:lnTo>
                    <a:pt x="31" y="164"/>
                  </a:lnTo>
                  <a:lnTo>
                    <a:pt x="31" y="164"/>
                  </a:lnTo>
                  <a:lnTo>
                    <a:pt x="31" y="164"/>
                  </a:lnTo>
                  <a:lnTo>
                    <a:pt x="31" y="164"/>
                  </a:lnTo>
                  <a:lnTo>
                    <a:pt x="31" y="164"/>
                  </a:lnTo>
                  <a:lnTo>
                    <a:pt x="31" y="164"/>
                  </a:lnTo>
                  <a:lnTo>
                    <a:pt x="31" y="164"/>
                  </a:lnTo>
                  <a:lnTo>
                    <a:pt x="33" y="164"/>
                  </a:lnTo>
                  <a:lnTo>
                    <a:pt x="33" y="164"/>
                  </a:lnTo>
                  <a:lnTo>
                    <a:pt x="34" y="163"/>
                  </a:lnTo>
                  <a:lnTo>
                    <a:pt x="34" y="163"/>
                  </a:lnTo>
                  <a:lnTo>
                    <a:pt x="39" y="159"/>
                  </a:lnTo>
                  <a:lnTo>
                    <a:pt x="39" y="159"/>
                  </a:lnTo>
                  <a:lnTo>
                    <a:pt x="43" y="154"/>
                  </a:lnTo>
                  <a:lnTo>
                    <a:pt x="44" y="154"/>
                  </a:lnTo>
                  <a:lnTo>
                    <a:pt x="47" y="153"/>
                  </a:lnTo>
                  <a:lnTo>
                    <a:pt x="49" y="156"/>
                  </a:lnTo>
                  <a:lnTo>
                    <a:pt x="49" y="156"/>
                  </a:lnTo>
                  <a:lnTo>
                    <a:pt x="49" y="159"/>
                  </a:lnTo>
                  <a:lnTo>
                    <a:pt x="49" y="159"/>
                  </a:lnTo>
                  <a:lnTo>
                    <a:pt x="47" y="160"/>
                  </a:lnTo>
                  <a:lnTo>
                    <a:pt x="47" y="160"/>
                  </a:lnTo>
                  <a:lnTo>
                    <a:pt x="49" y="162"/>
                  </a:lnTo>
                  <a:lnTo>
                    <a:pt x="50" y="160"/>
                  </a:lnTo>
                  <a:lnTo>
                    <a:pt x="50" y="160"/>
                  </a:lnTo>
                  <a:lnTo>
                    <a:pt x="50" y="157"/>
                  </a:lnTo>
                  <a:lnTo>
                    <a:pt x="47" y="153"/>
                  </a:lnTo>
                  <a:lnTo>
                    <a:pt x="47" y="153"/>
                  </a:lnTo>
                  <a:lnTo>
                    <a:pt x="51" y="150"/>
                  </a:lnTo>
                  <a:lnTo>
                    <a:pt x="53" y="149"/>
                  </a:lnTo>
                  <a:lnTo>
                    <a:pt x="54" y="149"/>
                  </a:lnTo>
                  <a:lnTo>
                    <a:pt x="54" y="149"/>
                  </a:lnTo>
                  <a:lnTo>
                    <a:pt x="54" y="150"/>
                  </a:lnTo>
                  <a:lnTo>
                    <a:pt x="54" y="152"/>
                  </a:lnTo>
                  <a:lnTo>
                    <a:pt x="51" y="153"/>
                  </a:lnTo>
                  <a:lnTo>
                    <a:pt x="51" y="153"/>
                  </a:lnTo>
                  <a:lnTo>
                    <a:pt x="53" y="154"/>
                  </a:lnTo>
                  <a:lnTo>
                    <a:pt x="56" y="154"/>
                  </a:lnTo>
                  <a:lnTo>
                    <a:pt x="57" y="152"/>
                  </a:lnTo>
                  <a:lnTo>
                    <a:pt x="61" y="143"/>
                  </a:lnTo>
                  <a:lnTo>
                    <a:pt x="61" y="143"/>
                  </a:lnTo>
                  <a:lnTo>
                    <a:pt x="63" y="142"/>
                  </a:lnTo>
                  <a:lnTo>
                    <a:pt x="64" y="144"/>
                  </a:lnTo>
                  <a:lnTo>
                    <a:pt x="66" y="146"/>
                  </a:lnTo>
                  <a:lnTo>
                    <a:pt x="66" y="146"/>
                  </a:lnTo>
                  <a:lnTo>
                    <a:pt x="66" y="146"/>
                  </a:lnTo>
                  <a:lnTo>
                    <a:pt x="70" y="142"/>
                  </a:lnTo>
                  <a:lnTo>
                    <a:pt x="77" y="137"/>
                  </a:lnTo>
                  <a:lnTo>
                    <a:pt x="77" y="137"/>
                  </a:lnTo>
                  <a:lnTo>
                    <a:pt x="84" y="134"/>
                  </a:lnTo>
                  <a:lnTo>
                    <a:pt x="84" y="134"/>
                  </a:lnTo>
                  <a:lnTo>
                    <a:pt x="87" y="134"/>
                  </a:lnTo>
                  <a:lnTo>
                    <a:pt x="90" y="134"/>
                  </a:lnTo>
                  <a:lnTo>
                    <a:pt x="90" y="134"/>
                  </a:lnTo>
                  <a:lnTo>
                    <a:pt x="91" y="130"/>
                  </a:lnTo>
                  <a:lnTo>
                    <a:pt x="88" y="127"/>
                  </a:lnTo>
                  <a:lnTo>
                    <a:pt x="88" y="127"/>
                  </a:lnTo>
                  <a:lnTo>
                    <a:pt x="90" y="126"/>
                  </a:lnTo>
                  <a:lnTo>
                    <a:pt x="91" y="126"/>
                  </a:lnTo>
                  <a:lnTo>
                    <a:pt x="96" y="129"/>
                  </a:lnTo>
                  <a:lnTo>
                    <a:pt x="96" y="129"/>
                  </a:lnTo>
                  <a:lnTo>
                    <a:pt x="96" y="126"/>
                  </a:lnTo>
                  <a:lnTo>
                    <a:pt x="96" y="123"/>
                  </a:lnTo>
                  <a:lnTo>
                    <a:pt x="98" y="122"/>
                  </a:lnTo>
                  <a:lnTo>
                    <a:pt x="107" y="122"/>
                  </a:lnTo>
                  <a:lnTo>
                    <a:pt x="107" y="122"/>
                  </a:lnTo>
                  <a:lnTo>
                    <a:pt x="107" y="120"/>
                  </a:lnTo>
                  <a:lnTo>
                    <a:pt x="106" y="120"/>
                  </a:lnTo>
                  <a:lnTo>
                    <a:pt x="104" y="119"/>
                  </a:lnTo>
                  <a:lnTo>
                    <a:pt x="106" y="117"/>
                  </a:lnTo>
                  <a:lnTo>
                    <a:pt x="106" y="117"/>
                  </a:lnTo>
                  <a:lnTo>
                    <a:pt x="106" y="117"/>
                  </a:lnTo>
                  <a:lnTo>
                    <a:pt x="107" y="117"/>
                  </a:lnTo>
                  <a:lnTo>
                    <a:pt x="107" y="120"/>
                  </a:lnTo>
                  <a:lnTo>
                    <a:pt x="107" y="120"/>
                  </a:lnTo>
                  <a:lnTo>
                    <a:pt x="108" y="117"/>
                  </a:lnTo>
                  <a:lnTo>
                    <a:pt x="108" y="116"/>
                  </a:lnTo>
                  <a:lnTo>
                    <a:pt x="108" y="113"/>
                  </a:lnTo>
                  <a:lnTo>
                    <a:pt x="111" y="112"/>
                  </a:lnTo>
                  <a:lnTo>
                    <a:pt x="111" y="112"/>
                  </a:lnTo>
                  <a:lnTo>
                    <a:pt x="114" y="117"/>
                  </a:lnTo>
                  <a:lnTo>
                    <a:pt x="118" y="124"/>
                  </a:lnTo>
                  <a:lnTo>
                    <a:pt x="118" y="124"/>
                  </a:lnTo>
                  <a:lnTo>
                    <a:pt x="118" y="123"/>
                  </a:lnTo>
                  <a:lnTo>
                    <a:pt x="117" y="120"/>
                  </a:lnTo>
                  <a:lnTo>
                    <a:pt x="113" y="116"/>
                  </a:lnTo>
                  <a:lnTo>
                    <a:pt x="113" y="116"/>
                  </a:lnTo>
                  <a:lnTo>
                    <a:pt x="116" y="115"/>
                  </a:lnTo>
                  <a:lnTo>
                    <a:pt x="117" y="115"/>
                  </a:lnTo>
                  <a:lnTo>
                    <a:pt x="120" y="116"/>
                  </a:lnTo>
                  <a:lnTo>
                    <a:pt x="121" y="116"/>
                  </a:lnTo>
                  <a:lnTo>
                    <a:pt x="121" y="116"/>
                  </a:lnTo>
                  <a:lnTo>
                    <a:pt x="118" y="112"/>
                  </a:lnTo>
                  <a:lnTo>
                    <a:pt x="117" y="106"/>
                  </a:lnTo>
                  <a:lnTo>
                    <a:pt x="117" y="106"/>
                  </a:lnTo>
                  <a:lnTo>
                    <a:pt x="117" y="105"/>
                  </a:lnTo>
                  <a:lnTo>
                    <a:pt x="118" y="105"/>
                  </a:lnTo>
                  <a:lnTo>
                    <a:pt x="120" y="105"/>
                  </a:lnTo>
                  <a:lnTo>
                    <a:pt x="123" y="106"/>
                  </a:lnTo>
                  <a:lnTo>
                    <a:pt x="123" y="106"/>
                  </a:lnTo>
                  <a:lnTo>
                    <a:pt x="121" y="107"/>
                  </a:lnTo>
                  <a:lnTo>
                    <a:pt x="120" y="107"/>
                  </a:lnTo>
                  <a:lnTo>
                    <a:pt x="117" y="107"/>
                  </a:lnTo>
                  <a:lnTo>
                    <a:pt x="117" y="107"/>
                  </a:lnTo>
                  <a:lnTo>
                    <a:pt x="120" y="110"/>
                  </a:lnTo>
                  <a:lnTo>
                    <a:pt x="121" y="113"/>
                  </a:lnTo>
                  <a:lnTo>
                    <a:pt x="121" y="113"/>
                  </a:lnTo>
                  <a:lnTo>
                    <a:pt x="123" y="110"/>
                  </a:lnTo>
                  <a:lnTo>
                    <a:pt x="124" y="109"/>
                  </a:lnTo>
                  <a:lnTo>
                    <a:pt x="130" y="109"/>
                  </a:lnTo>
                  <a:lnTo>
                    <a:pt x="130" y="109"/>
                  </a:lnTo>
                  <a:lnTo>
                    <a:pt x="127" y="103"/>
                  </a:lnTo>
                  <a:lnTo>
                    <a:pt x="124" y="100"/>
                  </a:lnTo>
                  <a:lnTo>
                    <a:pt x="121" y="97"/>
                  </a:lnTo>
                  <a:lnTo>
                    <a:pt x="121" y="97"/>
                  </a:lnTo>
                  <a:lnTo>
                    <a:pt x="127" y="97"/>
                  </a:lnTo>
                  <a:lnTo>
                    <a:pt x="131" y="97"/>
                  </a:lnTo>
                  <a:lnTo>
                    <a:pt x="131" y="97"/>
                  </a:lnTo>
                  <a:lnTo>
                    <a:pt x="133" y="99"/>
                  </a:lnTo>
                  <a:lnTo>
                    <a:pt x="133" y="102"/>
                  </a:lnTo>
                  <a:lnTo>
                    <a:pt x="130" y="103"/>
                  </a:lnTo>
                  <a:lnTo>
                    <a:pt x="130" y="103"/>
                  </a:lnTo>
                  <a:lnTo>
                    <a:pt x="130" y="105"/>
                  </a:lnTo>
                  <a:lnTo>
                    <a:pt x="131" y="106"/>
                  </a:lnTo>
                  <a:lnTo>
                    <a:pt x="136" y="109"/>
                  </a:lnTo>
                  <a:lnTo>
                    <a:pt x="136" y="109"/>
                  </a:lnTo>
                  <a:lnTo>
                    <a:pt x="136" y="107"/>
                  </a:lnTo>
                  <a:lnTo>
                    <a:pt x="136" y="106"/>
                  </a:lnTo>
                  <a:lnTo>
                    <a:pt x="134" y="106"/>
                  </a:lnTo>
                  <a:lnTo>
                    <a:pt x="134" y="105"/>
                  </a:lnTo>
                  <a:lnTo>
                    <a:pt x="134" y="105"/>
                  </a:lnTo>
                  <a:lnTo>
                    <a:pt x="137" y="103"/>
                  </a:lnTo>
                  <a:lnTo>
                    <a:pt x="140" y="102"/>
                  </a:lnTo>
                  <a:lnTo>
                    <a:pt x="140" y="102"/>
                  </a:lnTo>
                  <a:lnTo>
                    <a:pt x="141" y="103"/>
                  </a:lnTo>
                  <a:lnTo>
                    <a:pt x="144" y="106"/>
                  </a:lnTo>
                  <a:lnTo>
                    <a:pt x="144" y="106"/>
                  </a:lnTo>
                  <a:lnTo>
                    <a:pt x="143" y="100"/>
                  </a:lnTo>
                  <a:lnTo>
                    <a:pt x="141" y="96"/>
                  </a:lnTo>
                  <a:lnTo>
                    <a:pt x="141" y="96"/>
                  </a:lnTo>
                  <a:lnTo>
                    <a:pt x="140" y="92"/>
                  </a:lnTo>
                  <a:lnTo>
                    <a:pt x="140" y="90"/>
                  </a:lnTo>
                  <a:lnTo>
                    <a:pt x="141" y="89"/>
                  </a:lnTo>
                  <a:lnTo>
                    <a:pt x="141" y="89"/>
                  </a:lnTo>
                  <a:lnTo>
                    <a:pt x="138" y="89"/>
                  </a:lnTo>
                  <a:lnTo>
                    <a:pt x="137" y="89"/>
                  </a:lnTo>
                  <a:lnTo>
                    <a:pt x="137" y="89"/>
                  </a:lnTo>
                  <a:lnTo>
                    <a:pt x="137" y="83"/>
                  </a:lnTo>
                  <a:lnTo>
                    <a:pt x="140" y="80"/>
                  </a:lnTo>
                  <a:lnTo>
                    <a:pt x="140" y="80"/>
                  </a:lnTo>
                  <a:lnTo>
                    <a:pt x="143" y="77"/>
                  </a:lnTo>
                  <a:lnTo>
                    <a:pt x="147" y="75"/>
                  </a:lnTo>
                  <a:lnTo>
                    <a:pt x="147" y="75"/>
                  </a:lnTo>
                  <a:lnTo>
                    <a:pt x="154" y="70"/>
                  </a:lnTo>
                  <a:lnTo>
                    <a:pt x="156" y="67"/>
                  </a:lnTo>
                  <a:lnTo>
                    <a:pt x="156" y="63"/>
                  </a:lnTo>
                  <a:lnTo>
                    <a:pt x="156" y="63"/>
                  </a:lnTo>
                  <a:lnTo>
                    <a:pt x="160" y="65"/>
                  </a:lnTo>
                  <a:lnTo>
                    <a:pt x="160" y="62"/>
                  </a:lnTo>
                  <a:lnTo>
                    <a:pt x="160" y="62"/>
                  </a:lnTo>
                  <a:lnTo>
                    <a:pt x="164" y="65"/>
                  </a:lnTo>
                  <a:lnTo>
                    <a:pt x="166" y="69"/>
                  </a:lnTo>
                  <a:lnTo>
                    <a:pt x="167" y="76"/>
                  </a:lnTo>
                  <a:lnTo>
                    <a:pt x="167" y="76"/>
                  </a:lnTo>
                  <a:lnTo>
                    <a:pt x="164" y="73"/>
                  </a:lnTo>
                  <a:lnTo>
                    <a:pt x="163" y="70"/>
                  </a:lnTo>
                  <a:lnTo>
                    <a:pt x="163" y="70"/>
                  </a:lnTo>
                  <a:lnTo>
                    <a:pt x="156" y="73"/>
                  </a:lnTo>
                  <a:lnTo>
                    <a:pt x="151" y="76"/>
                  </a:lnTo>
                  <a:lnTo>
                    <a:pt x="151" y="79"/>
                  </a:lnTo>
                  <a:lnTo>
                    <a:pt x="151" y="82"/>
                  </a:lnTo>
                  <a:lnTo>
                    <a:pt x="151" y="82"/>
                  </a:lnTo>
                  <a:lnTo>
                    <a:pt x="156" y="79"/>
                  </a:lnTo>
                  <a:lnTo>
                    <a:pt x="160" y="77"/>
                  </a:lnTo>
                  <a:lnTo>
                    <a:pt x="160" y="77"/>
                  </a:lnTo>
                  <a:lnTo>
                    <a:pt x="166" y="76"/>
                  </a:lnTo>
                  <a:lnTo>
                    <a:pt x="170" y="73"/>
                  </a:lnTo>
                  <a:lnTo>
                    <a:pt x="170" y="73"/>
                  </a:lnTo>
                  <a:lnTo>
                    <a:pt x="173" y="76"/>
                  </a:lnTo>
                  <a:lnTo>
                    <a:pt x="176" y="77"/>
                  </a:lnTo>
                  <a:lnTo>
                    <a:pt x="176" y="77"/>
                  </a:lnTo>
                  <a:lnTo>
                    <a:pt x="174" y="76"/>
                  </a:lnTo>
                  <a:lnTo>
                    <a:pt x="171" y="73"/>
                  </a:lnTo>
                  <a:lnTo>
                    <a:pt x="168" y="72"/>
                  </a:lnTo>
                  <a:lnTo>
                    <a:pt x="168" y="69"/>
                  </a:lnTo>
                  <a:lnTo>
                    <a:pt x="168" y="69"/>
                  </a:lnTo>
                  <a:lnTo>
                    <a:pt x="170" y="70"/>
                  </a:lnTo>
                  <a:lnTo>
                    <a:pt x="170" y="69"/>
                  </a:lnTo>
                  <a:lnTo>
                    <a:pt x="173" y="66"/>
                  </a:lnTo>
                  <a:lnTo>
                    <a:pt x="174" y="63"/>
                  </a:lnTo>
                  <a:lnTo>
                    <a:pt x="176" y="63"/>
                  </a:lnTo>
                  <a:lnTo>
                    <a:pt x="178" y="63"/>
                  </a:lnTo>
                  <a:lnTo>
                    <a:pt x="178" y="63"/>
                  </a:lnTo>
                  <a:lnTo>
                    <a:pt x="177" y="62"/>
                  </a:lnTo>
                  <a:lnTo>
                    <a:pt x="176" y="62"/>
                  </a:lnTo>
                  <a:lnTo>
                    <a:pt x="176" y="62"/>
                  </a:lnTo>
                  <a:lnTo>
                    <a:pt x="176" y="60"/>
                  </a:lnTo>
                  <a:lnTo>
                    <a:pt x="177" y="60"/>
                  </a:lnTo>
                  <a:lnTo>
                    <a:pt x="180" y="60"/>
                  </a:lnTo>
                  <a:lnTo>
                    <a:pt x="181" y="59"/>
                  </a:lnTo>
                  <a:lnTo>
                    <a:pt x="181" y="59"/>
                  </a:lnTo>
                  <a:lnTo>
                    <a:pt x="177" y="59"/>
                  </a:lnTo>
                  <a:lnTo>
                    <a:pt x="177" y="59"/>
                  </a:lnTo>
                  <a:lnTo>
                    <a:pt x="177" y="57"/>
                  </a:lnTo>
                  <a:lnTo>
                    <a:pt x="177" y="57"/>
                  </a:lnTo>
                  <a:lnTo>
                    <a:pt x="178" y="57"/>
                  </a:lnTo>
                  <a:lnTo>
                    <a:pt x="180" y="56"/>
                  </a:lnTo>
                  <a:lnTo>
                    <a:pt x="180" y="56"/>
                  </a:lnTo>
                  <a:lnTo>
                    <a:pt x="178" y="56"/>
                  </a:lnTo>
                  <a:lnTo>
                    <a:pt x="177" y="56"/>
                  </a:lnTo>
                  <a:lnTo>
                    <a:pt x="177" y="56"/>
                  </a:lnTo>
                  <a:lnTo>
                    <a:pt x="177" y="55"/>
                  </a:lnTo>
                  <a:lnTo>
                    <a:pt x="177" y="53"/>
                  </a:lnTo>
                  <a:lnTo>
                    <a:pt x="178" y="50"/>
                  </a:lnTo>
                  <a:lnTo>
                    <a:pt x="177" y="49"/>
                  </a:lnTo>
                  <a:lnTo>
                    <a:pt x="177" y="49"/>
                  </a:lnTo>
                  <a:lnTo>
                    <a:pt x="183" y="50"/>
                  </a:lnTo>
                  <a:lnTo>
                    <a:pt x="184" y="49"/>
                  </a:lnTo>
                  <a:lnTo>
                    <a:pt x="183" y="46"/>
                  </a:lnTo>
                  <a:lnTo>
                    <a:pt x="183" y="46"/>
                  </a:lnTo>
                  <a:lnTo>
                    <a:pt x="191" y="42"/>
                  </a:lnTo>
                  <a:lnTo>
                    <a:pt x="191" y="42"/>
                  </a:lnTo>
                  <a:lnTo>
                    <a:pt x="198" y="35"/>
                  </a:lnTo>
                  <a:lnTo>
                    <a:pt x="198" y="35"/>
                  </a:lnTo>
                  <a:lnTo>
                    <a:pt x="204" y="27"/>
                  </a:lnTo>
                  <a:lnTo>
                    <a:pt x="210" y="20"/>
                  </a:lnTo>
                  <a:lnTo>
                    <a:pt x="214" y="23"/>
                  </a:lnTo>
                  <a:lnTo>
                    <a:pt x="214" y="23"/>
                  </a:lnTo>
                  <a:lnTo>
                    <a:pt x="214" y="16"/>
                  </a:lnTo>
                  <a:lnTo>
                    <a:pt x="217" y="10"/>
                  </a:lnTo>
                  <a:lnTo>
                    <a:pt x="217" y="10"/>
                  </a:lnTo>
                  <a:lnTo>
                    <a:pt x="221" y="6"/>
                  </a:lnTo>
                  <a:lnTo>
                    <a:pt x="221" y="6"/>
                  </a:lnTo>
                  <a:lnTo>
                    <a:pt x="224" y="0"/>
                  </a:lnTo>
                  <a:lnTo>
                    <a:pt x="224" y="0"/>
                  </a:lnTo>
                  <a:lnTo>
                    <a:pt x="225" y="5"/>
                  </a:lnTo>
                  <a:lnTo>
                    <a:pt x="225" y="7"/>
                  </a:lnTo>
                  <a:lnTo>
                    <a:pt x="225" y="7"/>
                  </a:lnTo>
                  <a:lnTo>
                    <a:pt x="225" y="10"/>
                  </a:lnTo>
                  <a:lnTo>
                    <a:pt x="223" y="13"/>
                  </a:lnTo>
                  <a:lnTo>
                    <a:pt x="223" y="13"/>
                  </a:lnTo>
                  <a:lnTo>
                    <a:pt x="218" y="19"/>
                  </a:lnTo>
                  <a:lnTo>
                    <a:pt x="218" y="19"/>
                  </a:lnTo>
                  <a:lnTo>
                    <a:pt x="214" y="26"/>
                  </a:lnTo>
                  <a:lnTo>
                    <a:pt x="214" y="26"/>
                  </a:lnTo>
                  <a:lnTo>
                    <a:pt x="213" y="30"/>
                  </a:lnTo>
                  <a:lnTo>
                    <a:pt x="213" y="35"/>
                  </a:lnTo>
                  <a:lnTo>
                    <a:pt x="213" y="39"/>
                  </a:lnTo>
                  <a:lnTo>
                    <a:pt x="210" y="4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8" name="Freeform 288"/>
            <p:cNvSpPr/>
            <p:nvPr/>
          </p:nvSpPr>
          <p:spPr bwMode="auto">
            <a:xfrm>
              <a:off x="4517109" y="3941995"/>
              <a:ext cx="36861" cy="79863"/>
            </a:xfrm>
            <a:custGeom>
              <a:avLst/>
              <a:gdLst>
                <a:gd name="T0" fmla="*/ 8 w 11"/>
                <a:gd name="T1" fmla="*/ 0 h 26"/>
                <a:gd name="T2" fmla="*/ 8 w 11"/>
                <a:gd name="T3" fmla="*/ 0 h 26"/>
                <a:gd name="T4" fmla="*/ 11 w 11"/>
                <a:gd name="T5" fmla="*/ 4 h 26"/>
                <a:gd name="T6" fmla="*/ 11 w 11"/>
                <a:gd name="T7" fmla="*/ 7 h 26"/>
                <a:gd name="T8" fmla="*/ 10 w 11"/>
                <a:gd name="T9" fmla="*/ 10 h 26"/>
                <a:gd name="T10" fmla="*/ 8 w 11"/>
                <a:gd name="T11" fmla="*/ 14 h 26"/>
                <a:gd name="T12" fmla="*/ 8 w 11"/>
                <a:gd name="T13" fmla="*/ 14 h 26"/>
                <a:gd name="T14" fmla="*/ 6 w 11"/>
                <a:gd name="T15" fmla="*/ 17 h 26"/>
                <a:gd name="T16" fmla="*/ 6 w 11"/>
                <a:gd name="T17" fmla="*/ 17 h 26"/>
                <a:gd name="T18" fmla="*/ 4 w 11"/>
                <a:gd name="T19" fmla="*/ 20 h 26"/>
                <a:gd name="T20" fmla="*/ 4 w 11"/>
                <a:gd name="T21" fmla="*/ 20 h 26"/>
                <a:gd name="T22" fmla="*/ 1 w 11"/>
                <a:gd name="T23" fmla="*/ 23 h 26"/>
                <a:gd name="T24" fmla="*/ 1 w 11"/>
                <a:gd name="T25" fmla="*/ 26 h 26"/>
                <a:gd name="T26" fmla="*/ 1 w 11"/>
                <a:gd name="T27" fmla="*/ 26 h 26"/>
                <a:gd name="T28" fmla="*/ 0 w 11"/>
                <a:gd name="T29" fmla="*/ 23 h 26"/>
                <a:gd name="T30" fmla="*/ 0 w 11"/>
                <a:gd name="T31" fmla="*/ 19 h 26"/>
                <a:gd name="T32" fmla="*/ 1 w 11"/>
                <a:gd name="T33" fmla="*/ 11 h 26"/>
                <a:gd name="T34" fmla="*/ 1 w 11"/>
                <a:gd name="T35" fmla="*/ 11 h 26"/>
                <a:gd name="T36" fmla="*/ 8 w 11"/>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26">
                  <a:moveTo>
                    <a:pt x="8" y="0"/>
                  </a:moveTo>
                  <a:lnTo>
                    <a:pt x="8" y="0"/>
                  </a:lnTo>
                  <a:lnTo>
                    <a:pt x="11" y="4"/>
                  </a:lnTo>
                  <a:lnTo>
                    <a:pt x="11" y="7"/>
                  </a:lnTo>
                  <a:lnTo>
                    <a:pt x="10" y="10"/>
                  </a:lnTo>
                  <a:lnTo>
                    <a:pt x="8" y="14"/>
                  </a:lnTo>
                  <a:lnTo>
                    <a:pt x="8" y="14"/>
                  </a:lnTo>
                  <a:lnTo>
                    <a:pt x="6" y="17"/>
                  </a:lnTo>
                  <a:lnTo>
                    <a:pt x="6" y="17"/>
                  </a:lnTo>
                  <a:lnTo>
                    <a:pt x="4" y="20"/>
                  </a:lnTo>
                  <a:lnTo>
                    <a:pt x="4" y="20"/>
                  </a:lnTo>
                  <a:lnTo>
                    <a:pt x="1" y="23"/>
                  </a:lnTo>
                  <a:lnTo>
                    <a:pt x="1" y="26"/>
                  </a:lnTo>
                  <a:lnTo>
                    <a:pt x="1" y="26"/>
                  </a:lnTo>
                  <a:lnTo>
                    <a:pt x="0" y="23"/>
                  </a:lnTo>
                  <a:lnTo>
                    <a:pt x="0" y="19"/>
                  </a:lnTo>
                  <a:lnTo>
                    <a:pt x="1" y="11"/>
                  </a:lnTo>
                  <a:lnTo>
                    <a:pt x="1" y="11"/>
                  </a:lnTo>
                  <a:lnTo>
                    <a:pt x="8"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9" name="Freeform 289"/>
            <p:cNvSpPr/>
            <p:nvPr/>
          </p:nvSpPr>
          <p:spPr bwMode="auto">
            <a:xfrm>
              <a:off x="3804460" y="3628677"/>
              <a:ext cx="12287" cy="18429"/>
            </a:xfrm>
            <a:custGeom>
              <a:avLst/>
              <a:gdLst>
                <a:gd name="T0" fmla="*/ 2 w 5"/>
                <a:gd name="T1" fmla="*/ 0 h 5"/>
                <a:gd name="T2" fmla="*/ 2 w 5"/>
                <a:gd name="T3" fmla="*/ 0 h 5"/>
                <a:gd name="T4" fmla="*/ 5 w 5"/>
                <a:gd name="T5" fmla="*/ 3 h 5"/>
                <a:gd name="T6" fmla="*/ 5 w 5"/>
                <a:gd name="T7" fmla="*/ 3 h 5"/>
                <a:gd name="T8" fmla="*/ 3 w 5"/>
                <a:gd name="T9" fmla="*/ 4 h 5"/>
                <a:gd name="T10" fmla="*/ 3 w 5"/>
                <a:gd name="T11" fmla="*/ 5 h 5"/>
                <a:gd name="T12" fmla="*/ 3 w 5"/>
                <a:gd name="T13" fmla="*/ 5 h 5"/>
                <a:gd name="T14" fmla="*/ 0 w 5"/>
                <a:gd name="T15" fmla="*/ 1 h 5"/>
                <a:gd name="T16" fmla="*/ 0 w 5"/>
                <a:gd name="T17" fmla="*/ 0 h 5"/>
                <a:gd name="T18" fmla="*/ 2 w 5"/>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2" y="0"/>
                  </a:moveTo>
                  <a:lnTo>
                    <a:pt x="2" y="0"/>
                  </a:lnTo>
                  <a:lnTo>
                    <a:pt x="5" y="3"/>
                  </a:lnTo>
                  <a:lnTo>
                    <a:pt x="5" y="3"/>
                  </a:lnTo>
                  <a:lnTo>
                    <a:pt x="3" y="4"/>
                  </a:lnTo>
                  <a:lnTo>
                    <a:pt x="3" y="5"/>
                  </a:lnTo>
                  <a:lnTo>
                    <a:pt x="3" y="5"/>
                  </a:lnTo>
                  <a:lnTo>
                    <a:pt x="0" y="1"/>
                  </a:lnTo>
                  <a:lnTo>
                    <a:pt x="0" y="0"/>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0" name="Freeform 290"/>
            <p:cNvSpPr/>
            <p:nvPr/>
          </p:nvSpPr>
          <p:spPr bwMode="auto">
            <a:xfrm>
              <a:off x="4302089" y="4335181"/>
              <a:ext cx="18433" cy="18429"/>
            </a:xfrm>
            <a:custGeom>
              <a:avLst/>
              <a:gdLst>
                <a:gd name="T0" fmla="*/ 3 w 6"/>
                <a:gd name="T1" fmla="*/ 0 h 5"/>
                <a:gd name="T2" fmla="*/ 3 w 6"/>
                <a:gd name="T3" fmla="*/ 0 h 5"/>
                <a:gd name="T4" fmla="*/ 6 w 6"/>
                <a:gd name="T5" fmla="*/ 2 h 5"/>
                <a:gd name="T6" fmla="*/ 3 w 6"/>
                <a:gd name="T7" fmla="*/ 5 h 5"/>
                <a:gd name="T8" fmla="*/ 0 w 6"/>
                <a:gd name="T9" fmla="*/ 2 h 5"/>
                <a:gd name="T10" fmla="*/ 0 w 6"/>
                <a:gd name="T11" fmla="*/ 2 h 5"/>
                <a:gd name="T12" fmla="*/ 3 w 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3" y="0"/>
                  </a:moveTo>
                  <a:lnTo>
                    <a:pt x="3" y="0"/>
                  </a:lnTo>
                  <a:lnTo>
                    <a:pt x="6" y="2"/>
                  </a:lnTo>
                  <a:lnTo>
                    <a:pt x="3" y="5"/>
                  </a:lnTo>
                  <a:lnTo>
                    <a:pt x="0" y="2"/>
                  </a:lnTo>
                  <a:lnTo>
                    <a:pt x="0" y="2"/>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1" name="Freeform 291"/>
            <p:cNvSpPr/>
            <p:nvPr/>
          </p:nvSpPr>
          <p:spPr bwMode="auto">
            <a:xfrm>
              <a:off x="3644729" y="3579529"/>
              <a:ext cx="6145" cy="6142"/>
            </a:xfrm>
            <a:custGeom>
              <a:avLst/>
              <a:gdLst>
                <a:gd name="T0" fmla="*/ 1 w 3"/>
                <a:gd name="T1" fmla="*/ 0 h 2"/>
                <a:gd name="T2" fmla="*/ 1 w 3"/>
                <a:gd name="T3" fmla="*/ 0 h 2"/>
                <a:gd name="T4" fmla="*/ 3 w 3"/>
                <a:gd name="T5" fmla="*/ 2 h 2"/>
                <a:gd name="T6" fmla="*/ 1 w 3"/>
                <a:gd name="T7" fmla="*/ 2 h 2"/>
                <a:gd name="T8" fmla="*/ 0 w 3"/>
                <a:gd name="T9" fmla="*/ 1 h 2"/>
                <a:gd name="T10" fmla="*/ 0 w 3"/>
                <a:gd name="T11" fmla="*/ 1 h 2"/>
                <a:gd name="T12" fmla="*/ 0 w 3"/>
                <a:gd name="T13" fmla="*/ 0 h 2"/>
                <a:gd name="T14" fmla="*/ 0 w 3"/>
                <a:gd name="T15" fmla="*/ 0 h 2"/>
                <a:gd name="T16" fmla="*/ 0 w 3"/>
                <a:gd name="T17" fmla="*/ 0 h 2"/>
                <a:gd name="T18" fmla="*/ 0 w 3"/>
                <a:gd name="T19" fmla="*/ 0 h 2"/>
                <a:gd name="T20" fmla="*/ 1 w 3"/>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2">
                  <a:moveTo>
                    <a:pt x="1" y="0"/>
                  </a:moveTo>
                  <a:lnTo>
                    <a:pt x="1" y="0"/>
                  </a:lnTo>
                  <a:lnTo>
                    <a:pt x="3" y="2"/>
                  </a:lnTo>
                  <a:lnTo>
                    <a:pt x="1" y="2"/>
                  </a:lnTo>
                  <a:lnTo>
                    <a:pt x="0" y="1"/>
                  </a:lnTo>
                  <a:lnTo>
                    <a:pt x="0" y="1"/>
                  </a:lnTo>
                  <a:lnTo>
                    <a:pt x="0" y="0"/>
                  </a:lnTo>
                  <a:lnTo>
                    <a:pt x="0" y="0"/>
                  </a:lnTo>
                  <a:lnTo>
                    <a:pt x="0" y="0"/>
                  </a:lnTo>
                  <a:lnTo>
                    <a:pt x="0"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2" name="Freeform 292"/>
            <p:cNvSpPr/>
            <p:nvPr/>
          </p:nvSpPr>
          <p:spPr bwMode="auto">
            <a:xfrm>
              <a:off x="4222220" y="4286033"/>
              <a:ext cx="24574" cy="24574"/>
            </a:xfrm>
            <a:custGeom>
              <a:avLst/>
              <a:gdLst>
                <a:gd name="T0" fmla="*/ 7 w 7"/>
                <a:gd name="T1" fmla="*/ 9 h 9"/>
                <a:gd name="T2" fmla="*/ 7 w 7"/>
                <a:gd name="T3" fmla="*/ 9 h 9"/>
                <a:gd name="T4" fmla="*/ 6 w 7"/>
                <a:gd name="T5" fmla="*/ 8 h 9"/>
                <a:gd name="T6" fmla="*/ 3 w 7"/>
                <a:gd name="T7" fmla="*/ 6 h 9"/>
                <a:gd name="T8" fmla="*/ 0 w 7"/>
                <a:gd name="T9" fmla="*/ 0 h 9"/>
                <a:gd name="T10" fmla="*/ 0 w 7"/>
                <a:gd name="T11" fmla="*/ 0 h 9"/>
                <a:gd name="T12" fmla="*/ 3 w 7"/>
                <a:gd name="T13" fmla="*/ 0 h 9"/>
                <a:gd name="T14" fmla="*/ 5 w 7"/>
                <a:gd name="T15" fmla="*/ 3 h 9"/>
                <a:gd name="T16" fmla="*/ 7 w 7"/>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9"/>
                  </a:moveTo>
                  <a:lnTo>
                    <a:pt x="7" y="9"/>
                  </a:lnTo>
                  <a:lnTo>
                    <a:pt x="6" y="8"/>
                  </a:lnTo>
                  <a:lnTo>
                    <a:pt x="3" y="6"/>
                  </a:lnTo>
                  <a:lnTo>
                    <a:pt x="0" y="0"/>
                  </a:lnTo>
                  <a:lnTo>
                    <a:pt x="0" y="0"/>
                  </a:lnTo>
                  <a:lnTo>
                    <a:pt x="3" y="0"/>
                  </a:lnTo>
                  <a:lnTo>
                    <a:pt x="5" y="3"/>
                  </a:lnTo>
                  <a:lnTo>
                    <a:pt x="7"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3" name="Freeform 293"/>
            <p:cNvSpPr/>
            <p:nvPr/>
          </p:nvSpPr>
          <p:spPr bwMode="auto">
            <a:xfrm>
              <a:off x="4216080" y="4304466"/>
              <a:ext cx="18433" cy="12287"/>
            </a:xfrm>
            <a:custGeom>
              <a:avLst/>
              <a:gdLst>
                <a:gd name="T0" fmla="*/ 6 w 6"/>
                <a:gd name="T1" fmla="*/ 3 h 6"/>
                <a:gd name="T2" fmla="*/ 6 w 6"/>
                <a:gd name="T3" fmla="*/ 3 h 6"/>
                <a:gd name="T4" fmla="*/ 6 w 6"/>
                <a:gd name="T5" fmla="*/ 4 h 6"/>
                <a:gd name="T6" fmla="*/ 6 w 6"/>
                <a:gd name="T7" fmla="*/ 6 h 6"/>
                <a:gd name="T8" fmla="*/ 6 w 6"/>
                <a:gd name="T9" fmla="*/ 6 h 6"/>
                <a:gd name="T10" fmla="*/ 3 w 6"/>
                <a:gd name="T11" fmla="*/ 3 h 6"/>
                <a:gd name="T12" fmla="*/ 0 w 6"/>
                <a:gd name="T13" fmla="*/ 0 h 6"/>
                <a:gd name="T14" fmla="*/ 0 w 6"/>
                <a:gd name="T15" fmla="*/ 0 h 6"/>
                <a:gd name="T16" fmla="*/ 1 w 6"/>
                <a:gd name="T17" fmla="*/ 0 h 6"/>
                <a:gd name="T18" fmla="*/ 3 w 6"/>
                <a:gd name="T19" fmla="*/ 0 h 6"/>
                <a:gd name="T20" fmla="*/ 6 w 6"/>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6" y="3"/>
                  </a:moveTo>
                  <a:lnTo>
                    <a:pt x="6" y="3"/>
                  </a:lnTo>
                  <a:lnTo>
                    <a:pt x="6" y="4"/>
                  </a:lnTo>
                  <a:lnTo>
                    <a:pt x="6" y="6"/>
                  </a:lnTo>
                  <a:lnTo>
                    <a:pt x="6" y="6"/>
                  </a:lnTo>
                  <a:lnTo>
                    <a:pt x="3" y="3"/>
                  </a:lnTo>
                  <a:lnTo>
                    <a:pt x="0" y="0"/>
                  </a:lnTo>
                  <a:lnTo>
                    <a:pt x="0" y="0"/>
                  </a:lnTo>
                  <a:lnTo>
                    <a:pt x="1" y="0"/>
                  </a:lnTo>
                  <a:lnTo>
                    <a:pt x="3" y="0"/>
                  </a:lnTo>
                  <a:lnTo>
                    <a:pt x="6"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4" name="Freeform 294"/>
            <p:cNvSpPr/>
            <p:nvPr/>
          </p:nvSpPr>
          <p:spPr bwMode="auto">
            <a:xfrm>
              <a:off x="3700022" y="3647106"/>
              <a:ext cx="6145" cy="12287"/>
            </a:xfrm>
            <a:custGeom>
              <a:avLst/>
              <a:gdLst>
                <a:gd name="T0" fmla="*/ 2 w 3"/>
                <a:gd name="T1" fmla="*/ 2 h 5"/>
                <a:gd name="T2" fmla="*/ 2 w 3"/>
                <a:gd name="T3" fmla="*/ 2 h 5"/>
                <a:gd name="T4" fmla="*/ 3 w 3"/>
                <a:gd name="T5" fmla="*/ 5 h 5"/>
                <a:gd name="T6" fmla="*/ 0 w 3"/>
                <a:gd name="T7" fmla="*/ 0 h 5"/>
                <a:gd name="T8" fmla="*/ 0 w 3"/>
                <a:gd name="T9" fmla="*/ 0 h 5"/>
                <a:gd name="T10" fmla="*/ 0 w 3"/>
                <a:gd name="T11" fmla="*/ 0 h 5"/>
                <a:gd name="T12" fmla="*/ 0 w 3"/>
                <a:gd name="T13" fmla="*/ 0 h 5"/>
                <a:gd name="T14" fmla="*/ 2 w 3"/>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2" y="2"/>
                  </a:moveTo>
                  <a:lnTo>
                    <a:pt x="2" y="2"/>
                  </a:lnTo>
                  <a:lnTo>
                    <a:pt x="3" y="5"/>
                  </a:lnTo>
                  <a:lnTo>
                    <a:pt x="0" y="0"/>
                  </a:lnTo>
                  <a:lnTo>
                    <a:pt x="0" y="0"/>
                  </a:lnTo>
                  <a:lnTo>
                    <a:pt x="0" y="0"/>
                  </a:lnTo>
                  <a:lnTo>
                    <a:pt x="0" y="0"/>
                  </a:lnTo>
                  <a:lnTo>
                    <a:pt x="2"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5" name="Freeform 295"/>
            <p:cNvSpPr/>
            <p:nvPr/>
          </p:nvSpPr>
          <p:spPr bwMode="auto">
            <a:xfrm>
              <a:off x="3650874" y="3610246"/>
              <a:ext cx="6145" cy="12287"/>
            </a:xfrm>
            <a:custGeom>
              <a:avLst/>
              <a:gdLst>
                <a:gd name="T0" fmla="*/ 3 w 3"/>
                <a:gd name="T1" fmla="*/ 2 h 4"/>
                <a:gd name="T2" fmla="*/ 3 w 3"/>
                <a:gd name="T3" fmla="*/ 2 h 4"/>
                <a:gd name="T4" fmla="*/ 2 w 3"/>
                <a:gd name="T5" fmla="*/ 2 h 4"/>
                <a:gd name="T6" fmla="*/ 2 w 3"/>
                <a:gd name="T7" fmla="*/ 2 h 4"/>
                <a:gd name="T8" fmla="*/ 2 w 3"/>
                <a:gd name="T9" fmla="*/ 4 h 4"/>
                <a:gd name="T10" fmla="*/ 2 w 3"/>
                <a:gd name="T11" fmla="*/ 4 h 4"/>
                <a:gd name="T12" fmla="*/ 0 w 3"/>
                <a:gd name="T13" fmla="*/ 0 h 4"/>
                <a:gd name="T14" fmla="*/ 0 w 3"/>
                <a:gd name="T15" fmla="*/ 0 h 4"/>
                <a:gd name="T16" fmla="*/ 0 w 3"/>
                <a:gd name="T17" fmla="*/ 0 h 4"/>
                <a:gd name="T18" fmla="*/ 0 w 3"/>
                <a:gd name="T19" fmla="*/ 0 h 4"/>
                <a:gd name="T20" fmla="*/ 3 w 3"/>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4">
                  <a:moveTo>
                    <a:pt x="3" y="2"/>
                  </a:moveTo>
                  <a:lnTo>
                    <a:pt x="3" y="2"/>
                  </a:lnTo>
                  <a:lnTo>
                    <a:pt x="2" y="2"/>
                  </a:lnTo>
                  <a:lnTo>
                    <a:pt x="2" y="2"/>
                  </a:lnTo>
                  <a:lnTo>
                    <a:pt x="2" y="4"/>
                  </a:lnTo>
                  <a:lnTo>
                    <a:pt x="2" y="4"/>
                  </a:lnTo>
                  <a:lnTo>
                    <a:pt x="0" y="0"/>
                  </a:lnTo>
                  <a:lnTo>
                    <a:pt x="0" y="0"/>
                  </a:lnTo>
                  <a:lnTo>
                    <a:pt x="0" y="0"/>
                  </a:lnTo>
                  <a:lnTo>
                    <a:pt x="0" y="0"/>
                  </a:lnTo>
                  <a:lnTo>
                    <a:pt x="3"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6" name="Freeform 296"/>
            <p:cNvSpPr/>
            <p:nvPr/>
          </p:nvSpPr>
          <p:spPr bwMode="auto">
            <a:xfrm>
              <a:off x="4240653" y="4501058"/>
              <a:ext cx="18433" cy="18429"/>
            </a:xfrm>
            <a:custGeom>
              <a:avLst/>
              <a:gdLst>
                <a:gd name="T0" fmla="*/ 6 w 6"/>
                <a:gd name="T1" fmla="*/ 0 h 6"/>
                <a:gd name="T2" fmla="*/ 6 w 6"/>
                <a:gd name="T3" fmla="*/ 0 h 6"/>
                <a:gd name="T4" fmla="*/ 6 w 6"/>
                <a:gd name="T5" fmla="*/ 3 h 6"/>
                <a:gd name="T6" fmla="*/ 4 w 6"/>
                <a:gd name="T7" fmla="*/ 5 h 6"/>
                <a:gd name="T8" fmla="*/ 0 w 6"/>
                <a:gd name="T9" fmla="*/ 6 h 6"/>
                <a:gd name="T10" fmla="*/ 0 w 6"/>
                <a:gd name="T11" fmla="*/ 6 h 6"/>
                <a:gd name="T12" fmla="*/ 0 w 6"/>
                <a:gd name="T13" fmla="*/ 3 h 6"/>
                <a:gd name="T14" fmla="*/ 1 w 6"/>
                <a:gd name="T15" fmla="*/ 2 h 6"/>
                <a:gd name="T16" fmla="*/ 1 w 6"/>
                <a:gd name="T17" fmla="*/ 2 h 6"/>
                <a:gd name="T18" fmla="*/ 3 w 6"/>
                <a:gd name="T19" fmla="*/ 2 h 6"/>
                <a:gd name="T20" fmla="*/ 6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6" y="0"/>
                  </a:moveTo>
                  <a:lnTo>
                    <a:pt x="6" y="0"/>
                  </a:lnTo>
                  <a:lnTo>
                    <a:pt x="6" y="3"/>
                  </a:lnTo>
                  <a:lnTo>
                    <a:pt x="4" y="5"/>
                  </a:lnTo>
                  <a:lnTo>
                    <a:pt x="0" y="6"/>
                  </a:lnTo>
                  <a:lnTo>
                    <a:pt x="0" y="6"/>
                  </a:lnTo>
                  <a:lnTo>
                    <a:pt x="0" y="3"/>
                  </a:lnTo>
                  <a:lnTo>
                    <a:pt x="1" y="2"/>
                  </a:lnTo>
                  <a:lnTo>
                    <a:pt x="1" y="2"/>
                  </a:lnTo>
                  <a:lnTo>
                    <a:pt x="3" y="2"/>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7" name="Freeform 297"/>
            <p:cNvSpPr/>
            <p:nvPr/>
          </p:nvSpPr>
          <p:spPr bwMode="auto">
            <a:xfrm>
              <a:off x="3626300" y="3585671"/>
              <a:ext cx="12287" cy="12287"/>
            </a:xfrm>
            <a:custGeom>
              <a:avLst/>
              <a:gdLst>
                <a:gd name="T0" fmla="*/ 2 w 3"/>
                <a:gd name="T1" fmla="*/ 0 h 6"/>
                <a:gd name="T2" fmla="*/ 2 w 3"/>
                <a:gd name="T3" fmla="*/ 0 h 6"/>
                <a:gd name="T4" fmla="*/ 3 w 3"/>
                <a:gd name="T5" fmla="*/ 3 h 6"/>
                <a:gd name="T6" fmla="*/ 3 w 3"/>
                <a:gd name="T7" fmla="*/ 4 h 6"/>
                <a:gd name="T8" fmla="*/ 3 w 3"/>
                <a:gd name="T9" fmla="*/ 6 h 6"/>
                <a:gd name="T10" fmla="*/ 3 w 3"/>
                <a:gd name="T11" fmla="*/ 6 h 6"/>
                <a:gd name="T12" fmla="*/ 0 w 3"/>
                <a:gd name="T13" fmla="*/ 0 h 6"/>
                <a:gd name="T14" fmla="*/ 0 w 3"/>
                <a:gd name="T15" fmla="*/ 0 h 6"/>
                <a:gd name="T16" fmla="*/ 0 w 3"/>
                <a:gd name="T17" fmla="*/ 0 h 6"/>
                <a:gd name="T18" fmla="*/ 2 w 3"/>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2" y="0"/>
                  </a:moveTo>
                  <a:lnTo>
                    <a:pt x="2" y="0"/>
                  </a:lnTo>
                  <a:lnTo>
                    <a:pt x="3" y="3"/>
                  </a:lnTo>
                  <a:lnTo>
                    <a:pt x="3" y="4"/>
                  </a:lnTo>
                  <a:lnTo>
                    <a:pt x="3" y="6"/>
                  </a:lnTo>
                  <a:lnTo>
                    <a:pt x="3" y="6"/>
                  </a:lnTo>
                  <a:lnTo>
                    <a:pt x="0" y="0"/>
                  </a:lnTo>
                  <a:lnTo>
                    <a:pt x="0" y="0"/>
                  </a:lnTo>
                  <a:lnTo>
                    <a:pt x="0" y="0"/>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05" name="Freeform 305"/>
            <p:cNvSpPr/>
            <p:nvPr/>
          </p:nvSpPr>
          <p:spPr bwMode="auto">
            <a:xfrm>
              <a:off x="3958051" y="4623929"/>
              <a:ext cx="49148" cy="49148"/>
            </a:xfrm>
            <a:custGeom>
              <a:avLst/>
              <a:gdLst>
                <a:gd name="T0" fmla="*/ 17 w 17"/>
                <a:gd name="T1" fmla="*/ 0 h 17"/>
                <a:gd name="T2" fmla="*/ 17 w 17"/>
                <a:gd name="T3" fmla="*/ 0 h 17"/>
                <a:gd name="T4" fmla="*/ 13 w 17"/>
                <a:gd name="T5" fmla="*/ 6 h 17"/>
                <a:gd name="T6" fmla="*/ 10 w 17"/>
                <a:gd name="T7" fmla="*/ 10 h 17"/>
                <a:gd name="T8" fmla="*/ 10 w 17"/>
                <a:gd name="T9" fmla="*/ 10 h 17"/>
                <a:gd name="T10" fmla="*/ 6 w 17"/>
                <a:gd name="T11" fmla="*/ 13 h 17"/>
                <a:gd name="T12" fmla="*/ 6 w 17"/>
                <a:gd name="T13" fmla="*/ 13 h 17"/>
                <a:gd name="T14" fmla="*/ 5 w 17"/>
                <a:gd name="T15" fmla="*/ 15 h 17"/>
                <a:gd name="T16" fmla="*/ 5 w 17"/>
                <a:gd name="T17" fmla="*/ 15 h 17"/>
                <a:gd name="T18" fmla="*/ 5 w 17"/>
                <a:gd name="T19" fmla="*/ 15 h 17"/>
                <a:gd name="T20" fmla="*/ 3 w 17"/>
                <a:gd name="T21" fmla="*/ 16 h 17"/>
                <a:gd name="T22" fmla="*/ 3 w 17"/>
                <a:gd name="T23" fmla="*/ 16 h 17"/>
                <a:gd name="T24" fmla="*/ 3 w 17"/>
                <a:gd name="T25" fmla="*/ 16 h 17"/>
                <a:gd name="T26" fmla="*/ 3 w 17"/>
                <a:gd name="T27" fmla="*/ 16 h 17"/>
                <a:gd name="T28" fmla="*/ 3 w 17"/>
                <a:gd name="T29" fmla="*/ 16 h 17"/>
                <a:gd name="T30" fmla="*/ 3 w 17"/>
                <a:gd name="T31" fmla="*/ 16 h 17"/>
                <a:gd name="T32" fmla="*/ 3 w 17"/>
                <a:gd name="T33" fmla="*/ 16 h 17"/>
                <a:gd name="T34" fmla="*/ 3 w 17"/>
                <a:gd name="T35" fmla="*/ 16 h 17"/>
                <a:gd name="T36" fmla="*/ 3 w 17"/>
                <a:gd name="T37" fmla="*/ 16 h 17"/>
                <a:gd name="T38" fmla="*/ 3 w 17"/>
                <a:gd name="T39" fmla="*/ 16 h 17"/>
                <a:gd name="T40" fmla="*/ 0 w 17"/>
                <a:gd name="T41" fmla="*/ 17 h 17"/>
                <a:gd name="T42" fmla="*/ 0 w 17"/>
                <a:gd name="T43" fmla="*/ 17 h 17"/>
                <a:gd name="T44" fmla="*/ 0 w 17"/>
                <a:gd name="T45" fmla="*/ 16 h 17"/>
                <a:gd name="T46" fmla="*/ 2 w 17"/>
                <a:gd name="T47" fmla="*/ 15 h 17"/>
                <a:gd name="T48" fmla="*/ 2 w 17"/>
                <a:gd name="T49" fmla="*/ 13 h 17"/>
                <a:gd name="T50" fmla="*/ 2 w 17"/>
                <a:gd name="T51" fmla="*/ 10 h 17"/>
                <a:gd name="T52" fmla="*/ 2 w 17"/>
                <a:gd name="T53" fmla="*/ 10 h 17"/>
                <a:gd name="T54" fmla="*/ 2 w 17"/>
                <a:gd name="T55" fmla="*/ 10 h 17"/>
                <a:gd name="T56" fmla="*/ 2 w 17"/>
                <a:gd name="T57" fmla="*/ 10 h 17"/>
                <a:gd name="T58" fmla="*/ 2 w 17"/>
                <a:gd name="T59" fmla="*/ 10 h 17"/>
                <a:gd name="T60" fmla="*/ 2 w 17"/>
                <a:gd name="T61" fmla="*/ 10 h 17"/>
                <a:gd name="T62" fmla="*/ 2 w 17"/>
                <a:gd name="T63" fmla="*/ 10 h 17"/>
                <a:gd name="T64" fmla="*/ 3 w 17"/>
                <a:gd name="T65" fmla="*/ 10 h 17"/>
                <a:gd name="T66" fmla="*/ 3 w 17"/>
                <a:gd name="T67" fmla="*/ 10 h 17"/>
                <a:gd name="T68" fmla="*/ 3 w 17"/>
                <a:gd name="T69" fmla="*/ 10 h 17"/>
                <a:gd name="T70" fmla="*/ 3 w 17"/>
                <a:gd name="T71" fmla="*/ 10 h 17"/>
                <a:gd name="T72" fmla="*/ 6 w 17"/>
                <a:gd name="T73" fmla="*/ 9 h 17"/>
                <a:gd name="T74" fmla="*/ 6 w 17"/>
                <a:gd name="T75" fmla="*/ 9 h 17"/>
                <a:gd name="T76" fmla="*/ 10 w 17"/>
                <a:gd name="T77" fmla="*/ 6 h 17"/>
                <a:gd name="T78" fmla="*/ 10 w 17"/>
                <a:gd name="T79" fmla="*/ 6 h 17"/>
                <a:gd name="T80" fmla="*/ 17 w 17"/>
                <a:gd name="T8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 h="17">
                  <a:moveTo>
                    <a:pt x="17" y="0"/>
                  </a:moveTo>
                  <a:lnTo>
                    <a:pt x="17" y="0"/>
                  </a:lnTo>
                  <a:lnTo>
                    <a:pt x="13" y="6"/>
                  </a:lnTo>
                  <a:lnTo>
                    <a:pt x="10" y="10"/>
                  </a:lnTo>
                  <a:lnTo>
                    <a:pt x="10" y="10"/>
                  </a:lnTo>
                  <a:lnTo>
                    <a:pt x="6" y="13"/>
                  </a:lnTo>
                  <a:lnTo>
                    <a:pt x="6" y="13"/>
                  </a:lnTo>
                  <a:lnTo>
                    <a:pt x="5" y="15"/>
                  </a:lnTo>
                  <a:lnTo>
                    <a:pt x="5" y="15"/>
                  </a:lnTo>
                  <a:lnTo>
                    <a:pt x="5" y="15"/>
                  </a:lnTo>
                  <a:lnTo>
                    <a:pt x="3" y="16"/>
                  </a:lnTo>
                  <a:lnTo>
                    <a:pt x="3" y="16"/>
                  </a:lnTo>
                  <a:lnTo>
                    <a:pt x="3" y="16"/>
                  </a:lnTo>
                  <a:lnTo>
                    <a:pt x="3" y="16"/>
                  </a:lnTo>
                  <a:lnTo>
                    <a:pt x="3" y="16"/>
                  </a:lnTo>
                  <a:lnTo>
                    <a:pt x="3" y="16"/>
                  </a:lnTo>
                  <a:lnTo>
                    <a:pt x="3" y="16"/>
                  </a:lnTo>
                  <a:lnTo>
                    <a:pt x="3" y="16"/>
                  </a:lnTo>
                  <a:lnTo>
                    <a:pt x="3" y="16"/>
                  </a:lnTo>
                  <a:lnTo>
                    <a:pt x="3" y="16"/>
                  </a:lnTo>
                  <a:lnTo>
                    <a:pt x="0" y="17"/>
                  </a:lnTo>
                  <a:lnTo>
                    <a:pt x="0" y="17"/>
                  </a:lnTo>
                  <a:lnTo>
                    <a:pt x="0" y="16"/>
                  </a:lnTo>
                  <a:lnTo>
                    <a:pt x="2" y="15"/>
                  </a:lnTo>
                  <a:lnTo>
                    <a:pt x="2" y="13"/>
                  </a:lnTo>
                  <a:lnTo>
                    <a:pt x="2" y="10"/>
                  </a:lnTo>
                  <a:lnTo>
                    <a:pt x="2" y="10"/>
                  </a:lnTo>
                  <a:lnTo>
                    <a:pt x="2" y="10"/>
                  </a:lnTo>
                  <a:lnTo>
                    <a:pt x="2" y="10"/>
                  </a:lnTo>
                  <a:lnTo>
                    <a:pt x="2" y="10"/>
                  </a:lnTo>
                  <a:lnTo>
                    <a:pt x="2" y="10"/>
                  </a:lnTo>
                  <a:lnTo>
                    <a:pt x="2" y="10"/>
                  </a:lnTo>
                  <a:lnTo>
                    <a:pt x="3" y="10"/>
                  </a:lnTo>
                  <a:lnTo>
                    <a:pt x="3" y="10"/>
                  </a:lnTo>
                  <a:lnTo>
                    <a:pt x="3" y="10"/>
                  </a:lnTo>
                  <a:lnTo>
                    <a:pt x="3" y="10"/>
                  </a:lnTo>
                  <a:lnTo>
                    <a:pt x="6" y="9"/>
                  </a:lnTo>
                  <a:lnTo>
                    <a:pt x="6" y="9"/>
                  </a:lnTo>
                  <a:lnTo>
                    <a:pt x="10" y="6"/>
                  </a:lnTo>
                  <a:lnTo>
                    <a:pt x="10" y="6"/>
                  </a:lnTo>
                  <a:lnTo>
                    <a:pt x="1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09" name="Freeform 309"/>
            <p:cNvSpPr/>
            <p:nvPr/>
          </p:nvSpPr>
          <p:spPr bwMode="auto">
            <a:xfrm>
              <a:off x="3577152" y="3647106"/>
              <a:ext cx="6145" cy="12287"/>
            </a:xfrm>
            <a:custGeom>
              <a:avLst/>
              <a:gdLst>
                <a:gd name="T0" fmla="*/ 0 w 3"/>
                <a:gd name="T1" fmla="*/ 2 h 5"/>
                <a:gd name="T2" fmla="*/ 0 w 3"/>
                <a:gd name="T3" fmla="*/ 2 h 5"/>
                <a:gd name="T4" fmla="*/ 2 w 3"/>
                <a:gd name="T5" fmla="*/ 5 h 5"/>
                <a:gd name="T6" fmla="*/ 3 w 3"/>
                <a:gd name="T7" fmla="*/ 5 h 5"/>
                <a:gd name="T8" fmla="*/ 3 w 3"/>
                <a:gd name="T9" fmla="*/ 5 h 5"/>
                <a:gd name="T10" fmla="*/ 0 w 3"/>
                <a:gd name="T11" fmla="*/ 0 h 5"/>
                <a:gd name="T12" fmla="*/ 0 w 3"/>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0" y="2"/>
                  </a:moveTo>
                  <a:lnTo>
                    <a:pt x="0" y="2"/>
                  </a:lnTo>
                  <a:lnTo>
                    <a:pt x="2" y="5"/>
                  </a:lnTo>
                  <a:lnTo>
                    <a:pt x="3" y="5"/>
                  </a:lnTo>
                  <a:lnTo>
                    <a:pt x="3" y="5"/>
                  </a:lnTo>
                  <a:lnTo>
                    <a:pt x="0" y="0"/>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11" name="Freeform 311"/>
            <p:cNvSpPr/>
            <p:nvPr/>
          </p:nvSpPr>
          <p:spPr bwMode="auto">
            <a:xfrm>
              <a:off x="3792173" y="4617782"/>
              <a:ext cx="30720" cy="24574"/>
            </a:xfrm>
            <a:custGeom>
              <a:avLst/>
              <a:gdLst>
                <a:gd name="T0" fmla="*/ 10 w 10"/>
                <a:gd name="T1" fmla="*/ 0 h 8"/>
                <a:gd name="T2" fmla="*/ 10 w 10"/>
                <a:gd name="T3" fmla="*/ 0 h 8"/>
                <a:gd name="T4" fmla="*/ 10 w 10"/>
                <a:gd name="T5" fmla="*/ 4 h 8"/>
                <a:gd name="T6" fmla="*/ 7 w 10"/>
                <a:gd name="T7" fmla="*/ 6 h 8"/>
                <a:gd name="T8" fmla="*/ 0 w 10"/>
                <a:gd name="T9" fmla="*/ 8 h 8"/>
                <a:gd name="T10" fmla="*/ 0 w 10"/>
                <a:gd name="T11" fmla="*/ 8 h 8"/>
                <a:gd name="T12" fmla="*/ 2 w 10"/>
                <a:gd name="T13" fmla="*/ 3 h 8"/>
                <a:gd name="T14" fmla="*/ 3 w 10"/>
                <a:gd name="T15" fmla="*/ 1 h 8"/>
                <a:gd name="T16" fmla="*/ 6 w 10"/>
                <a:gd name="T17" fmla="*/ 0 h 8"/>
                <a:gd name="T18" fmla="*/ 10 w 10"/>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
                  <a:moveTo>
                    <a:pt x="10" y="0"/>
                  </a:moveTo>
                  <a:lnTo>
                    <a:pt x="10" y="0"/>
                  </a:lnTo>
                  <a:lnTo>
                    <a:pt x="10" y="4"/>
                  </a:lnTo>
                  <a:lnTo>
                    <a:pt x="7" y="6"/>
                  </a:lnTo>
                  <a:lnTo>
                    <a:pt x="0" y="8"/>
                  </a:lnTo>
                  <a:lnTo>
                    <a:pt x="0" y="8"/>
                  </a:lnTo>
                  <a:lnTo>
                    <a:pt x="2" y="3"/>
                  </a:lnTo>
                  <a:lnTo>
                    <a:pt x="3" y="1"/>
                  </a:lnTo>
                  <a:lnTo>
                    <a:pt x="6" y="0"/>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12" name="Freeform 312"/>
            <p:cNvSpPr/>
            <p:nvPr/>
          </p:nvSpPr>
          <p:spPr bwMode="auto">
            <a:xfrm>
              <a:off x="3767599" y="4660790"/>
              <a:ext cx="24574" cy="18429"/>
            </a:xfrm>
            <a:custGeom>
              <a:avLst/>
              <a:gdLst>
                <a:gd name="T0" fmla="*/ 7 w 7"/>
                <a:gd name="T1" fmla="*/ 0 h 6"/>
                <a:gd name="T2" fmla="*/ 7 w 7"/>
                <a:gd name="T3" fmla="*/ 0 h 6"/>
                <a:gd name="T4" fmla="*/ 7 w 7"/>
                <a:gd name="T5" fmla="*/ 3 h 6"/>
                <a:gd name="T6" fmla="*/ 6 w 7"/>
                <a:gd name="T7" fmla="*/ 4 h 6"/>
                <a:gd name="T8" fmla="*/ 1 w 7"/>
                <a:gd name="T9" fmla="*/ 6 h 6"/>
                <a:gd name="T10" fmla="*/ 1 w 7"/>
                <a:gd name="T11" fmla="*/ 6 h 6"/>
                <a:gd name="T12" fmla="*/ 0 w 7"/>
                <a:gd name="T13" fmla="*/ 4 h 6"/>
                <a:gd name="T14" fmla="*/ 0 w 7"/>
                <a:gd name="T15" fmla="*/ 4 h 6"/>
                <a:gd name="T16" fmla="*/ 4 w 7"/>
                <a:gd name="T17" fmla="*/ 3 h 6"/>
                <a:gd name="T18" fmla="*/ 4 w 7"/>
                <a:gd name="T19" fmla="*/ 3 h 6"/>
                <a:gd name="T20" fmla="*/ 4 w 7"/>
                <a:gd name="T21" fmla="*/ 2 h 6"/>
                <a:gd name="T22" fmla="*/ 7 w 7"/>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6">
                  <a:moveTo>
                    <a:pt x="7" y="0"/>
                  </a:moveTo>
                  <a:lnTo>
                    <a:pt x="7" y="0"/>
                  </a:lnTo>
                  <a:lnTo>
                    <a:pt x="7" y="3"/>
                  </a:lnTo>
                  <a:lnTo>
                    <a:pt x="6" y="4"/>
                  </a:lnTo>
                  <a:lnTo>
                    <a:pt x="1" y="6"/>
                  </a:lnTo>
                  <a:lnTo>
                    <a:pt x="1" y="6"/>
                  </a:lnTo>
                  <a:lnTo>
                    <a:pt x="0" y="4"/>
                  </a:lnTo>
                  <a:lnTo>
                    <a:pt x="0" y="4"/>
                  </a:lnTo>
                  <a:lnTo>
                    <a:pt x="4" y="3"/>
                  </a:lnTo>
                  <a:lnTo>
                    <a:pt x="4" y="3"/>
                  </a:lnTo>
                  <a:lnTo>
                    <a:pt x="4" y="2"/>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20" name="Freeform 320"/>
            <p:cNvSpPr/>
            <p:nvPr/>
          </p:nvSpPr>
          <p:spPr bwMode="auto">
            <a:xfrm>
              <a:off x="3528004" y="3640964"/>
              <a:ext cx="12287" cy="18429"/>
            </a:xfrm>
            <a:custGeom>
              <a:avLst/>
              <a:gdLst>
                <a:gd name="T0" fmla="*/ 3 w 3"/>
                <a:gd name="T1" fmla="*/ 0 h 5"/>
                <a:gd name="T2" fmla="*/ 3 w 3"/>
                <a:gd name="T3" fmla="*/ 0 h 5"/>
                <a:gd name="T4" fmla="*/ 3 w 3"/>
                <a:gd name="T5" fmla="*/ 5 h 5"/>
                <a:gd name="T6" fmla="*/ 3 w 3"/>
                <a:gd name="T7" fmla="*/ 5 h 5"/>
                <a:gd name="T8" fmla="*/ 1 w 3"/>
                <a:gd name="T9" fmla="*/ 2 h 5"/>
                <a:gd name="T10" fmla="*/ 0 w 3"/>
                <a:gd name="T11" fmla="*/ 2 h 5"/>
                <a:gd name="T12" fmla="*/ 0 w 3"/>
                <a:gd name="T13" fmla="*/ 2 h 5"/>
                <a:gd name="T14" fmla="*/ 1 w 3"/>
                <a:gd name="T15" fmla="*/ 0 h 5"/>
                <a:gd name="T16" fmla="*/ 3 w 3"/>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5">
                  <a:moveTo>
                    <a:pt x="3" y="0"/>
                  </a:moveTo>
                  <a:lnTo>
                    <a:pt x="3" y="0"/>
                  </a:lnTo>
                  <a:lnTo>
                    <a:pt x="3" y="5"/>
                  </a:lnTo>
                  <a:lnTo>
                    <a:pt x="3" y="5"/>
                  </a:lnTo>
                  <a:lnTo>
                    <a:pt x="1" y="2"/>
                  </a:lnTo>
                  <a:lnTo>
                    <a:pt x="0" y="2"/>
                  </a:lnTo>
                  <a:lnTo>
                    <a:pt x="0" y="2"/>
                  </a:lnTo>
                  <a:lnTo>
                    <a:pt x="1" y="0"/>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23" name="Freeform 323"/>
            <p:cNvSpPr/>
            <p:nvPr/>
          </p:nvSpPr>
          <p:spPr bwMode="auto">
            <a:xfrm>
              <a:off x="3528004" y="3640964"/>
              <a:ext cx="0" cy="18429"/>
            </a:xfrm>
            <a:custGeom>
              <a:avLst/>
              <a:gdLst>
                <a:gd name="T0" fmla="*/ 1 w 1"/>
                <a:gd name="T1" fmla="*/ 1 h 5"/>
                <a:gd name="T2" fmla="*/ 1 w 1"/>
                <a:gd name="T3" fmla="*/ 1 h 5"/>
                <a:gd name="T4" fmla="*/ 1 w 1"/>
                <a:gd name="T5" fmla="*/ 5 h 5"/>
                <a:gd name="T6" fmla="*/ 0 w 1"/>
                <a:gd name="T7" fmla="*/ 2 h 5"/>
                <a:gd name="T8" fmla="*/ 0 w 1"/>
                <a:gd name="T9" fmla="*/ 2 h 5"/>
                <a:gd name="T10" fmla="*/ 1 w 1"/>
                <a:gd name="T11" fmla="*/ 0 h 5"/>
                <a:gd name="T12" fmla="*/ 1 w 1"/>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 h="5">
                  <a:moveTo>
                    <a:pt x="1" y="1"/>
                  </a:moveTo>
                  <a:lnTo>
                    <a:pt x="1" y="1"/>
                  </a:lnTo>
                  <a:lnTo>
                    <a:pt x="1" y="5"/>
                  </a:lnTo>
                  <a:lnTo>
                    <a:pt x="0" y="2"/>
                  </a:lnTo>
                  <a:lnTo>
                    <a:pt x="0" y="2"/>
                  </a:lnTo>
                  <a:lnTo>
                    <a:pt x="1" y="0"/>
                  </a:lnTo>
                  <a:lnTo>
                    <a:pt x="1"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28" name="Freeform 328"/>
            <p:cNvSpPr/>
            <p:nvPr/>
          </p:nvSpPr>
          <p:spPr bwMode="auto">
            <a:xfrm>
              <a:off x="3497284" y="3579529"/>
              <a:ext cx="6145" cy="18429"/>
            </a:xfrm>
            <a:custGeom>
              <a:avLst/>
              <a:gdLst>
                <a:gd name="T0" fmla="*/ 2 w 2"/>
                <a:gd name="T1" fmla="*/ 1 h 5"/>
                <a:gd name="T2" fmla="*/ 2 w 2"/>
                <a:gd name="T3" fmla="*/ 1 h 5"/>
                <a:gd name="T4" fmla="*/ 1 w 2"/>
                <a:gd name="T5" fmla="*/ 5 h 5"/>
                <a:gd name="T6" fmla="*/ 1 w 2"/>
                <a:gd name="T7" fmla="*/ 5 h 5"/>
                <a:gd name="T8" fmla="*/ 1 w 2"/>
                <a:gd name="T9" fmla="*/ 5 h 5"/>
                <a:gd name="T10" fmla="*/ 1 w 2"/>
                <a:gd name="T11" fmla="*/ 4 h 5"/>
                <a:gd name="T12" fmla="*/ 0 w 2"/>
                <a:gd name="T13" fmla="*/ 4 h 5"/>
                <a:gd name="T14" fmla="*/ 0 w 2"/>
                <a:gd name="T15" fmla="*/ 4 h 5"/>
                <a:gd name="T16" fmla="*/ 2 w 2"/>
                <a:gd name="T17" fmla="*/ 0 h 5"/>
                <a:gd name="T18" fmla="*/ 2 w 2"/>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5">
                  <a:moveTo>
                    <a:pt x="2" y="1"/>
                  </a:moveTo>
                  <a:lnTo>
                    <a:pt x="2" y="1"/>
                  </a:lnTo>
                  <a:lnTo>
                    <a:pt x="1" y="5"/>
                  </a:lnTo>
                  <a:lnTo>
                    <a:pt x="1" y="5"/>
                  </a:lnTo>
                  <a:lnTo>
                    <a:pt x="1" y="5"/>
                  </a:lnTo>
                  <a:lnTo>
                    <a:pt x="1" y="4"/>
                  </a:lnTo>
                  <a:lnTo>
                    <a:pt x="0" y="4"/>
                  </a:lnTo>
                  <a:lnTo>
                    <a:pt x="0" y="4"/>
                  </a:lnTo>
                  <a:lnTo>
                    <a:pt x="2" y="0"/>
                  </a:lnTo>
                  <a:lnTo>
                    <a:pt x="2"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30" name="Freeform 330"/>
            <p:cNvSpPr/>
            <p:nvPr/>
          </p:nvSpPr>
          <p:spPr bwMode="auto">
            <a:xfrm>
              <a:off x="3497284" y="3573384"/>
              <a:ext cx="0" cy="12287"/>
            </a:xfrm>
            <a:custGeom>
              <a:avLst/>
              <a:gdLst>
                <a:gd name="T0" fmla="*/ 0 w 1"/>
                <a:gd name="T1" fmla="*/ 4 h 4"/>
                <a:gd name="T2" fmla="*/ 0 w 1"/>
                <a:gd name="T3" fmla="*/ 4 h 4"/>
                <a:gd name="T4" fmla="*/ 0 w 1"/>
                <a:gd name="T5" fmla="*/ 3 h 4"/>
                <a:gd name="T6" fmla="*/ 0 w 1"/>
                <a:gd name="T7" fmla="*/ 3 h 4"/>
                <a:gd name="T8" fmla="*/ 0 w 1"/>
                <a:gd name="T9" fmla="*/ 3 h 4"/>
                <a:gd name="T10" fmla="*/ 1 w 1"/>
                <a:gd name="T11" fmla="*/ 0 h 4"/>
                <a:gd name="T12" fmla="*/ 1 w 1"/>
                <a:gd name="T13" fmla="*/ 0 h 4"/>
                <a:gd name="T14" fmla="*/ 0 w 1"/>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4">
                  <a:moveTo>
                    <a:pt x="0" y="4"/>
                  </a:moveTo>
                  <a:lnTo>
                    <a:pt x="0" y="4"/>
                  </a:lnTo>
                  <a:lnTo>
                    <a:pt x="0" y="3"/>
                  </a:lnTo>
                  <a:lnTo>
                    <a:pt x="0" y="3"/>
                  </a:lnTo>
                  <a:lnTo>
                    <a:pt x="0" y="3"/>
                  </a:lnTo>
                  <a:lnTo>
                    <a:pt x="1" y="0"/>
                  </a:lnTo>
                  <a:lnTo>
                    <a:pt x="1" y="0"/>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34" name="Freeform 334"/>
            <p:cNvSpPr/>
            <p:nvPr/>
          </p:nvSpPr>
          <p:spPr bwMode="auto">
            <a:xfrm>
              <a:off x="3528004" y="3481232"/>
              <a:ext cx="0" cy="6142"/>
            </a:xfrm>
            <a:custGeom>
              <a:avLst/>
              <a:gdLst>
                <a:gd name="T0" fmla="*/ 1 w 1"/>
                <a:gd name="T1" fmla="*/ 0 h 2"/>
                <a:gd name="T2" fmla="*/ 1 w 1"/>
                <a:gd name="T3" fmla="*/ 0 h 2"/>
                <a:gd name="T4" fmla="*/ 0 w 1"/>
                <a:gd name="T5" fmla="*/ 2 h 2"/>
                <a:gd name="T6" fmla="*/ 0 w 1"/>
                <a:gd name="T7" fmla="*/ 2 h 2"/>
                <a:gd name="T8" fmla="*/ 1 w 1"/>
                <a:gd name="T9" fmla="*/ 0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lnTo>
                    <a:pt x="1" y="0"/>
                  </a:lnTo>
                  <a:lnTo>
                    <a:pt x="0" y="2"/>
                  </a:lnTo>
                  <a:lnTo>
                    <a:pt x="0" y="2"/>
                  </a:lnTo>
                  <a:lnTo>
                    <a:pt x="1"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37" name="Freeform 337"/>
            <p:cNvSpPr/>
            <p:nvPr/>
          </p:nvSpPr>
          <p:spPr bwMode="auto">
            <a:xfrm>
              <a:off x="3528004" y="3475087"/>
              <a:ext cx="6145" cy="6142"/>
            </a:xfrm>
            <a:custGeom>
              <a:avLst/>
              <a:gdLst>
                <a:gd name="T0" fmla="*/ 2 w 2"/>
                <a:gd name="T1" fmla="*/ 0 h 3"/>
                <a:gd name="T2" fmla="*/ 2 w 2"/>
                <a:gd name="T3" fmla="*/ 0 h 3"/>
                <a:gd name="T4" fmla="*/ 0 w 2"/>
                <a:gd name="T5" fmla="*/ 3 h 3"/>
                <a:gd name="T6" fmla="*/ 0 w 2"/>
                <a:gd name="T7" fmla="*/ 3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lnTo>
                    <a:pt x="2" y="0"/>
                  </a:lnTo>
                  <a:lnTo>
                    <a:pt x="0" y="3"/>
                  </a:lnTo>
                  <a:lnTo>
                    <a:pt x="0" y="3"/>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38" name="Freeform 338"/>
            <p:cNvSpPr/>
            <p:nvPr/>
          </p:nvSpPr>
          <p:spPr bwMode="auto">
            <a:xfrm>
              <a:off x="3497284" y="3530381"/>
              <a:ext cx="6145" cy="6142"/>
            </a:xfrm>
            <a:custGeom>
              <a:avLst/>
              <a:gdLst>
                <a:gd name="T0" fmla="*/ 0 w 1"/>
                <a:gd name="T1" fmla="*/ 3 h 3"/>
                <a:gd name="T2" fmla="*/ 0 w 1"/>
                <a:gd name="T3" fmla="*/ 3 h 3"/>
                <a:gd name="T4" fmla="*/ 0 w 1"/>
                <a:gd name="T5" fmla="*/ 3 h 3"/>
                <a:gd name="T6" fmla="*/ 0 w 1"/>
                <a:gd name="T7" fmla="*/ 1 h 3"/>
                <a:gd name="T8" fmla="*/ 0 w 1"/>
                <a:gd name="T9" fmla="*/ 1 h 3"/>
                <a:gd name="T10" fmla="*/ 1 w 1"/>
                <a:gd name="T11" fmla="*/ 0 h 3"/>
                <a:gd name="T12" fmla="*/ 0 w 1"/>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3"/>
                  </a:moveTo>
                  <a:lnTo>
                    <a:pt x="0" y="3"/>
                  </a:lnTo>
                  <a:lnTo>
                    <a:pt x="0" y="3"/>
                  </a:lnTo>
                  <a:lnTo>
                    <a:pt x="0" y="1"/>
                  </a:lnTo>
                  <a:lnTo>
                    <a:pt x="0" y="1"/>
                  </a:lnTo>
                  <a:lnTo>
                    <a:pt x="1" y="0"/>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39" name="Freeform 339"/>
            <p:cNvSpPr/>
            <p:nvPr/>
          </p:nvSpPr>
          <p:spPr bwMode="auto">
            <a:xfrm>
              <a:off x="3484997" y="3554956"/>
              <a:ext cx="6145" cy="12287"/>
            </a:xfrm>
            <a:custGeom>
              <a:avLst/>
              <a:gdLst>
                <a:gd name="T0" fmla="*/ 3 w 3"/>
                <a:gd name="T1" fmla="*/ 1 h 4"/>
                <a:gd name="T2" fmla="*/ 3 w 3"/>
                <a:gd name="T3" fmla="*/ 1 h 4"/>
                <a:gd name="T4" fmla="*/ 0 w 3"/>
                <a:gd name="T5" fmla="*/ 4 h 4"/>
                <a:gd name="T6" fmla="*/ 0 w 3"/>
                <a:gd name="T7" fmla="*/ 4 h 4"/>
                <a:gd name="T8" fmla="*/ 0 w 3"/>
                <a:gd name="T9" fmla="*/ 4 h 4"/>
                <a:gd name="T10" fmla="*/ 3 w 3"/>
                <a:gd name="T11" fmla="*/ 0 h 4"/>
                <a:gd name="T12" fmla="*/ 3 w 3"/>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1"/>
                  </a:moveTo>
                  <a:lnTo>
                    <a:pt x="3" y="1"/>
                  </a:lnTo>
                  <a:lnTo>
                    <a:pt x="0" y="4"/>
                  </a:lnTo>
                  <a:lnTo>
                    <a:pt x="0" y="4"/>
                  </a:lnTo>
                  <a:lnTo>
                    <a:pt x="0" y="4"/>
                  </a:lnTo>
                  <a:lnTo>
                    <a:pt x="3" y="0"/>
                  </a:lnTo>
                  <a:lnTo>
                    <a:pt x="3"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40" name="Freeform 340"/>
            <p:cNvSpPr/>
            <p:nvPr/>
          </p:nvSpPr>
          <p:spPr bwMode="auto">
            <a:xfrm>
              <a:off x="3478856" y="3542669"/>
              <a:ext cx="12287" cy="24574"/>
            </a:xfrm>
            <a:custGeom>
              <a:avLst/>
              <a:gdLst>
                <a:gd name="T0" fmla="*/ 4 w 4"/>
                <a:gd name="T1" fmla="*/ 0 h 9"/>
                <a:gd name="T2" fmla="*/ 4 w 4"/>
                <a:gd name="T3" fmla="*/ 0 h 9"/>
                <a:gd name="T4" fmla="*/ 4 w 4"/>
                <a:gd name="T5" fmla="*/ 2 h 9"/>
                <a:gd name="T6" fmla="*/ 4 w 4"/>
                <a:gd name="T7" fmla="*/ 2 h 9"/>
                <a:gd name="T8" fmla="*/ 3 w 4"/>
                <a:gd name="T9" fmla="*/ 4 h 9"/>
                <a:gd name="T10" fmla="*/ 3 w 4"/>
                <a:gd name="T11" fmla="*/ 4 h 9"/>
                <a:gd name="T12" fmla="*/ 1 w 4"/>
                <a:gd name="T13" fmla="*/ 7 h 9"/>
                <a:gd name="T14" fmla="*/ 1 w 4"/>
                <a:gd name="T15" fmla="*/ 7 h 9"/>
                <a:gd name="T16" fmla="*/ 0 w 4"/>
                <a:gd name="T17" fmla="*/ 9 h 9"/>
                <a:gd name="T18" fmla="*/ 0 w 4"/>
                <a:gd name="T19" fmla="*/ 9 h 9"/>
                <a:gd name="T20" fmla="*/ 0 w 4"/>
                <a:gd name="T21" fmla="*/ 9 h 9"/>
                <a:gd name="T22" fmla="*/ 1 w 4"/>
                <a:gd name="T23" fmla="*/ 6 h 9"/>
                <a:gd name="T24" fmla="*/ 1 w 4"/>
                <a:gd name="T25" fmla="*/ 6 h 9"/>
                <a:gd name="T26" fmla="*/ 4 w 4"/>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9">
                  <a:moveTo>
                    <a:pt x="4" y="0"/>
                  </a:moveTo>
                  <a:lnTo>
                    <a:pt x="4" y="0"/>
                  </a:lnTo>
                  <a:lnTo>
                    <a:pt x="4" y="2"/>
                  </a:lnTo>
                  <a:lnTo>
                    <a:pt x="4" y="2"/>
                  </a:lnTo>
                  <a:lnTo>
                    <a:pt x="3" y="4"/>
                  </a:lnTo>
                  <a:lnTo>
                    <a:pt x="3" y="4"/>
                  </a:lnTo>
                  <a:lnTo>
                    <a:pt x="1" y="7"/>
                  </a:lnTo>
                  <a:lnTo>
                    <a:pt x="1" y="7"/>
                  </a:lnTo>
                  <a:lnTo>
                    <a:pt x="0" y="9"/>
                  </a:lnTo>
                  <a:lnTo>
                    <a:pt x="0" y="9"/>
                  </a:lnTo>
                  <a:lnTo>
                    <a:pt x="0" y="9"/>
                  </a:lnTo>
                  <a:lnTo>
                    <a:pt x="1" y="6"/>
                  </a:lnTo>
                  <a:lnTo>
                    <a:pt x="1" y="6"/>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42" name="Freeform 342"/>
            <p:cNvSpPr/>
            <p:nvPr/>
          </p:nvSpPr>
          <p:spPr bwMode="auto">
            <a:xfrm>
              <a:off x="3540291" y="3444372"/>
              <a:ext cx="6145" cy="18429"/>
            </a:xfrm>
            <a:custGeom>
              <a:avLst/>
              <a:gdLst>
                <a:gd name="T0" fmla="*/ 1 w 3"/>
                <a:gd name="T1" fmla="*/ 1 h 4"/>
                <a:gd name="T2" fmla="*/ 1 w 3"/>
                <a:gd name="T3" fmla="*/ 1 h 4"/>
                <a:gd name="T4" fmla="*/ 0 w 3"/>
                <a:gd name="T5" fmla="*/ 4 h 4"/>
                <a:gd name="T6" fmla="*/ 1 w 3"/>
                <a:gd name="T7" fmla="*/ 1 h 4"/>
                <a:gd name="T8" fmla="*/ 1 w 3"/>
                <a:gd name="T9" fmla="*/ 1 h 4"/>
                <a:gd name="T10" fmla="*/ 3 w 3"/>
                <a:gd name="T11" fmla="*/ 0 h 4"/>
                <a:gd name="T12" fmla="*/ 3 w 3"/>
                <a:gd name="T13" fmla="*/ 0 h 4"/>
                <a:gd name="T14" fmla="*/ 1 w 3"/>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1" y="1"/>
                  </a:moveTo>
                  <a:lnTo>
                    <a:pt x="1" y="1"/>
                  </a:lnTo>
                  <a:lnTo>
                    <a:pt x="0" y="4"/>
                  </a:lnTo>
                  <a:lnTo>
                    <a:pt x="1" y="1"/>
                  </a:lnTo>
                  <a:lnTo>
                    <a:pt x="1" y="1"/>
                  </a:lnTo>
                  <a:lnTo>
                    <a:pt x="3" y="0"/>
                  </a:lnTo>
                  <a:lnTo>
                    <a:pt x="3" y="0"/>
                  </a:lnTo>
                  <a:lnTo>
                    <a:pt x="1"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43" name="Freeform 343"/>
            <p:cNvSpPr/>
            <p:nvPr/>
          </p:nvSpPr>
          <p:spPr bwMode="auto">
            <a:xfrm>
              <a:off x="3478856" y="3536523"/>
              <a:ext cx="12287" cy="24574"/>
            </a:xfrm>
            <a:custGeom>
              <a:avLst/>
              <a:gdLst>
                <a:gd name="T0" fmla="*/ 4 w 4"/>
                <a:gd name="T1" fmla="*/ 0 h 7"/>
                <a:gd name="T2" fmla="*/ 4 w 4"/>
                <a:gd name="T3" fmla="*/ 0 h 7"/>
                <a:gd name="T4" fmla="*/ 0 w 4"/>
                <a:gd name="T5" fmla="*/ 7 h 7"/>
                <a:gd name="T6" fmla="*/ 0 w 4"/>
                <a:gd name="T7" fmla="*/ 7 h 7"/>
                <a:gd name="T8" fmla="*/ 4 w 4"/>
                <a:gd name="T9" fmla="*/ 1 h 7"/>
                <a:gd name="T10" fmla="*/ 4 w 4"/>
                <a:gd name="T11" fmla="*/ 1 h 7"/>
                <a:gd name="T12" fmla="*/ 4 w 4"/>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4" y="0"/>
                  </a:moveTo>
                  <a:lnTo>
                    <a:pt x="4" y="0"/>
                  </a:lnTo>
                  <a:lnTo>
                    <a:pt x="0" y="7"/>
                  </a:lnTo>
                  <a:lnTo>
                    <a:pt x="0" y="7"/>
                  </a:lnTo>
                  <a:lnTo>
                    <a:pt x="4" y="1"/>
                  </a:lnTo>
                  <a:lnTo>
                    <a:pt x="4" y="1"/>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46" name="Freeform 346"/>
            <p:cNvSpPr/>
            <p:nvPr/>
          </p:nvSpPr>
          <p:spPr bwMode="auto">
            <a:xfrm>
              <a:off x="3509571" y="3493520"/>
              <a:ext cx="6145" cy="12287"/>
            </a:xfrm>
            <a:custGeom>
              <a:avLst/>
              <a:gdLst>
                <a:gd name="T0" fmla="*/ 3 w 3"/>
                <a:gd name="T1" fmla="*/ 0 h 4"/>
                <a:gd name="T2" fmla="*/ 3 w 3"/>
                <a:gd name="T3" fmla="*/ 0 h 4"/>
                <a:gd name="T4" fmla="*/ 1 w 3"/>
                <a:gd name="T5" fmla="*/ 3 h 4"/>
                <a:gd name="T6" fmla="*/ 1 w 3"/>
                <a:gd name="T7" fmla="*/ 3 h 4"/>
                <a:gd name="T8" fmla="*/ 0 w 3"/>
                <a:gd name="T9" fmla="*/ 4 h 4"/>
                <a:gd name="T10" fmla="*/ 0 w 3"/>
                <a:gd name="T11" fmla="*/ 3 h 4"/>
                <a:gd name="T12" fmla="*/ 1 w 3"/>
                <a:gd name="T13" fmla="*/ 3 h 4"/>
                <a:gd name="T14" fmla="*/ 0 w 3"/>
                <a:gd name="T15" fmla="*/ 3 h 4"/>
                <a:gd name="T16" fmla="*/ 0 w 3"/>
                <a:gd name="T17" fmla="*/ 3 h 4"/>
                <a:gd name="T18" fmla="*/ 1 w 3"/>
                <a:gd name="T19" fmla="*/ 0 h 4"/>
                <a:gd name="T20" fmla="*/ 1 w 3"/>
                <a:gd name="T21" fmla="*/ 0 h 4"/>
                <a:gd name="T22" fmla="*/ 3 w 3"/>
                <a:gd name="T23" fmla="*/ 0 h 4"/>
                <a:gd name="T24" fmla="*/ 1 w 3"/>
                <a:gd name="T25" fmla="*/ 0 h 4"/>
                <a:gd name="T26" fmla="*/ 1 w 3"/>
                <a:gd name="T27" fmla="*/ 1 h 4"/>
                <a:gd name="T28" fmla="*/ 3 w 3"/>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4">
                  <a:moveTo>
                    <a:pt x="3" y="0"/>
                  </a:moveTo>
                  <a:lnTo>
                    <a:pt x="3" y="0"/>
                  </a:lnTo>
                  <a:lnTo>
                    <a:pt x="1" y="3"/>
                  </a:lnTo>
                  <a:lnTo>
                    <a:pt x="1" y="3"/>
                  </a:lnTo>
                  <a:lnTo>
                    <a:pt x="0" y="4"/>
                  </a:lnTo>
                  <a:lnTo>
                    <a:pt x="0" y="3"/>
                  </a:lnTo>
                  <a:lnTo>
                    <a:pt x="1" y="3"/>
                  </a:lnTo>
                  <a:lnTo>
                    <a:pt x="0" y="3"/>
                  </a:lnTo>
                  <a:lnTo>
                    <a:pt x="0" y="3"/>
                  </a:lnTo>
                  <a:lnTo>
                    <a:pt x="1" y="0"/>
                  </a:lnTo>
                  <a:lnTo>
                    <a:pt x="1" y="0"/>
                  </a:lnTo>
                  <a:lnTo>
                    <a:pt x="3" y="0"/>
                  </a:lnTo>
                  <a:lnTo>
                    <a:pt x="1" y="0"/>
                  </a:lnTo>
                  <a:lnTo>
                    <a:pt x="1" y="1"/>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2" name="Rectangle 352"/>
            <p:cNvSpPr>
              <a:spLocks noChangeArrowheads="1"/>
            </p:cNvSpPr>
            <p:nvPr/>
          </p:nvSpPr>
          <p:spPr bwMode="auto">
            <a:xfrm>
              <a:off x="3540291" y="3456659"/>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353" name="Freeform 353"/>
            <p:cNvSpPr/>
            <p:nvPr/>
          </p:nvSpPr>
          <p:spPr bwMode="auto">
            <a:xfrm>
              <a:off x="1580505" y="4562493"/>
              <a:ext cx="264172" cy="319462"/>
            </a:xfrm>
            <a:custGeom>
              <a:avLst/>
              <a:gdLst>
                <a:gd name="T0" fmla="*/ 0 w 86"/>
                <a:gd name="T1" fmla="*/ 11 h 102"/>
                <a:gd name="T2" fmla="*/ 3 w 86"/>
                <a:gd name="T3" fmla="*/ 1 h 102"/>
                <a:gd name="T4" fmla="*/ 9 w 86"/>
                <a:gd name="T5" fmla="*/ 0 h 102"/>
                <a:gd name="T6" fmla="*/ 12 w 86"/>
                <a:gd name="T7" fmla="*/ 1 h 102"/>
                <a:gd name="T8" fmla="*/ 22 w 86"/>
                <a:gd name="T9" fmla="*/ 17 h 102"/>
                <a:gd name="T10" fmla="*/ 22 w 86"/>
                <a:gd name="T11" fmla="*/ 14 h 102"/>
                <a:gd name="T12" fmla="*/ 20 w 86"/>
                <a:gd name="T13" fmla="*/ 7 h 102"/>
                <a:gd name="T14" fmla="*/ 22 w 86"/>
                <a:gd name="T15" fmla="*/ 7 h 102"/>
                <a:gd name="T16" fmla="*/ 24 w 86"/>
                <a:gd name="T17" fmla="*/ 8 h 102"/>
                <a:gd name="T18" fmla="*/ 29 w 86"/>
                <a:gd name="T19" fmla="*/ 13 h 102"/>
                <a:gd name="T20" fmla="*/ 29 w 86"/>
                <a:gd name="T21" fmla="*/ 14 h 102"/>
                <a:gd name="T22" fmla="*/ 24 w 86"/>
                <a:gd name="T23" fmla="*/ 17 h 102"/>
                <a:gd name="T24" fmla="*/ 36 w 86"/>
                <a:gd name="T25" fmla="*/ 31 h 102"/>
                <a:gd name="T26" fmla="*/ 40 w 86"/>
                <a:gd name="T27" fmla="*/ 37 h 102"/>
                <a:gd name="T28" fmla="*/ 47 w 86"/>
                <a:gd name="T29" fmla="*/ 47 h 102"/>
                <a:gd name="T30" fmla="*/ 47 w 86"/>
                <a:gd name="T31" fmla="*/ 48 h 102"/>
                <a:gd name="T32" fmla="*/ 49 w 86"/>
                <a:gd name="T33" fmla="*/ 53 h 102"/>
                <a:gd name="T34" fmla="*/ 50 w 86"/>
                <a:gd name="T35" fmla="*/ 58 h 102"/>
                <a:gd name="T36" fmla="*/ 50 w 86"/>
                <a:gd name="T37" fmla="*/ 60 h 102"/>
                <a:gd name="T38" fmla="*/ 52 w 86"/>
                <a:gd name="T39" fmla="*/ 58 h 102"/>
                <a:gd name="T40" fmla="*/ 53 w 86"/>
                <a:gd name="T41" fmla="*/ 55 h 102"/>
                <a:gd name="T42" fmla="*/ 54 w 86"/>
                <a:gd name="T43" fmla="*/ 57 h 102"/>
                <a:gd name="T44" fmla="*/ 60 w 86"/>
                <a:gd name="T45" fmla="*/ 68 h 102"/>
                <a:gd name="T46" fmla="*/ 67 w 86"/>
                <a:gd name="T47" fmla="*/ 78 h 102"/>
                <a:gd name="T48" fmla="*/ 69 w 86"/>
                <a:gd name="T49" fmla="*/ 77 h 102"/>
                <a:gd name="T50" fmla="*/ 66 w 86"/>
                <a:gd name="T51" fmla="*/ 73 h 102"/>
                <a:gd name="T52" fmla="*/ 64 w 86"/>
                <a:gd name="T53" fmla="*/ 68 h 102"/>
                <a:gd name="T54" fmla="*/ 66 w 86"/>
                <a:gd name="T55" fmla="*/ 68 h 102"/>
                <a:gd name="T56" fmla="*/ 72 w 86"/>
                <a:gd name="T57" fmla="*/ 77 h 102"/>
                <a:gd name="T58" fmla="*/ 80 w 86"/>
                <a:gd name="T59" fmla="*/ 84 h 102"/>
                <a:gd name="T60" fmla="*/ 73 w 86"/>
                <a:gd name="T61" fmla="*/ 87 h 102"/>
                <a:gd name="T62" fmla="*/ 74 w 86"/>
                <a:gd name="T63" fmla="*/ 90 h 102"/>
                <a:gd name="T64" fmla="*/ 79 w 86"/>
                <a:gd name="T65" fmla="*/ 90 h 102"/>
                <a:gd name="T66" fmla="*/ 82 w 86"/>
                <a:gd name="T67" fmla="*/ 87 h 102"/>
                <a:gd name="T68" fmla="*/ 86 w 86"/>
                <a:gd name="T69" fmla="*/ 95 h 102"/>
                <a:gd name="T70" fmla="*/ 86 w 86"/>
                <a:gd name="T71" fmla="*/ 102 h 102"/>
                <a:gd name="T72" fmla="*/ 80 w 86"/>
                <a:gd name="T73" fmla="*/ 101 h 102"/>
                <a:gd name="T74" fmla="*/ 74 w 86"/>
                <a:gd name="T75" fmla="*/ 97 h 102"/>
                <a:gd name="T76" fmla="*/ 64 w 86"/>
                <a:gd name="T77" fmla="*/ 85 h 102"/>
                <a:gd name="T78" fmla="*/ 56 w 86"/>
                <a:gd name="T79" fmla="*/ 73 h 102"/>
                <a:gd name="T80" fmla="*/ 50 w 86"/>
                <a:gd name="T81" fmla="*/ 68 h 102"/>
                <a:gd name="T82" fmla="*/ 46 w 86"/>
                <a:gd name="T83" fmla="*/ 65 h 102"/>
                <a:gd name="T84" fmla="*/ 30 w 86"/>
                <a:gd name="T85" fmla="*/ 38 h 102"/>
                <a:gd name="T86" fmla="*/ 14 w 86"/>
                <a:gd name="T87" fmla="*/ 11 h 102"/>
                <a:gd name="T88" fmla="*/ 13 w 86"/>
                <a:gd name="T89" fmla="*/ 13 h 102"/>
                <a:gd name="T90" fmla="*/ 16 w 86"/>
                <a:gd name="T91" fmla="*/ 17 h 102"/>
                <a:gd name="T92" fmla="*/ 16 w 86"/>
                <a:gd name="T93" fmla="*/ 18 h 102"/>
                <a:gd name="T94" fmla="*/ 13 w 86"/>
                <a:gd name="T95" fmla="*/ 18 h 102"/>
                <a:gd name="T96" fmla="*/ 10 w 86"/>
                <a:gd name="T97" fmla="*/ 11 h 102"/>
                <a:gd name="T98" fmla="*/ 12 w 86"/>
                <a:gd name="T99" fmla="*/ 8 h 102"/>
                <a:gd name="T100" fmla="*/ 7 w 86"/>
                <a:gd name="T101" fmla="*/ 7 h 102"/>
                <a:gd name="T102" fmla="*/ 3 w 86"/>
                <a:gd name="T103" fmla="*/ 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 h="102">
                  <a:moveTo>
                    <a:pt x="0" y="11"/>
                  </a:moveTo>
                  <a:lnTo>
                    <a:pt x="0" y="11"/>
                  </a:lnTo>
                  <a:lnTo>
                    <a:pt x="2" y="5"/>
                  </a:lnTo>
                  <a:lnTo>
                    <a:pt x="3" y="1"/>
                  </a:lnTo>
                  <a:lnTo>
                    <a:pt x="6" y="0"/>
                  </a:lnTo>
                  <a:lnTo>
                    <a:pt x="9" y="0"/>
                  </a:lnTo>
                  <a:lnTo>
                    <a:pt x="9" y="0"/>
                  </a:lnTo>
                  <a:lnTo>
                    <a:pt x="12" y="1"/>
                  </a:lnTo>
                  <a:lnTo>
                    <a:pt x="14" y="5"/>
                  </a:lnTo>
                  <a:lnTo>
                    <a:pt x="22" y="17"/>
                  </a:lnTo>
                  <a:lnTo>
                    <a:pt x="22" y="17"/>
                  </a:lnTo>
                  <a:lnTo>
                    <a:pt x="22" y="14"/>
                  </a:lnTo>
                  <a:lnTo>
                    <a:pt x="22" y="13"/>
                  </a:lnTo>
                  <a:lnTo>
                    <a:pt x="20" y="7"/>
                  </a:lnTo>
                  <a:lnTo>
                    <a:pt x="20" y="7"/>
                  </a:lnTo>
                  <a:lnTo>
                    <a:pt x="22" y="7"/>
                  </a:lnTo>
                  <a:lnTo>
                    <a:pt x="22" y="7"/>
                  </a:lnTo>
                  <a:lnTo>
                    <a:pt x="24" y="8"/>
                  </a:lnTo>
                  <a:lnTo>
                    <a:pt x="26" y="11"/>
                  </a:lnTo>
                  <a:lnTo>
                    <a:pt x="29" y="13"/>
                  </a:lnTo>
                  <a:lnTo>
                    <a:pt x="29" y="13"/>
                  </a:lnTo>
                  <a:lnTo>
                    <a:pt x="29" y="14"/>
                  </a:lnTo>
                  <a:lnTo>
                    <a:pt x="27" y="15"/>
                  </a:lnTo>
                  <a:lnTo>
                    <a:pt x="24" y="17"/>
                  </a:lnTo>
                  <a:lnTo>
                    <a:pt x="24" y="17"/>
                  </a:lnTo>
                  <a:lnTo>
                    <a:pt x="36" y="31"/>
                  </a:lnTo>
                  <a:lnTo>
                    <a:pt x="36" y="31"/>
                  </a:lnTo>
                  <a:lnTo>
                    <a:pt x="40" y="37"/>
                  </a:lnTo>
                  <a:lnTo>
                    <a:pt x="40" y="37"/>
                  </a:lnTo>
                  <a:lnTo>
                    <a:pt x="47" y="47"/>
                  </a:lnTo>
                  <a:lnTo>
                    <a:pt x="47" y="47"/>
                  </a:lnTo>
                  <a:lnTo>
                    <a:pt x="47" y="48"/>
                  </a:lnTo>
                  <a:lnTo>
                    <a:pt x="47" y="50"/>
                  </a:lnTo>
                  <a:lnTo>
                    <a:pt x="49" y="53"/>
                  </a:lnTo>
                  <a:lnTo>
                    <a:pt x="50" y="55"/>
                  </a:lnTo>
                  <a:lnTo>
                    <a:pt x="50" y="58"/>
                  </a:lnTo>
                  <a:lnTo>
                    <a:pt x="50" y="60"/>
                  </a:lnTo>
                  <a:lnTo>
                    <a:pt x="50" y="60"/>
                  </a:lnTo>
                  <a:lnTo>
                    <a:pt x="52" y="60"/>
                  </a:lnTo>
                  <a:lnTo>
                    <a:pt x="52" y="58"/>
                  </a:lnTo>
                  <a:lnTo>
                    <a:pt x="53" y="55"/>
                  </a:lnTo>
                  <a:lnTo>
                    <a:pt x="53" y="55"/>
                  </a:lnTo>
                  <a:lnTo>
                    <a:pt x="54" y="57"/>
                  </a:lnTo>
                  <a:lnTo>
                    <a:pt x="54" y="57"/>
                  </a:lnTo>
                  <a:lnTo>
                    <a:pt x="59" y="63"/>
                  </a:lnTo>
                  <a:lnTo>
                    <a:pt x="60" y="68"/>
                  </a:lnTo>
                  <a:lnTo>
                    <a:pt x="62" y="73"/>
                  </a:lnTo>
                  <a:lnTo>
                    <a:pt x="67" y="78"/>
                  </a:lnTo>
                  <a:lnTo>
                    <a:pt x="67" y="78"/>
                  </a:lnTo>
                  <a:lnTo>
                    <a:pt x="69" y="77"/>
                  </a:lnTo>
                  <a:lnTo>
                    <a:pt x="67" y="75"/>
                  </a:lnTo>
                  <a:lnTo>
                    <a:pt x="66" y="73"/>
                  </a:lnTo>
                  <a:lnTo>
                    <a:pt x="63" y="70"/>
                  </a:lnTo>
                  <a:lnTo>
                    <a:pt x="64" y="68"/>
                  </a:lnTo>
                  <a:lnTo>
                    <a:pt x="66" y="68"/>
                  </a:lnTo>
                  <a:lnTo>
                    <a:pt x="66" y="68"/>
                  </a:lnTo>
                  <a:lnTo>
                    <a:pt x="69" y="74"/>
                  </a:lnTo>
                  <a:lnTo>
                    <a:pt x="72" y="77"/>
                  </a:lnTo>
                  <a:lnTo>
                    <a:pt x="80" y="84"/>
                  </a:lnTo>
                  <a:lnTo>
                    <a:pt x="80" y="84"/>
                  </a:lnTo>
                  <a:lnTo>
                    <a:pt x="76" y="87"/>
                  </a:lnTo>
                  <a:lnTo>
                    <a:pt x="73" y="87"/>
                  </a:lnTo>
                  <a:lnTo>
                    <a:pt x="73" y="87"/>
                  </a:lnTo>
                  <a:lnTo>
                    <a:pt x="74" y="90"/>
                  </a:lnTo>
                  <a:lnTo>
                    <a:pt x="77" y="90"/>
                  </a:lnTo>
                  <a:lnTo>
                    <a:pt x="79" y="90"/>
                  </a:lnTo>
                  <a:lnTo>
                    <a:pt x="82" y="87"/>
                  </a:lnTo>
                  <a:lnTo>
                    <a:pt x="82" y="87"/>
                  </a:lnTo>
                  <a:lnTo>
                    <a:pt x="84" y="91"/>
                  </a:lnTo>
                  <a:lnTo>
                    <a:pt x="86" y="95"/>
                  </a:lnTo>
                  <a:lnTo>
                    <a:pt x="86" y="95"/>
                  </a:lnTo>
                  <a:lnTo>
                    <a:pt x="86" y="102"/>
                  </a:lnTo>
                  <a:lnTo>
                    <a:pt x="86" y="102"/>
                  </a:lnTo>
                  <a:lnTo>
                    <a:pt x="80" y="101"/>
                  </a:lnTo>
                  <a:lnTo>
                    <a:pt x="74" y="97"/>
                  </a:lnTo>
                  <a:lnTo>
                    <a:pt x="74" y="97"/>
                  </a:lnTo>
                  <a:lnTo>
                    <a:pt x="70" y="93"/>
                  </a:lnTo>
                  <a:lnTo>
                    <a:pt x="64" y="85"/>
                  </a:lnTo>
                  <a:lnTo>
                    <a:pt x="64" y="85"/>
                  </a:lnTo>
                  <a:lnTo>
                    <a:pt x="56" y="73"/>
                  </a:lnTo>
                  <a:lnTo>
                    <a:pt x="56" y="73"/>
                  </a:lnTo>
                  <a:lnTo>
                    <a:pt x="50" y="68"/>
                  </a:lnTo>
                  <a:lnTo>
                    <a:pt x="46" y="65"/>
                  </a:lnTo>
                  <a:lnTo>
                    <a:pt x="46" y="65"/>
                  </a:lnTo>
                  <a:lnTo>
                    <a:pt x="39" y="51"/>
                  </a:lnTo>
                  <a:lnTo>
                    <a:pt x="30" y="38"/>
                  </a:lnTo>
                  <a:lnTo>
                    <a:pt x="30" y="38"/>
                  </a:lnTo>
                  <a:lnTo>
                    <a:pt x="14" y="11"/>
                  </a:lnTo>
                  <a:lnTo>
                    <a:pt x="14" y="11"/>
                  </a:lnTo>
                  <a:lnTo>
                    <a:pt x="13" y="13"/>
                  </a:lnTo>
                  <a:lnTo>
                    <a:pt x="14" y="14"/>
                  </a:lnTo>
                  <a:lnTo>
                    <a:pt x="16" y="17"/>
                  </a:lnTo>
                  <a:lnTo>
                    <a:pt x="16" y="18"/>
                  </a:lnTo>
                  <a:lnTo>
                    <a:pt x="16" y="18"/>
                  </a:lnTo>
                  <a:lnTo>
                    <a:pt x="14" y="18"/>
                  </a:lnTo>
                  <a:lnTo>
                    <a:pt x="13" y="18"/>
                  </a:lnTo>
                  <a:lnTo>
                    <a:pt x="10" y="15"/>
                  </a:lnTo>
                  <a:lnTo>
                    <a:pt x="10" y="11"/>
                  </a:lnTo>
                  <a:lnTo>
                    <a:pt x="10" y="10"/>
                  </a:lnTo>
                  <a:lnTo>
                    <a:pt x="12" y="8"/>
                  </a:lnTo>
                  <a:lnTo>
                    <a:pt x="12" y="8"/>
                  </a:lnTo>
                  <a:lnTo>
                    <a:pt x="7" y="7"/>
                  </a:lnTo>
                  <a:lnTo>
                    <a:pt x="6" y="7"/>
                  </a:lnTo>
                  <a:lnTo>
                    <a:pt x="3" y="8"/>
                  </a:lnTo>
                  <a:lnTo>
                    <a:pt x="0" y="1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4" name="Rectangle 354"/>
            <p:cNvSpPr>
              <a:spLocks noChangeArrowheads="1"/>
            </p:cNvSpPr>
            <p:nvPr/>
          </p:nvSpPr>
          <p:spPr bwMode="auto">
            <a:xfrm>
              <a:off x="3534145" y="3462800"/>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355" name="Freeform 355"/>
            <p:cNvSpPr/>
            <p:nvPr/>
          </p:nvSpPr>
          <p:spPr bwMode="auto">
            <a:xfrm>
              <a:off x="3534145" y="346280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6" name="Freeform 356"/>
            <p:cNvSpPr/>
            <p:nvPr/>
          </p:nvSpPr>
          <p:spPr bwMode="auto">
            <a:xfrm>
              <a:off x="3466570" y="3499660"/>
              <a:ext cx="18433" cy="12287"/>
            </a:xfrm>
            <a:custGeom>
              <a:avLst/>
              <a:gdLst>
                <a:gd name="T0" fmla="*/ 1 w 5"/>
                <a:gd name="T1" fmla="*/ 3 h 4"/>
                <a:gd name="T2" fmla="*/ 1 w 5"/>
                <a:gd name="T3" fmla="*/ 3 h 4"/>
                <a:gd name="T4" fmla="*/ 0 w 5"/>
                <a:gd name="T5" fmla="*/ 4 h 4"/>
                <a:gd name="T6" fmla="*/ 5 w 5"/>
                <a:gd name="T7" fmla="*/ 0 h 4"/>
                <a:gd name="T8" fmla="*/ 5 w 5"/>
                <a:gd name="T9" fmla="*/ 0 h 4"/>
                <a:gd name="T10" fmla="*/ 1 w 5"/>
                <a:gd name="T11" fmla="*/ 3 h 4"/>
              </a:gdLst>
              <a:ahLst/>
              <a:cxnLst>
                <a:cxn ang="0">
                  <a:pos x="T0" y="T1"/>
                </a:cxn>
                <a:cxn ang="0">
                  <a:pos x="T2" y="T3"/>
                </a:cxn>
                <a:cxn ang="0">
                  <a:pos x="T4" y="T5"/>
                </a:cxn>
                <a:cxn ang="0">
                  <a:pos x="T6" y="T7"/>
                </a:cxn>
                <a:cxn ang="0">
                  <a:pos x="T8" y="T9"/>
                </a:cxn>
                <a:cxn ang="0">
                  <a:pos x="T10" y="T11"/>
                </a:cxn>
              </a:cxnLst>
              <a:rect l="0" t="0" r="r" b="b"/>
              <a:pathLst>
                <a:path w="5" h="4">
                  <a:moveTo>
                    <a:pt x="1" y="3"/>
                  </a:moveTo>
                  <a:lnTo>
                    <a:pt x="1" y="3"/>
                  </a:lnTo>
                  <a:lnTo>
                    <a:pt x="0" y="4"/>
                  </a:lnTo>
                  <a:lnTo>
                    <a:pt x="5" y="0"/>
                  </a:lnTo>
                  <a:lnTo>
                    <a:pt x="5" y="0"/>
                  </a:lnTo>
                  <a:lnTo>
                    <a:pt x="1"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7" name="Freeform 357"/>
            <p:cNvSpPr/>
            <p:nvPr/>
          </p:nvSpPr>
          <p:spPr bwMode="auto">
            <a:xfrm>
              <a:off x="3534145" y="3462800"/>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8" name="Freeform 358"/>
            <p:cNvSpPr/>
            <p:nvPr/>
          </p:nvSpPr>
          <p:spPr bwMode="auto">
            <a:xfrm>
              <a:off x="1795531" y="4728368"/>
              <a:ext cx="30720" cy="30716"/>
            </a:xfrm>
            <a:custGeom>
              <a:avLst/>
              <a:gdLst>
                <a:gd name="T0" fmla="*/ 10 w 10"/>
                <a:gd name="T1" fmla="*/ 11 h 11"/>
                <a:gd name="T2" fmla="*/ 10 w 10"/>
                <a:gd name="T3" fmla="*/ 11 h 11"/>
                <a:gd name="T4" fmla="*/ 7 w 10"/>
                <a:gd name="T5" fmla="*/ 10 h 11"/>
                <a:gd name="T6" fmla="*/ 6 w 10"/>
                <a:gd name="T7" fmla="*/ 7 h 11"/>
                <a:gd name="T8" fmla="*/ 0 w 10"/>
                <a:gd name="T9" fmla="*/ 1 h 11"/>
                <a:gd name="T10" fmla="*/ 0 w 10"/>
                <a:gd name="T11" fmla="*/ 1 h 11"/>
                <a:gd name="T12" fmla="*/ 4 w 10"/>
                <a:gd name="T13" fmla="*/ 0 h 11"/>
                <a:gd name="T14" fmla="*/ 7 w 10"/>
                <a:gd name="T15" fmla="*/ 2 h 11"/>
                <a:gd name="T16" fmla="*/ 9 w 10"/>
                <a:gd name="T17" fmla="*/ 5 h 11"/>
                <a:gd name="T18" fmla="*/ 10 w 10"/>
                <a:gd name="T1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1">
                  <a:moveTo>
                    <a:pt x="10" y="11"/>
                  </a:moveTo>
                  <a:lnTo>
                    <a:pt x="10" y="11"/>
                  </a:lnTo>
                  <a:lnTo>
                    <a:pt x="7" y="10"/>
                  </a:lnTo>
                  <a:lnTo>
                    <a:pt x="6" y="7"/>
                  </a:lnTo>
                  <a:lnTo>
                    <a:pt x="0" y="1"/>
                  </a:lnTo>
                  <a:lnTo>
                    <a:pt x="0" y="1"/>
                  </a:lnTo>
                  <a:lnTo>
                    <a:pt x="4" y="0"/>
                  </a:lnTo>
                  <a:lnTo>
                    <a:pt x="7" y="2"/>
                  </a:lnTo>
                  <a:lnTo>
                    <a:pt x="9" y="5"/>
                  </a:lnTo>
                  <a:lnTo>
                    <a:pt x="10" y="1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9" name="Freeform 359"/>
            <p:cNvSpPr/>
            <p:nvPr/>
          </p:nvSpPr>
          <p:spPr bwMode="auto">
            <a:xfrm>
              <a:off x="3534145" y="3462800"/>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0" name="Freeform 360"/>
            <p:cNvSpPr/>
            <p:nvPr/>
          </p:nvSpPr>
          <p:spPr bwMode="auto">
            <a:xfrm>
              <a:off x="3521858" y="3462800"/>
              <a:ext cx="12287" cy="6142"/>
            </a:xfrm>
            <a:custGeom>
              <a:avLst/>
              <a:gdLst>
                <a:gd name="T0" fmla="*/ 4 w 4"/>
                <a:gd name="T1" fmla="*/ 0 h 3"/>
                <a:gd name="T2" fmla="*/ 0 w 4"/>
                <a:gd name="T3" fmla="*/ 3 h 3"/>
                <a:gd name="T4" fmla="*/ 0 w 4"/>
                <a:gd name="T5" fmla="*/ 3 h 3"/>
                <a:gd name="T6" fmla="*/ 3 w 4"/>
                <a:gd name="T7" fmla="*/ 1 h 3"/>
                <a:gd name="T8" fmla="*/ 3 w 4"/>
                <a:gd name="T9" fmla="*/ 1 h 3"/>
                <a:gd name="T10" fmla="*/ 4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4" y="0"/>
                  </a:moveTo>
                  <a:lnTo>
                    <a:pt x="0" y="3"/>
                  </a:lnTo>
                  <a:lnTo>
                    <a:pt x="0" y="3"/>
                  </a:lnTo>
                  <a:lnTo>
                    <a:pt x="3" y="1"/>
                  </a:lnTo>
                  <a:lnTo>
                    <a:pt x="3" y="1"/>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1" name="Freeform 361"/>
            <p:cNvSpPr/>
            <p:nvPr/>
          </p:nvSpPr>
          <p:spPr bwMode="auto">
            <a:xfrm>
              <a:off x="3521858" y="3456659"/>
              <a:ext cx="18433" cy="12287"/>
            </a:xfrm>
            <a:custGeom>
              <a:avLst/>
              <a:gdLst>
                <a:gd name="T0" fmla="*/ 2 w 6"/>
                <a:gd name="T1" fmla="*/ 2 h 4"/>
                <a:gd name="T2" fmla="*/ 2 w 6"/>
                <a:gd name="T3" fmla="*/ 2 h 4"/>
                <a:gd name="T4" fmla="*/ 0 w 6"/>
                <a:gd name="T5" fmla="*/ 4 h 4"/>
                <a:gd name="T6" fmla="*/ 2 w 6"/>
                <a:gd name="T7" fmla="*/ 2 h 4"/>
                <a:gd name="T8" fmla="*/ 2 w 6"/>
                <a:gd name="T9" fmla="*/ 2 h 4"/>
                <a:gd name="T10" fmla="*/ 2 w 6"/>
                <a:gd name="T11" fmla="*/ 2 h 4"/>
                <a:gd name="T12" fmla="*/ 2 w 6"/>
                <a:gd name="T13" fmla="*/ 2 h 4"/>
                <a:gd name="T14" fmla="*/ 2 w 6"/>
                <a:gd name="T15" fmla="*/ 2 h 4"/>
                <a:gd name="T16" fmla="*/ 2 w 6"/>
                <a:gd name="T17" fmla="*/ 2 h 4"/>
                <a:gd name="T18" fmla="*/ 2 w 6"/>
                <a:gd name="T19" fmla="*/ 2 h 4"/>
                <a:gd name="T20" fmla="*/ 2 w 6"/>
                <a:gd name="T21" fmla="*/ 2 h 4"/>
                <a:gd name="T22" fmla="*/ 4 w 6"/>
                <a:gd name="T23" fmla="*/ 1 h 4"/>
                <a:gd name="T24" fmla="*/ 4 w 6"/>
                <a:gd name="T25" fmla="*/ 1 h 4"/>
                <a:gd name="T26" fmla="*/ 6 w 6"/>
                <a:gd name="T27" fmla="*/ 0 h 4"/>
                <a:gd name="T28" fmla="*/ 6 w 6"/>
                <a:gd name="T29" fmla="*/ 0 h 4"/>
                <a:gd name="T30" fmla="*/ 6 w 6"/>
                <a:gd name="T31" fmla="*/ 0 h 4"/>
                <a:gd name="T32" fmla="*/ 4 w 6"/>
                <a:gd name="T33" fmla="*/ 1 h 4"/>
                <a:gd name="T34" fmla="*/ 4 w 6"/>
                <a:gd name="T35" fmla="*/ 1 h 4"/>
                <a:gd name="T36" fmla="*/ 4 w 6"/>
                <a:gd name="T37" fmla="*/ 1 h 4"/>
                <a:gd name="T38" fmla="*/ 4 w 6"/>
                <a:gd name="T39" fmla="*/ 1 h 4"/>
                <a:gd name="T40" fmla="*/ 6 w 6"/>
                <a:gd name="T41" fmla="*/ 0 h 4"/>
                <a:gd name="T42" fmla="*/ 6 w 6"/>
                <a:gd name="T43" fmla="*/ 0 h 4"/>
                <a:gd name="T44" fmla="*/ 4 w 6"/>
                <a:gd name="T45" fmla="*/ 1 h 4"/>
                <a:gd name="T46" fmla="*/ 4 w 6"/>
                <a:gd name="T47" fmla="*/ 1 h 4"/>
                <a:gd name="T48" fmla="*/ 3 w 6"/>
                <a:gd name="T49" fmla="*/ 2 h 4"/>
                <a:gd name="T50" fmla="*/ 3 w 6"/>
                <a:gd name="T51" fmla="*/ 2 h 4"/>
                <a:gd name="T52" fmla="*/ 4 w 6"/>
                <a:gd name="T53" fmla="*/ 1 h 4"/>
                <a:gd name="T54" fmla="*/ 4 w 6"/>
                <a:gd name="T55" fmla="*/ 1 h 4"/>
                <a:gd name="T56" fmla="*/ 2 w 6"/>
                <a:gd name="T5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 h="4">
                  <a:moveTo>
                    <a:pt x="2" y="2"/>
                  </a:moveTo>
                  <a:lnTo>
                    <a:pt x="2" y="2"/>
                  </a:lnTo>
                  <a:lnTo>
                    <a:pt x="0" y="4"/>
                  </a:lnTo>
                  <a:lnTo>
                    <a:pt x="2" y="2"/>
                  </a:lnTo>
                  <a:lnTo>
                    <a:pt x="2" y="2"/>
                  </a:lnTo>
                  <a:lnTo>
                    <a:pt x="2" y="2"/>
                  </a:lnTo>
                  <a:lnTo>
                    <a:pt x="2" y="2"/>
                  </a:lnTo>
                  <a:lnTo>
                    <a:pt x="2" y="2"/>
                  </a:lnTo>
                  <a:lnTo>
                    <a:pt x="2" y="2"/>
                  </a:lnTo>
                  <a:lnTo>
                    <a:pt x="2" y="2"/>
                  </a:lnTo>
                  <a:lnTo>
                    <a:pt x="2" y="2"/>
                  </a:lnTo>
                  <a:lnTo>
                    <a:pt x="4" y="1"/>
                  </a:lnTo>
                  <a:lnTo>
                    <a:pt x="4" y="1"/>
                  </a:lnTo>
                  <a:lnTo>
                    <a:pt x="6" y="0"/>
                  </a:lnTo>
                  <a:lnTo>
                    <a:pt x="6" y="0"/>
                  </a:lnTo>
                  <a:lnTo>
                    <a:pt x="6" y="0"/>
                  </a:lnTo>
                  <a:lnTo>
                    <a:pt x="4" y="1"/>
                  </a:lnTo>
                  <a:lnTo>
                    <a:pt x="4" y="1"/>
                  </a:lnTo>
                  <a:lnTo>
                    <a:pt x="4" y="1"/>
                  </a:lnTo>
                  <a:lnTo>
                    <a:pt x="4" y="1"/>
                  </a:lnTo>
                  <a:lnTo>
                    <a:pt x="6" y="0"/>
                  </a:lnTo>
                  <a:lnTo>
                    <a:pt x="6" y="0"/>
                  </a:lnTo>
                  <a:lnTo>
                    <a:pt x="4" y="1"/>
                  </a:lnTo>
                  <a:lnTo>
                    <a:pt x="4" y="1"/>
                  </a:lnTo>
                  <a:lnTo>
                    <a:pt x="3" y="2"/>
                  </a:lnTo>
                  <a:lnTo>
                    <a:pt x="3" y="2"/>
                  </a:lnTo>
                  <a:lnTo>
                    <a:pt x="4" y="1"/>
                  </a:lnTo>
                  <a:lnTo>
                    <a:pt x="4" y="1"/>
                  </a:lnTo>
                  <a:lnTo>
                    <a:pt x="2"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2" name="Freeform 362"/>
            <p:cNvSpPr/>
            <p:nvPr/>
          </p:nvSpPr>
          <p:spPr bwMode="auto">
            <a:xfrm>
              <a:off x="1770956" y="4623929"/>
              <a:ext cx="24574" cy="24574"/>
            </a:xfrm>
            <a:custGeom>
              <a:avLst/>
              <a:gdLst>
                <a:gd name="T0" fmla="*/ 7 w 7"/>
                <a:gd name="T1" fmla="*/ 7 h 9"/>
                <a:gd name="T2" fmla="*/ 7 w 7"/>
                <a:gd name="T3" fmla="*/ 7 h 9"/>
                <a:gd name="T4" fmla="*/ 4 w 7"/>
                <a:gd name="T5" fmla="*/ 9 h 9"/>
                <a:gd name="T6" fmla="*/ 3 w 7"/>
                <a:gd name="T7" fmla="*/ 7 h 9"/>
                <a:gd name="T8" fmla="*/ 3 w 7"/>
                <a:gd name="T9" fmla="*/ 3 h 9"/>
                <a:gd name="T10" fmla="*/ 0 w 7"/>
                <a:gd name="T11" fmla="*/ 0 h 9"/>
                <a:gd name="T12" fmla="*/ 0 w 7"/>
                <a:gd name="T13" fmla="*/ 0 h 9"/>
                <a:gd name="T14" fmla="*/ 3 w 7"/>
                <a:gd name="T15" fmla="*/ 0 h 9"/>
                <a:gd name="T16" fmla="*/ 4 w 7"/>
                <a:gd name="T17" fmla="*/ 3 h 9"/>
                <a:gd name="T18" fmla="*/ 7 w 7"/>
                <a:gd name="T1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7" y="7"/>
                  </a:moveTo>
                  <a:lnTo>
                    <a:pt x="7" y="7"/>
                  </a:lnTo>
                  <a:lnTo>
                    <a:pt x="4" y="9"/>
                  </a:lnTo>
                  <a:lnTo>
                    <a:pt x="3" y="7"/>
                  </a:lnTo>
                  <a:lnTo>
                    <a:pt x="3" y="3"/>
                  </a:lnTo>
                  <a:lnTo>
                    <a:pt x="0" y="0"/>
                  </a:lnTo>
                  <a:lnTo>
                    <a:pt x="0" y="0"/>
                  </a:lnTo>
                  <a:lnTo>
                    <a:pt x="3" y="0"/>
                  </a:lnTo>
                  <a:lnTo>
                    <a:pt x="4" y="3"/>
                  </a:lnTo>
                  <a:lnTo>
                    <a:pt x="7"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3" name="Freeform 363"/>
            <p:cNvSpPr/>
            <p:nvPr/>
          </p:nvSpPr>
          <p:spPr bwMode="auto">
            <a:xfrm>
              <a:off x="1752523" y="4316752"/>
              <a:ext cx="135158" cy="208880"/>
            </a:xfrm>
            <a:custGeom>
              <a:avLst/>
              <a:gdLst>
                <a:gd name="T0" fmla="*/ 41 w 44"/>
                <a:gd name="T1" fmla="*/ 67 h 67"/>
                <a:gd name="T2" fmla="*/ 41 w 44"/>
                <a:gd name="T3" fmla="*/ 67 h 67"/>
                <a:gd name="T4" fmla="*/ 35 w 44"/>
                <a:gd name="T5" fmla="*/ 63 h 67"/>
                <a:gd name="T6" fmla="*/ 31 w 44"/>
                <a:gd name="T7" fmla="*/ 57 h 67"/>
                <a:gd name="T8" fmla="*/ 31 w 44"/>
                <a:gd name="T9" fmla="*/ 57 h 67"/>
                <a:gd name="T10" fmla="*/ 26 w 44"/>
                <a:gd name="T11" fmla="*/ 50 h 67"/>
                <a:gd name="T12" fmla="*/ 26 w 44"/>
                <a:gd name="T13" fmla="*/ 50 h 67"/>
                <a:gd name="T14" fmla="*/ 21 w 44"/>
                <a:gd name="T15" fmla="*/ 43 h 67"/>
                <a:gd name="T16" fmla="*/ 21 w 44"/>
                <a:gd name="T17" fmla="*/ 43 h 67"/>
                <a:gd name="T18" fmla="*/ 14 w 44"/>
                <a:gd name="T19" fmla="*/ 27 h 67"/>
                <a:gd name="T20" fmla="*/ 14 w 44"/>
                <a:gd name="T21" fmla="*/ 27 h 67"/>
                <a:gd name="T22" fmla="*/ 11 w 44"/>
                <a:gd name="T23" fmla="*/ 20 h 67"/>
                <a:gd name="T24" fmla="*/ 11 w 44"/>
                <a:gd name="T25" fmla="*/ 20 h 67"/>
                <a:gd name="T26" fmla="*/ 8 w 44"/>
                <a:gd name="T27" fmla="*/ 13 h 67"/>
                <a:gd name="T28" fmla="*/ 8 w 44"/>
                <a:gd name="T29" fmla="*/ 13 h 67"/>
                <a:gd name="T30" fmla="*/ 6 w 44"/>
                <a:gd name="T31" fmla="*/ 13 h 67"/>
                <a:gd name="T32" fmla="*/ 4 w 44"/>
                <a:gd name="T33" fmla="*/ 16 h 67"/>
                <a:gd name="T34" fmla="*/ 4 w 44"/>
                <a:gd name="T35" fmla="*/ 18 h 67"/>
                <a:gd name="T36" fmla="*/ 4 w 44"/>
                <a:gd name="T37" fmla="*/ 21 h 67"/>
                <a:gd name="T38" fmla="*/ 4 w 44"/>
                <a:gd name="T39" fmla="*/ 21 h 67"/>
                <a:gd name="T40" fmla="*/ 1 w 44"/>
                <a:gd name="T41" fmla="*/ 20 h 67"/>
                <a:gd name="T42" fmla="*/ 1 w 44"/>
                <a:gd name="T43" fmla="*/ 17 h 67"/>
                <a:gd name="T44" fmla="*/ 1 w 44"/>
                <a:gd name="T45" fmla="*/ 14 h 67"/>
                <a:gd name="T46" fmla="*/ 0 w 44"/>
                <a:gd name="T47" fmla="*/ 13 h 67"/>
                <a:gd name="T48" fmla="*/ 0 w 44"/>
                <a:gd name="T49" fmla="*/ 13 h 67"/>
                <a:gd name="T50" fmla="*/ 3 w 44"/>
                <a:gd name="T51" fmla="*/ 11 h 67"/>
                <a:gd name="T52" fmla="*/ 6 w 44"/>
                <a:gd name="T53" fmla="*/ 10 h 67"/>
                <a:gd name="T54" fmla="*/ 6 w 44"/>
                <a:gd name="T55" fmla="*/ 10 h 67"/>
                <a:gd name="T56" fmla="*/ 7 w 44"/>
                <a:gd name="T57" fmla="*/ 8 h 67"/>
                <a:gd name="T58" fmla="*/ 6 w 44"/>
                <a:gd name="T59" fmla="*/ 6 h 67"/>
                <a:gd name="T60" fmla="*/ 3 w 44"/>
                <a:gd name="T61" fmla="*/ 0 h 67"/>
                <a:gd name="T62" fmla="*/ 3 w 44"/>
                <a:gd name="T63" fmla="*/ 0 h 67"/>
                <a:gd name="T64" fmla="*/ 10 w 44"/>
                <a:gd name="T65" fmla="*/ 6 h 67"/>
                <a:gd name="T66" fmla="*/ 17 w 44"/>
                <a:gd name="T67" fmla="*/ 11 h 67"/>
                <a:gd name="T68" fmla="*/ 21 w 44"/>
                <a:gd name="T69" fmla="*/ 18 h 67"/>
                <a:gd name="T70" fmla="*/ 26 w 44"/>
                <a:gd name="T71" fmla="*/ 25 h 67"/>
                <a:gd name="T72" fmla="*/ 26 w 44"/>
                <a:gd name="T73" fmla="*/ 25 h 67"/>
                <a:gd name="T74" fmla="*/ 33 w 44"/>
                <a:gd name="T75" fmla="*/ 44 h 67"/>
                <a:gd name="T76" fmla="*/ 33 w 44"/>
                <a:gd name="T77" fmla="*/ 44 h 67"/>
                <a:gd name="T78" fmla="*/ 38 w 44"/>
                <a:gd name="T79" fmla="*/ 53 h 67"/>
                <a:gd name="T80" fmla="*/ 44 w 44"/>
                <a:gd name="T81" fmla="*/ 63 h 67"/>
                <a:gd name="T82" fmla="*/ 44 w 44"/>
                <a:gd name="T83" fmla="*/ 63 h 67"/>
                <a:gd name="T84" fmla="*/ 43 w 44"/>
                <a:gd name="T85" fmla="*/ 65 h 67"/>
                <a:gd name="T86" fmla="*/ 41 w 44"/>
                <a:gd name="T87" fmla="*/ 65 h 67"/>
                <a:gd name="T88" fmla="*/ 41 w 44"/>
                <a:gd name="T8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67">
                  <a:moveTo>
                    <a:pt x="41" y="67"/>
                  </a:moveTo>
                  <a:lnTo>
                    <a:pt x="41" y="67"/>
                  </a:lnTo>
                  <a:lnTo>
                    <a:pt x="35" y="63"/>
                  </a:lnTo>
                  <a:lnTo>
                    <a:pt x="31" y="57"/>
                  </a:lnTo>
                  <a:lnTo>
                    <a:pt x="31" y="57"/>
                  </a:lnTo>
                  <a:lnTo>
                    <a:pt x="26" y="50"/>
                  </a:lnTo>
                  <a:lnTo>
                    <a:pt x="26" y="50"/>
                  </a:lnTo>
                  <a:lnTo>
                    <a:pt x="21" y="43"/>
                  </a:lnTo>
                  <a:lnTo>
                    <a:pt x="21" y="43"/>
                  </a:lnTo>
                  <a:lnTo>
                    <a:pt x="14" y="27"/>
                  </a:lnTo>
                  <a:lnTo>
                    <a:pt x="14" y="27"/>
                  </a:lnTo>
                  <a:lnTo>
                    <a:pt x="11" y="20"/>
                  </a:lnTo>
                  <a:lnTo>
                    <a:pt x="11" y="20"/>
                  </a:lnTo>
                  <a:lnTo>
                    <a:pt x="8" y="13"/>
                  </a:lnTo>
                  <a:lnTo>
                    <a:pt x="8" y="13"/>
                  </a:lnTo>
                  <a:lnTo>
                    <a:pt x="6" y="13"/>
                  </a:lnTo>
                  <a:lnTo>
                    <a:pt x="4" y="16"/>
                  </a:lnTo>
                  <a:lnTo>
                    <a:pt x="4" y="18"/>
                  </a:lnTo>
                  <a:lnTo>
                    <a:pt x="4" y="21"/>
                  </a:lnTo>
                  <a:lnTo>
                    <a:pt x="4" y="21"/>
                  </a:lnTo>
                  <a:lnTo>
                    <a:pt x="1" y="20"/>
                  </a:lnTo>
                  <a:lnTo>
                    <a:pt x="1" y="17"/>
                  </a:lnTo>
                  <a:lnTo>
                    <a:pt x="1" y="14"/>
                  </a:lnTo>
                  <a:lnTo>
                    <a:pt x="0" y="13"/>
                  </a:lnTo>
                  <a:lnTo>
                    <a:pt x="0" y="13"/>
                  </a:lnTo>
                  <a:lnTo>
                    <a:pt x="3" y="11"/>
                  </a:lnTo>
                  <a:lnTo>
                    <a:pt x="6" y="10"/>
                  </a:lnTo>
                  <a:lnTo>
                    <a:pt x="6" y="10"/>
                  </a:lnTo>
                  <a:lnTo>
                    <a:pt x="7" y="8"/>
                  </a:lnTo>
                  <a:lnTo>
                    <a:pt x="6" y="6"/>
                  </a:lnTo>
                  <a:lnTo>
                    <a:pt x="3" y="0"/>
                  </a:lnTo>
                  <a:lnTo>
                    <a:pt x="3" y="0"/>
                  </a:lnTo>
                  <a:lnTo>
                    <a:pt x="10" y="6"/>
                  </a:lnTo>
                  <a:lnTo>
                    <a:pt x="17" y="11"/>
                  </a:lnTo>
                  <a:lnTo>
                    <a:pt x="21" y="18"/>
                  </a:lnTo>
                  <a:lnTo>
                    <a:pt x="26" y="25"/>
                  </a:lnTo>
                  <a:lnTo>
                    <a:pt x="26" y="25"/>
                  </a:lnTo>
                  <a:lnTo>
                    <a:pt x="33" y="44"/>
                  </a:lnTo>
                  <a:lnTo>
                    <a:pt x="33" y="44"/>
                  </a:lnTo>
                  <a:lnTo>
                    <a:pt x="38" y="53"/>
                  </a:lnTo>
                  <a:lnTo>
                    <a:pt x="44" y="63"/>
                  </a:lnTo>
                  <a:lnTo>
                    <a:pt x="44" y="63"/>
                  </a:lnTo>
                  <a:lnTo>
                    <a:pt x="43" y="65"/>
                  </a:lnTo>
                  <a:lnTo>
                    <a:pt x="41" y="65"/>
                  </a:lnTo>
                  <a:lnTo>
                    <a:pt x="41" y="6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4" name="Freeform 364"/>
            <p:cNvSpPr/>
            <p:nvPr/>
          </p:nvSpPr>
          <p:spPr bwMode="auto">
            <a:xfrm>
              <a:off x="1611225" y="4636216"/>
              <a:ext cx="24574" cy="36861"/>
            </a:xfrm>
            <a:custGeom>
              <a:avLst/>
              <a:gdLst>
                <a:gd name="T0" fmla="*/ 9 w 9"/>
                <a:gd name="T1" fmla="*/ 12 h 12"/>
                <a:gd name="T2" fmla="*/ 9 w 9"/>
                <a:gd name="T3" fmla="*/ 12 h 12"/>
                <a:gd name="T4" fmla="*/ 7 w 9"/>
                <a:gd name="T5" fmla="*/ 11 h 12"/>
                <a:gd name="T6" fmla="*/ 4 w 9"/>
                <a:gd name="T7" fmla="*/ 10 h 12"/>
                <a:gd name="T8" fmla="*/ 0 w 9"/>
                <a:gd name="T9" fmla="*/ 5 h 12"/>
                <a:gd name="T10" fmla="*/ 0 w 9"/>
                <a:gd name="T11" fmla="*/ 5 h 12"/>
                <a:gd name="T12" fmla="*/ 3 w 9"/>
                <a:gd name="T13" fmla="*/ 2 h 12"/>
                <a:gd name="T14" fmla="*/ 3 w 9"/>
                <a:gd name="T15" fmla="*/ 1 h 12"/>
                <a:gd name="T16" fmla="*/ 4 w 9"/>
                <a:gd name="T17" fmla="*/ 0 h 12"/>
                <a:gd name="T18" fmla="*/ 4 w 9"/>
                <a:gd name="T19" fmla="*/ 0 h 12"/>
                <a:gd name="T20" fmla="*/ 7 w 9"/>
                <a:gd name="T21" fmla="*/ 4 h 12"/>
                <a:gd name="T22" fmla="*/ 7 w 9"/>
                <a:gd name="T23" fmla="*/ 7 h 12"/>
                <a:gd name="T24" fmla="*/ 7 w 9"/>
                <a:gd name="T25" fmla="*/ 10 h 12"/>
                <a:gd name="T26" fmla="*/ 9 w 9"/>
                <a:gd name="T2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2">
                  <a:moveTo>
                    <a:pt x="9" y="12"/>
                  </a:moveTo>
                  <a:lnTo>
                    <a:pt x="9" y="12"/>
                  </a:lnTo>
                  <a:lnTo>
                    <a:pt x="7" y="11"/>
                  </a:lnTo>
                  <a:lnTo>
                    <a:pt x="4" y="10"/>
                  </a:lnTo>
                  <a:lnTo>
                    <a:pt x="0" y="5"/>
                  </a:lnTo>
                  <a:lnTo>
                    <a:pt x="0" y="5"/>
                  </a:lnTo>
                  <a:lnTo>
                    <a:pt x="3" y="2"/>
                  </a:lnTo>
                  <a:lnTo>
                    <a:pt x="3" y="1"/>
                  </a:lnTo>
                  <a:lnTo>
                    <a:pt x="4" y="0"/>
                  </a:lnTo>
                  <a:lnTo>
                    <a:pt x="4" y="0"/>
                  </a:lnTo>
                  <a:lnTo>
                    <a:pt x="7" y="4"/>
                  </a:lnTo>
                  <a:lnTo>
                    <a:pt x="7" y="7"/>
                  </a:lnTo>
                  <a:lnTo>
                    <a:pt x="7" y="10"/>
                  </a:lnTo>
                  <a:lnTo>
                    <a:pt x="9" y="1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5" name="Freeform 365"/>
            <p:cNvSpPr/>
            <p:nvPr/>
          </p:nvSpPr>
          <p:spPr bwMode="auto">
            <a:xfrm>
              <a:off x="3528004" y="3456659"/>
              <a:ext cx="12287" cy="6142"/>
            </a:xfrm>
            <a:custGeom>
              <a:avLst/>
              <a:gdLst>
                <a:gd name="T0" fmla="*/ 4 w 4"/>
                <a:gd name="T1" fmla="*/ 0 h 2"/>
                <a:gd name="T2" fmla="*/ 4 w 4"/>
                <a:gd name="T3" fmla="*/ 0 h 2"/>
                <a:gd name="T4" fmla="*/ 4 w 4"/>
                <a:gd name="T5" fmla="*/ 0 h 2"/>
                <a:gd name="T6" fmla="*/ 2 w 4"/>
                <a:gd name="T7" fmla="*/ 1 h 2"/>
                <a:gd name="T8" fmla="*/ 2 w 4"/>
                <a:gd name="T9" fmla="*/ 1 h 2"/>
                <a:gd name="T10" fmla="*/ 1 w 4"/>
                <a:gd name="T11" fmla="*/ 1 h 2"/>
                <a:gd name="T12" fmla="*/ 1 w 4"/>
                <a:gd name="T13" fmla="*/ 1 h 2"/>
                <a:gd name="T14" fmla="*/ 0 w 4"/>
                <a:gd name="T15" fmla="*/ 2 h 2"/>
                <a:gd name="T16" fmla="*/ 0 w 4"/>
                <a:gd name="T17" fmla="*/ 2 h 2"/>
                <a:gd name="T18" fmla="*/ 4 w 4"/>
                <a:gd name="T19" fmla="*/ 0 h 2"/>
                <a:gd name="T20" fmla="*/ 4 w 4"/>
                <a:gd name="T21" fmla="*/ 0 h 2"/>
                <a:gd name="T22" fmla="*/ 4 w 4"/>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2">
                  <a:moveTo>
                    <a:pt x="4" y="0"/>
                  </a:moveTo>
                  <a:lnTo>
                    <a:pt x="4" y="0"/>
                  </a:lnTo>
                  <a:lnTo>
                    <a:pt x="4" y="0"/>
                  </a:lnTo>
                  <a:lnTo>
                    <a:pt x="2" y="1"/>
                  </a:lnTo>
                  <a:lnTo>
                    <a:pt x="2" y="1"/>
                  </a:lnTo>
                  <a:lnTo>
                    <a:pt x="1" y="1"/>
                  </a:lnTo>
                  <a:lnTo>
                    <a:pt x="1" y="1"/>
                  </a:lnTo>
                  <a:lnTo>
                    <a:pt x="0" y="2"/>
                  </a:lnTo>
                  <a:lnTo>
                    <a:pt x="0" y="2"/>
                  </a:lnTo>
                  <a:lnTo>
                    <a:pt x="4" y="0"/>
                  </a:lnTo>
                  <a:lnTo>
                    <a:pt x="4" y="0"/>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6" name="Freeform 366"/>
            <p:cNvSpPr/>
            <p:nvPr/>
          </p:nvSpPr>
          <p:spPr bwMode="auto">
            <a:xfrm>
              <a:off x="1574364" y="4476484"/>
              <a:ext cx="49148" cy="79863"/>
            </a:xfrm>
            <a:custGeom>
              <a:avLst/>
              <a:gdLst>
                <a:gd name="T0" fmla="*/ 16 w 16"/>
                <a:gd name="T1" fmla="*/ 22 h 26"/>
                <a:gd name="T2" fmla="*/ 16 w 16"/>
                <a:gd name="T3" fmla="*/ 22 h 26"/>
                <a:gd name="T4" fmla="*/ 10 w 16"/>
                <a:gd name="T5" fmla="*/ 23 h 26"/>
                <a:gd name="T6" fmla="*/ 9 w 16"/>
                <a:gd name="T7" fmla="*/ 23 h 26"/>
                <a:gd name="T8" fmla="*/ 6 w 16"/>
                <a:gd name="T9" fmla="*/ 26 h 26"/>
                <a:gd name="T10" fmla="*/ 6 w 16"/>
                <a:gd name="T11" fmla="*/ 26 h 26"/>
                <a:gd name="T12" fmla="*/ 3 w 16"/>
                <a:gd name="T13" fmla="*/ 19 h 26"/>
                <a:gd name="T14" fmla="*/ 2 w 16"/>
                <a:gd name="T15" fmla="*/ 13 h 26"/>
                <a:gd name="T16" fmla="*/ 2 w 16"/>
                <a:gd name="T17" fmla="*/ 13 h 26"/>
                <a:gd name="T18" fmla="*/ 0 w 16"/>
                <a:gd name="T19" fmla="*/ 0 h 26"/>
                <a:gd name="T20" fmla="*/ 0 w 16"/>
                <a:gd name="T21" fmla="*/ 0 h 26"/>
                <a:gd name="T22" fmla="*/ 3 w 16"/>
                <a:gd name="T23" fmla="*/ 2 h 26"/>
                <a:gd name="T24" fmla="*/ 5 w 16"/>
                <a:gd name="T25" fmla="*/ 3 h 26"/>
                <a:gd name="T26" fmla="*/ 9 w 16"/>
                <a:gd name="T27" fmla="*/ 9 h 26"/>
                <a:gd name="T28" fmla="*/ 12 w 16"/>
                <a:gd name="T29" fmla="*/ 14 h 26"/>
                <a:gd name="T30" fmla="*/ 16 w 16"/>
                <a:gd name="T3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26">
                  <a:moveTo>
                    <a:pt x="16" y="22"/>
                  </a:moveTo>
                  <a:lnTo>
                    <a:pt x="16" y="22"/>
                  </a:lnTo>
                  <a:lnTo>
                    <a:pt x="10" y="23"/>
                  </a:lnTo>
                  <a:lnTo>
                    <a:pt x="9" y="23"/>
                  </a:lnTo>
                  <a:lnTo>
                    <a:pt x="6" y="26"/>
                  </a:lnTo>
                  <a:lnTo>
                    <a:pt x="6" y="26"/>
                  </a:lnTo>
                  <a:lnTo>
                    <a:pt x="3" y="19"/>
                  </a:lnTo>
                  <a:lnTo>
                    <a:pt x="2" y="13"/>
                  </a:lnTo>
                  <a:lnTo>
                    <a:pt x="2" y="13"/>
                  </a:lnTo>
                  <a:lnTo>
                    <a:pt x="0" y="0"/>
                  </a:lnTo>
                  <a:lnTo>
                    <a:pt x="0" y="0"/>
                  </a:lnTo>
                  <a:lnTo>
                    <a:pt x="3" y="2"/>
                  </a:lnTo>
                  <a:lnTo>
                    <a:pt x="5" y="3"/>
                  </a:lnTo>
                  <a:lnTo>
                    <a:pt x="9" y="9"/>
                  </a:lnTo>
                  <a:lnTo>
                    <a:pt x="12" y="14"/>
                  </a:lnTo>
                  <a:lnTo>
                    <a:pt x="16" y="2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7" name="Freeform 367"/>
            <p:cNvSpPr/>
            <p:nvPr/>
          </p:nvSpPr>
          <p:spPr bwMode="auto">
            <a:xfrm>
              <a:off x="1334763" y="4132446"/>
              <a:ext cx="227312" cy="460763"/>
            </a:xfrm>
            <a:custGeom>
              <a:avLst/>
              <a:gdLst>
                <a:gd name="T0" fmla="*/ 42 w 73"/>
                <a:gd name="T1" fmla="*/ 99 h 152"/>
                <a:gd name="T2" fmla="*/ 46 w 73"/>
                <a:gd name="T3" fmla="*/ 107 h 152"/>
                <a:gd name="T4" fmla="*/ 39 w 73"/>
                <a:gd name="T5" fmla="*/ 97 h 152"/>
                <a:gd name="T6" fmla="*/ 32 w 73"/>
                <a:gd name="T7" fmla="*/ 86 h 152"/>
                <a:gd name="T8" fmla="*/ 20 w 73"/>
                <a:gd name="T9" fmla="*/ 63 h 152"/>
                <a:gd name="T10" fmla="*/ 10 w 73"/>
                <a:gd name="T11" fmla="*/ 36 h 152"/>
                <a:gd name="T12" fmla="*/ 9 w 73"/>
                <a:gd name="T13" fmla="*/ 28 h 152"/>
                <a:gd name="T14" fmla="*/ 7 w 73"/>
                <a:gd name="T15" fmla="*/ 28 h 152"/>
                <a:gd name="T16" fmla="*/ 7 w 73"/>
                <a:gd name="T17" fmla="*/ 26 h 152"/>
                <a:gd name="T18" fmla="*/ 5 w 73"/>
                <a:gd name="T19" fmla="*/ 19 h 152"/>
                <a:gd name="T20" fmla="*/ 5 w 73"/>
                <a:gd name="T21" fmla="*/ 18 h 152"/>
                <a:gd name="T22" fmla="*/ 5 w 73"/>
                <a:gd name="T23" fmla="*/ 16 h 152"/>
                <a:gd name="T24" fmla="*/ 5 w 73"/>
                <a:gd name="T25" fmla="*/ 9 h 152"/>
                <a:gd name="T26" fmla="*/ 0 w 73"/>
                <a:gd name="T27" fmla="*/ 8 h 152"/>
                <a:gd name="T28" fmla="*/ 2 w 73"/>
                <a:gd name="T29" fmla="*/ 5 h 152"/>
                <a:gd name="T30" fmla="*/ 2 w 73"/>
                <a:gd name="T31" fmla="*/ 0 h 152"/>
                <a:gd name="T32" fmla="*/ 6 w 73"/>
                <a:gd name="T33" fmla="*/ 3 h 152"/>
                <a:gd name="T34" fmla="*/ 7 w 73"/>
                <a:gd name="T35" fmla="*/ 8 h 152"/>
                <a:gd name="T36" fmla="*/ 12 w 73"/>
                <a:gd name="T37" fmla="*/ 5 h 152"/>
                <a:gd name="T38" fmla="*/ 16 w 73"/>
                <a:gd name="T39" fmla="*/ 13 h 152"/>
                <a:gd name="T40" fmla="*/ 16 w 73"/>
                <a:gd name="T41" fmla="*/ 13 h 152"/>
                <a:gd name="T42" fmla="*/ 16 w 73"/>
                <a:gd name="T43" fmla="*/ 15 h 152"/>
                <a:gd name="T44" fmla="*/ 19 w 73"/>
                <a:gd name="T45" fmla="*/ 23 h 152"/>
                <a:gd name="T46" fmla="*/ 20 w 73"/>
                <a:gd name="T47" fmla="*/ 23 h 152"/>
                <a:gd name="T48" fmla="*/ 22 w 73"/>
                <a:gd name="T49" fmla="*/ 28 h 152"/>
                <a:gd name="T50" fmla="*/ 25 w 73"/>
                <a:gd name="T51" fmla="*/ 36 h 152"/>
                <a:gd name="T52" fmla="*/ 35 w 73"/>
                <a:gd name="T53" fmla="*/ 55 h 152"/>
                <a:gd name="T54" fmla="*/ 40 w 73"/>
                <a:gd name="T55" fmla="*/ 65 h 152"/>
                <a:gd name="T56" fmla="*/ 46 w 73"/>
                <a:gd name="T57" fmla="*/ 72 h 152"/>
                <a:gd name="T58" fmla="*/ 47 w 73"/>
                <a:gd name="T59" fmla="*/ 85 h 152"/>
                <a:gd name="T60" fmla="*/ 46 w 73"/>
                <a:gd name="T61" fmla="*/ 89 h 152"/>
                <a:gd name="T62" fmla="*/ 49 w 73"/>
                <a:gd name="T63" fmla="*/ 89 h 152"/>
                <a:gd name="T64" fmla="*/ 53 w 73"/>
                <a:gd name="T65" fmla="*/ 85 h 152"/>
                <a:gd name="T66" fmla="*/ 53 w 73"/>
                <a:gd name="T67" fmla="*/ 89 h 152"/>
                <a:gd name="T68" fmla="*/ 53 w 73"/>
                <a:gd name="T69" fmla="*/ 95 h 152"/>
                <a:gd name="T70" fmla="*/ 56 w 73"/>
                <a:gd name="T71" fmla="*/ 96 h 152"/>
                <a:gd name="T72" fmla="*/ 56 w 73"/>
                <a:gd name="T73" fmla="*/ 99 h 152"/>
                <a:gd name="T74" fmla="*/ 52 w 73"/>
                <a:gd name="T75" fmla="*/ 100 h 152"/>
                <a:gd name="T76" fmla="*/ 62 w 73"/>
                <a:gd name="T77" fmla="*/ 113 h 152"/>
                <a:gd name="T78" fmla="*/ 65 w 73"/>
                <a:gd name="T79" fmla="*/ 117 h 152"/>
                <a:gd name="T80" fmla="*/ 66 w 73"/>
                <a:gd name="T81" fmla="*/ 115 h 152"/>
                <a:gd name="T82" fmla="*/ 63 w 73"/>
                <a:gd name="T83" fmla="*/ 109 h 152"/>
                <a:gd name="T84" fmla="*/ 70 w 73"/>
                <a:gd name="T85" fmla="*/ 117 h 152"/>
                <a:gd name="T86" fmla="*/ 73 w 73"/>
                <a:gd name="T87" fmla="*/ 129 h 152"/>
                <a:gd name="T88" fmla="*/ 70 w 73"/>
                <a:gd name="T89" fmla="*/ 130 h 152"/>
                <a:gd name="T90" fmla="*/ 65 w 73"/>
                <a:gd name="T91" fmla="*/ 132 h 152"/>
                <a:gd name="T92" fmla="*/ 65 w 73"/>
                <a:gd name="T93" fmla="*/ 136 h 152"/>
                <a:gd name="T94" fmla="*/ 62 w 73"/>
                <a:gd name="T95" fmla="*/ 135 h 152"/>
                <a:gd name="T96" fmla="*/ 59 w 73"/>
                <a:gd name="T97" fmla="*/ 130 h 152"/>
                <a:gd name="T98" fmla="*/ 56 w 73"/>
                <a:gd name="T99" fmla="*/ 120 h 152"/>
                <a:gd name="T100" fmla="*/ 50 w 73"/>
                <a:gd name="T101" fmla="*/ 109 h 152"/>
                <a:gd name="T102" fmla="*/ 47 w 73"/>
                <a:gd name="T103" fmla="*/ 107 h 152"/>
                <a:gd name="T104" fmla="*/ 57 w 73"/>
                <a:gd name="T105" fmla="*/ 132 h 152"/>
                <a:gd name="T106" fmla="*/ 63 w 73"/>
                <a:gd name="T107" fmla="*/ 143 h 152"/>
                <a:gd name="T108" fmla="*/ 63 w 73"/>
                <a:gd name="T109" fmla="*/ 152 h 152"/>
                <a:gd name="T110" fmla="*/ 57 w 73"/>
                <a:gd name="T111" fmla="*/ 147 h 152"/>
                <a:gd name="T112" fmla="*/ 53 w 73"/>
                <a:gd name="T113" fmla="*/ 142 h 152"/>
                <a:gd name="T114" fmla="*/ 47 w 73"/>
                <a:gd name="T115" fmla="*/ 129 h 152"/>
                <a:gd name="T116" fmla="*/ 36 w 73"/>
                <a:gd name="T117" fmla="*/ 102 h 152"/>
                <a:gd name="T118" fmla="*/ 42 w 73"/>
                <a:gd name="T119" fmla="*/ 9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 h="152">
                  <a:moveTo>
                    <a:pt x="42" y="99"/>
                  </a:moveTo>
                  <a:lnTo>
                    <a:pt x="42" y="99"/>
                  </a:lnTo>
                  <a:lnTo>
                    <a:pt x="46" y="107"/>
                  </a:lnTo>
                  <a:lnTo>
                    <a:pt x="46" y="107"/>
                  </a:lnTo>
                  <a:lnTo>
                    <a:pt x="39" y="97"/>
                  </a:lnTo>
                  <a:lnTo>
                    <a:pt x="39" y="97"/>
                  </a:lnTo>
                  <a:lnTo>
                    <a:pt x="32" y="86"/>
                  </a:lnTo>
                  <a:lnTo>
                    <a:pt x="32" y="86"/>
                  </a:lnTo>
                  <a:lnTo>
                    <a:pt x="20" y="63"/>
                  </a:lnTo>
                  <a:lnTo>
                    <a:pt x="20" y="63"/>
                  </a:lnTo>
                  <a:lnTo>
                    <a:pt x="10" y="36"/>
                  </a:lnTo>
                  <a:lnTo>
                    <a:pt x="10" y="36"/>
                  </a:lnTo>
                  <a:lnTo>
                    <a:pt x="9" y="29"/>
                  </a:lnTo>
                  <a:lnTo>
                    <a:pt x="9" y="28"/>
                  </a:lnTo>
                  <a:lnTo>
                    <a:pt x="7" y="28"/>
                  </a:lnTo>
                  <a:lnTo>
                    <a:pt x="7" y="28"/>
                  </a:lnTo>
                  <a:lnTo>
                    <a:pt x="7" y="26"/>
                  </a:lnTo>
                  <a:lnTo>
                    <a:pt x="7" y="26"/>
                  </a:lnTo>
                  <a:lnTo>
                    <a:pt x="5" y="19"/>
                  </a:lnTo>
                  <a:lnTo>
                    <a:pt x="5" y="19"/>
                  </a:lnTo>
                  <a:lnTo>
                    <a:pt x="5" y="18"/>
                  </a:lnTo>
                  <a:lnTo>
                    <a:pt x="5" y="18"/>
                  </a:lnTo>
                  <a:lnTo>
                    <a:pt x="5" y="16"/>
                  </a:lnTo>
                  <a:lnTo>
                    <a:pt x="5" y="16"/>
                  </a:lnTo>
                  <a:lnTo>
                    <a:pt x="5" y="9"/>
                  </a:lnTo>
                  <a:lnTo>
                    <a:pt x="5" y="9"/>
                  </a:lnTo>
                  <a:lnTo>
                    <a:pt x="3" y="8"/>
                  </a:lnTo>
                  <a:lnTo>
                    <a:pt x="0" y="8"/>
                  </a:lnTo>
                  <a:lnTo>
                    <a:pt x="0" y="8"/>
                  </a:lnTo>
                  <a:lnTo>
                    <a:pt x="2" y="5"/>
                  </a:lnTo>
                  <a:lnTo>
                    <a:pt x="2" y="0"/>
                  </a:lnTo>
                  <a:lnTo>
                    <a:pt x="2" y="0"/>
                  </a:lnTo>
                  <a:lnTo>
                    <a:pt x="5" y="0"/>
                  </a:lnTo>
                  <a:lnTo>
                    <a:pt x="6" y="3"/>
                  </a:lnTo>
                  <a:lnTo>
                    <a:pt x="7" y="8"/>
                  </a:lnTo>
                  <a:lnTo>
                    <a:pt x="7" y="8"/>
                  </a:lnTo>
                  <a:lnTo>
                    <a:pt x="10" y="6"/>
                  </a:lnTo>
                  <a:lnTo>
                    <a:pt x="12" y="5"/>
                  </a:lnTo>
                  <a:lnTo>
                    <a:pt x="12" y="5"/>
                  </a:lnTo>
                  <a:lnTo>
                    <a:pt x="16" y="13"/>
                  </a:lnTo>
                  <a:lnTo>
                    <a:pt x="16" y="13"/>
                  </a:lnTo>
                  <a:lnTo>
                    <a:pt x="16" y="13"/>
                  </a:lnTo>
                  <a:lnTo>
                    <a:pt x="16" y="15"/>
                  </a:lnTo>
                  <a:lnTo>
                    <a:pt x="16" y="15"/>
                  </a:lnTo>
                  <a:lnTo>
                    <a:pt x="17" y="15"/>
                  </a:lnTo>
                  <a:lnTo>
                    <a:pt x="19" y="23"/>
                  </a:lnTo>
                  <a:lnTo>
                    <a:pt x="19" y="23"/>
                  </a:lnTo>
                  <a:lnTo>
                    <a:pt x="20" y="23"/>
                  </a:lnTo>
                  <a:lnTo>
                    <a:pt x="20" y="23"/>
                  </a:lnTo>
                  <a:lnTo>
                    <a:pt x="22" y="28"/>
                  </a:lnTo>
                  <a:lnTo>
                    <a:pt x="22" y="28"/>
                  </a:lnTo>
                  <a:lnTo>
                    <a:pt x="25" y="36"/>
                  </a:lnTo>
                  <a:lnTo>
                    <a:pt x="25" y="36"/>
                  </a:lnTo>
                  <a:lnTo>
                    <a:pt x="35" y="55"/>
                  </a:lnTo>
                  <a:lnTo>
                    <a:pt x="35" y="55"/>
                  </a:lnTo>
                  <a:lnTo>
                    <a:pt x="40" y="65"/>
                  </a:lnTo>
                  <a:lnTo>
                    <a:pt x="46" y="72"/>
                  </a:lnTo>
                  <a:lnTo>
                    <a:pt x="46" y="72"/>
                  </a:lnTo>
                  <a:lnTo>
                    <a:pt x="47" y="80"/>
                  </a:lnTo>
                  <a:lnTo>
                    <a:pt x="47" y="85"/>
                  </a:lnTo>
                  <a:lnTo>
                    <a:pt x="46" y="89"/>
                  </a:lnTo>
                  <a:lnTo>
                    <a:pt x="46" y="89"/>
                  </a:lnTo>
                  <a:lnTo>
                    <a:pt x="47" y="90"/>
                  </a:lnTo>
                  <a:lnTo>
                    <a:pt x="49" y="89"/>
                  </a:lnTo>
                  <a:lnTo>
                    <a:pt x="50" y="86"/>
                  </a:lnTo>
                  <a:lnTo>
                    <a:pt x="53" y="85"/>
                  </a:lnTo>
                  <a:lnTo>
                    <a:pt x="53" y="85"/>
                  </a:lnTo>
                  <a:lnTo>
                    <a:pt x="53" y="89"/>
                  </a:lnTo>
                  <a:lnTo>
                    <a:pt x="53" y="92"/>
                  </a:lnTo>
                  <a:lnTo>
                    <a:pt x="53" y="95"/>
                  </a:lnTo>
                  <a:lnTo>
                    <a:pt x="56" y="96"/>
                  </a:lnTo>
                  <a:lnTo>
                    <a:pt x="56" y="96"/>
                  </a:lnTo>
                  <a:lnTo>
                    <a:pt x="56" y="99"/>
                  </a:lnTo>
                  <a:lnTo>
                    <a:pt x="56" y="99"/>
                  </a:lnTo>
                  <a:lnTo>
                    <a:pt x="52" y="100"/>
                  </a:lnTo>
                  <a:lnTo>
                    <a:pt x="52" y="100"/>
                  </a:lnTo>
                  <a:lnTo>
                    <a:pt x="59" y="110"/>
                  </a:lnTo>
                  <a:lnTo>
                    <a:pt x="62" y="113"/>
                  </a:lnTo>
                  <a:lnTo>
                    <a:pt x="65" y="117"/>
                  </a:lnTo>
                  <a:lnTo>
                    <a:pt x="65" y="117"/>
                  </a:lnTo>
                  <a:lnTo>
                    <a:pt x="66" y="116"/>
                  </a:lnTo>
                  <a:lnTo>
                    <a:pt x="66" y="115"/>
                  </a:lnTo>
                  <a:lnTo>
                    <a:pt x="63" y="109"/>
                  </a:lnTo>
                  <a:lnTo>
                    <a:pt x="63" y="109"/>
                  </a:lnTo>
                  <a:lnTo>
                    <a:pt x="67" y="112"/>
                  </a:lnTo>
                  <a:lnTo>
                    <a:pt x="70" y="117"/>
                  </a:lnTo>
                  <a:lnTo>
                    <a:pt x="73" y="123"/>
                  </a:lnTo>
                  <a:lnTo>
                    <a:pt x="73" y="129"/>
                  </a:lnTo>
                  <a:lnTo>
                    <a:pt x="73" y="129"/>
                  </a:lnTo>
                  <a:lnTo>
                    <a:pt x="70" y="130"/>
                  </a:lnTo>
                  <a:lnTo>
                    <a:pt x="66" y="130"/>
                  </a:lnTo>
                  <a:lnTo>
                    <a:pt x="65" y="132"/>
                  </a:lnTo>
                  <a:lnTo>
                    <a:pt x="63" y="132"/>
                  </a:lnTo>
                  <a:lnTo>
                    <a:pt x="65" y="136"/>
                  </a:lnTo>
                  <a:lnTo>
                    <a:pt x="65" y="136"/>
                  </a:lnTo>
                  <a:lnTo>
                    <a:pt x="62" y="135"/>
                  </a:lnTo>
                  <a:lnTo>
                    <a:pt x="59" y="130"/>
                  </a:lnTo>
                  <a:lnTo>
                    <a:pt x="59" y="130"/>
                  </a:lnTo>
                  <a:lnTo>
                    <a:pt x="56" y="120"/>
                  </a:lnTo>
                  <a:lnTo>
                    <a:pt x="56" y="120"/>
                  </a:lnTo>
                  <a:lnTo>
                    <a:pt x="53" y="112"/>
                  </a:lnTo>
                  <a:lnTo>
                    <a:pt x="50" y="109"/>
                  </a:lnTo>
                  <a:lnTo>
                    <a:pt x="47" y="107"/>
                  </a:lnTo>
                  <a:lnTo>
                    <a:pt x="47" y="107"/>
                  </a:lnTo>
                  <a:lnTo>
                    <a:pt x="52" y="119"/>
                  </a:lnTo>
                  <a:lnTo>
                    <a:pt x="57" y="132"/>
                  </a:lnTo>
                  <a:lnTo>
                    <a:pt x="57" y="132"/>
                  </a:lnTo>
                  <a:lnTo>
                    <a:pt x="63" y="143"/>
                  </a:lnTo>
                  <a:lnTo>
                    <a:pt x="63" y="147"/>
                  </a:lnTo>
                  <a:lnTo>
                    <a:pt x="63" y="152"/>
                  </a:lnTo>
                  <a:lnTo>
                    <a:pt x="63" y="152"/>
                  </a:lnTo>
                  <a:lnTo>
                    <a:pt x="57" y="147"/>
                  </a:lnTo>
                  <a:lnTo>
                    <a:pt x="53" y="142"/>
                  </a:lnTo>
                  <a:lnTo>
                    <a:pt x="53" y="142"/>
                  </a:lnTo>
                  <a:lnTo>
                    <a:pt x="47" y="129"/>
                  </a:lnTo>
                  <a:lnTo>
                    <a:pt x="47" y="129"/>
                  </a:lnTo>
                  <a:lnTo>
                    <a:pt x="43" y="115"/>
                  </a:lnTo>
                  <a:lnTo>
                    <a:pt x="36" y="102"/>
                  </a:lnTo>
                  <a:lnTo>
                    <a:pt x="36" y="102"/>
                  </a:lnTo>
                  <a:lnTo>
                    <a:pt x="42" y="9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8" name="Freeform 368"/>
            <p:cNvSpPr/>
            <p:nvPr/>
          </p:nvSpPr>
          <p:spPr bwMode="auto">
            <a:xfrm>
              <a:off x="1672658" y="4470339"/>
              <a:ext cx="24574" cy="12287"/>
            </a:xfrm>
            <a:custGeom>
              <a:avLst/>
              <a:gdLst>
                <a:gd name="T0" fmla="*/ 7 w 7"/>
                <a:gd name="T1" fmla="*/ 5 h 5"/>
                <a:gd name="T2" fmla="*/ 7 w 7"/>
                <a:gd name="T3" fmla="*/ 5 h 5"/>
                <a:gd name="T4" fmla="*/ 4 w 7"/>
                <a:gd name="T5" fmla="*/ 5 h 5"/>
                <a:gd name="T6" fmla="*/ 3 w 7"/>
                <a:gd name="T7" fmla="*/ 5 h 5"/>
                <a:gd name="T8" fmla="*/ 0 w 7"/>
                <a:gd name="T9" fmla="*/ 3 h 5"/>
                <a:gd name="T10" fmla="*/ 0 w 7"/>
                <a:gd name="T11" fmla="*/ 0 h 5"/>
                <a:gd name="T12" fmla="*/ 0 w 7"/>
                <a:gd name="T13" fmla="*/ 0 h 5"/>
                <a:gd name="T14" fmla="*/ 3 w 7"/>
                <a:gd name="T15" fmla="*/ 0 h 5"/>
                <a:gd name="T16" fmla="*/ 4 w 7"/>
                <a:gd name="T17" fmla="*/ 0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7" y="5"/>
                  </a:lnTo>
                  <a:lnTo>
                    <a:pt x="4" y="5"/>
                  </a:lnTo>
                  <a:lnTo>
                    <a:pt x="3" y="5"/>
                  </a:lnTo>
                  <a:lnTo>
                    <a:pt x="0" y="3"/>
                  </a:lnTo>
                  <a:lnTo>
                    <a:pt x="0" y="0"/>
                  </a:lnTo>
                  <a:lnTo>
                    <a:pt x="0" y="0"/>
                  </a:lnTo>
                  <a:lnTo>
                    <a:pt x="3" y="0"/>
                  </a:lnTo>
                  <a:lnTo>
                    <a:pt x="4" y="0"/>
                  </a:lnTo>
                  <a:lnTo>
                    <a:pt x="7"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9" name="Freeform 369"/>
            <p:cNvSpPr/>
            <p:nvPr/>
          </p:nvSpPr>
          <p:spPr bwMode="auto">
            <a:xfrm>
              <a:off x="1586650" y="4329039"/>
              <a:ext cx="98296" cy="129012"/>
            </a:xfrm>
            <a:custGeom>
              <a:avLst/>
              <a:gdLst>
                <a:gd name="T0" fmla="*/ 20 w 31"/>
                <a:gd name="T1" fmla="*/ 38 h 42"/>
                <a:gd name="T2" fmla="*/ 20 w 31"/>
                <a:gd name="T3" fmla="*/ 38 h 42"/>
                <a:gd name="T4" fmla="*/ 21 w 31"/>
                <a:gd name="T5" fmla="*/ 40 h 42"/>
                <a:gd name="T6" fmla="*/ 22 w 31"/>
                <a:gd name="T7" fmla="*/ 38 h 42"/>
                <a:gd name="T8" fmla="*/ 22 w 31"/>
                <a:gd name="T9" fmla="*/ 38 h 42"/>
                <a:gd name="T10" fmla="*/ 17 w 31"/>
                <a:gd name="T11" fmla="*/ 27 h 42"/>
                <a:gd name="T12" fmla="*/ 11 w 31"/>
                <a:gd name="T13" fmla="*/ 20 h 42"/>
                <a:gd name="T14" fmla="*/ 11 w 31"/>
                <a:gd name="T15" fmla="*/ 20 h 42"/>
                <a:gd name="T16" fmla="*/ 0 w 31"/>
                <a:gd name="T17" fmla="*/ 3 h 42"/>
                <a:gd name="T18" fmla="*/ 0 w 31"/>
                <a:gd name="T19" fmla="*/ 3 h 42"/>
                <a:gd name="T20" fmla="*/ 1 w 31"/>
                <a:gd name="T21" fmla="*/ 1 h 42"/>
                <a:gd name="T22" fmla="*/ 4 w 31"/>
                <a:gd name="T23" fmla="*/ 0 h 42"/>
                <a:gd name="T24" fmla="*/ 8 w 31"/>
                <a:gd name="T25" fmla="*/ 1 h 42"/>
                <a:gd name="T26" fmla="*/ 8 w 31"/>
                <a:gd name="T27" fmla="*/ 1 h 42"/>
                <a:gd name="T28" fmla="*/ 12 w 31"/>
                <a:gd name="T29" fmla="*/ 5 h 42"/>
                <a:gd name="T30" fmla="*/ 12 w 31"/>
                <a:gd name="T31" fmla="*/ 5 h 42"/>
                <a:gd name="T32" fmla="*/ 17 w 31"/>
                <a:gd name="T33" fmla="*/ 11 h 42"/>
                <a:gd name="T34" fmla="*/ 17 w 31"/>
                <a:gd name="T35" fmla="*/ 11 h 42"/>
                <a:gd name="T36" fmla="*/ 25 w 31"/>
                <a:gd name="T37" fmla="*/ 24 h 42"/>
                <a:gd name="T38" fmla="*/ 31 w 31"/>
                <a:gd name="T39" fmla="*/ 34 h 42"/>
                <a:gd name="T40" fmla="*/ 31 w 31"/>
                <a:gd name="T41" fmla="*/ 34 h 42"/>
                <a:gd name="T42" fmla="*/ 30 w 31"/>
                <a:gd name="T43" fmla="*/ 40 h 42"/>
                <a:gd name="T44" fmla="*/ 28 w 31"/>
                <a:gd name="T45" fmla="*/ 42 h 42"/>
                <a:gd name="T46" fmla="*/ 28 w 31"/>
                <a:gd name="T47" fmla="*/ 42 h 42"/>
                <a:gd name="T48" fmla="*/ 25 w 31"/>
                <a:gd name="T49" fmla="*/ 42 h 42"/>
                <a:gd name="T50" fmla="*/ 24 w 31"/>
                <a:gd name="T51" fmla="*/ 42 h 42"/>
                <a:gd name="T52" fmla="*/ 20 w 31"/>
                <a:gd name="T53" fmla="*/ 3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 h="42">
                  <a:moveTo>
                    <a:pt x="20" y="38"/>
                  </a:moveTo>
                  <a:lnTo>
                    <a:pt x="20" y="38"/>
                  </a:lnTo>
                  <a:lnTo>
                    <a:pt x="21" y="40"/>
                  </a:lnTo>
                  <a:lnTo>
                    <a:pt x="22" y="38"/>
                  </a:lnTo>
                  <a:lnTo>
                    <a:pt x="22" y="38"/>
                  </a:lnTo>
                  <a:lnTo>
                    <a:pt x="17" y="27"/>
                  </a:lnTo>
                  <a:lnTo>
                    <a:pt x="11" y="20"/>
                  </a:lnTo>
                  <a:lnTo>
                    <a:pt x="11" y="20"/>
                  </a:lnTo>
                  <a:lnTo>
                    <a:pt x="0" y="3"/>
                  </a:lnTo>
                  <a:lnTo>
                    <a:pt x="0" y="3"/>
                  </a:lnTo>
                  <a:lnTo>
                    <a:pt x="1" y="1"/>
                  </a:lnTo>
                  <a:lnTo>
                    <a:pt x="4" y="0"/>
                  </a:lnTo>
                  <a:lnTo>
                    <a:pt x="8" y="1"/>
                  </a:lnTo>
                  <a:lnTo>
                    <a:pt x="8" y="1"/>
                  </a:lnTo>
                  <a:lnTo>
                    <a:pt x="12" y="5"/>
                  </a:lnTo>
                  <a:lnTo>
                    <a:pt x="12" y="5"/>
                  </a:lnTo>
                  <a:lnTo>
                    <a:pt x="17" y="11"/>
                  </a:lnTo>
                  <a:lnTo>
                    <a:pt x="17" y="11"/>
                  </a:lnTo>
                  <a:lnTo>
                    <a:pt x="25" y="24"/>
                  </a:lnTo>
                  <a:lnTo>
                    <a:pt x="31" y="34"/>
                  </a:lnTo>
                  <a:lnTo>
                    <a:pt x="31" y="34"/>
                  </a:lnTo>
                  <a:lnTo>
                    <a:pt x="30" y="40"/>
                  </a:lnTo>
                  <a:lnTo>
                    <a:pt x="28" y="42"/>
                  </a:lnTo>
                  <a:lnTo>
                    <a:pt x="28" y="42"/>
                  </a:lnTo>
                  <a:lnTo>
                    <a:pt x="25" y="42"/>
                  </a:lnTo>
                  <a:lnTo>
                    <a:pt x="24" y="42"/>
                  </a:lnTo>
                  <a:lnTo>
                    <a:pt x="20" y="3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0" name="Freeform 370"/>
            <p:cNvSpPr/>
            <p:nvPr/>
          </p:nvSpPr>
          <p:spPr bwMode="auto">
            <a:xfrm>
              <a:off x="1525215" y="4396616"/>
              <a:ext cx="43007" cy="61435"/>
            </a:xfrm>
            <a:custGeom>
              <a:avLst/>
              <a:gdLst>
                <a:gd name="T0" fmla="*/ 14 w 14"/>
                <a:gd name="T1" fmla="*/ 20 h 20"/>
                <a:gd name="T2" fmla="*/ 14 w 14"/>
                <a:gd name="T3" fmla="*/ 20 h 20"/>
                <a:gd name="T4" fmla="*/ 11 w 14"/>
                <a:gd name="T5" fmla="*/ 20 h 20"/>
                <a:gd name="T6" fmla="*/ 8 w 14"/>
                <a:gd name="T7" fmla="*/ 19 h 20"/>
                <a:gd name="T8" fmla="*/ 5 w 14"/>
                <a:gd name="T9" fmla="*/ 17 h 20"/>
                <a:gd name="T10" fmla="*/ 3 w 14"/>
                <a:gd name="T11" fmla="*/ 17 h 20"/>
                <a:gd name="T12" fmla="*/ 3 w 14"/>
                <a:gd name="T13" fmla="*/ 17 h 20"/>
                <a:gd name="T14" fmla="*/ 4 w 14"/>
                <a:gd name="T15" fmla="*/ 16 h 20"/>
                <a:gd name="T16" fmla="*/ 4 w 14"/>
                <a:gd name="T17" fmla="*/ 13 h 20"/>
                <a:gd name="T18" fmla="*/ 1 w 14"/>
                <a:gd name="T19" fmla="*/ 9 h 20"/>
                <a:gd name="T20" fmla="*/ 0 w 14"/>
                <a:gd name="T21" fmla="*/ 3 h 20"/>
                <a:gd name="T22" fmla="*/ 0 w 14"/>
                <a:gd name="T23" fmla="*/ 1 h 20"/>
                <a:gd name="T24" fmla="*/ 1 w 14"/>
                <a:gd name="T25" fmla="*/ 0 h 20"/>
                <a:gd name="T26" fmla="*/ 1 w 14"/>
                <a:gd name="T27" fmla="*/ 0 h 20"/>
                <a:gd name="T28" fmla="*/ 1 w 14"/>
                <a:gd name="T29" fmla="*/ 3 h 20"/>
                <a:gd name="T30" fmla="*/ 3 w 14"/>
                <a:gd name="T31" fmla="*/ 6 h 20"/>
                <a:gd name="T32" fmla="*/ 7 w 14"/>
                <a:gd name="T33" fmla="*/ 10 h 20"/>
                <a:gd name="T34" fmla="*/ 11 w 14"/>
                <a:gd name="T35" fmla="*/ 14 h 20"/>
                <a:gd name="T36" fmla="*/ 12 w 14"/>
                <a:gd name="T37" fmla="*/ 17 h 20"/>
                <a:gd name="T38" fmla="*/ 14 w 14"/>
                <a:gd name="T3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20">
                  <a:moveTo>
                    <a:pt x="14" y="20"/>
                  </a:moveTo>
                  <a:lnTo>
                    <a:pt x="14" y="20"/>
                  </a:lnTo>
                  <a:lnTo>
                    <a:pt x="11" y="20"/>
                  </a:lnTo>
                  <a:lnTo>
                    <a:pt x="8" y="19"/>
                  </a:lnTo>
                  <a:lnTo>
                    <a:pt x="5" y="17"/>
                  </a:lnTo>
                  <a:lnTo>
                    <a:pt x="3" y="17"/>
                  </a:lnTo>
                  <a:lnTo>
                    <a:pt x="3" y="17"/>
                  </a:lnTo>
                  <a:lnTo>
                    <a:pt x="4" y="16"/>
                  </a:lnTo>
                  <a:lnTo>
                    <a:pt x="4" y="13"/>
                  </a:lnTo>
                  <a:lnTo>
                    <a:pt x="1" y="9"/>
                  </a:lnTo>
                  <a:lnTo>
                    <a:pt x="0" y="3"/>
                  </a:lnTo>
                  <a:lnTo>
                    <a:pt x="0" y="1"/>
                  </a:lnTo>
                  <a:lnTo>
                    <a:pt x="1" y="0"/>
                  </a:lnTo>
                  <a:lnTo>
                    <a:pt x="1" y="0"/>
                  </a:lnTo>
                  <a:lnTo>
                    <a:pt x="1" y="3"/>
                  </a:lnTo>
                  <a:lnTo>
                    <a:pt x="3" y="6"/>
                  </a:lnTo>
                  <a:lnTo>
                    <a:pt x="7" y="10"/>
                  </a:lnTo>
                  <a:lnTo>
                    <a:pt x="11" y="14"/>
                  </a:lnTo>
                  <a:lnTo>
                    <a:pt x="12" y="17"/>
                  </a:lnTo>
                  <a:lnTo>
                    <a:pt x="14" y="2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1" name="Freeform 371"/>
            <p:cNvSpPr/>
            <p:nvPr/>
          </p:nvSpPr>
          <p:spPr bwMode="auto">
            <a:xfrm>
              <a:off x="1666514" y="4144733"/>
              <a:ext cx="104442" cy="196593"/>
            </a:xfrm>
            <a:custGeom>
              <a:avLst/>
              <a:gdLst>
                <a:gd name="T0" fmla="*/ 1 w 33"/>
                <a:gd name="T1" fmla="*/ 14 h 64"/>
                <a:gd name="T2" fmla="*/ 1 w 33"/>
                <a:gd name="T3" fmla="*/ 10 h 64"/>
                <a:gd name="T4" fmla="*/ 3 w 33"/>
                <a:gd name="T5" fmla="*/ 11 h 64"/>
                <a:gd name="T6" fmla="*/ 4 w 33"/>
                <a:gd name="T7" fmla="*/ 14 h 64"/>
                <a:gd name="T8" fmla="*/ 7 w 33"/>
                <a:gd name="T9" fmla="*/ 14 h 64"/>
                <a:gd name="T10" fmla="*/ 5 w 33"/>
                <a:gd name="T11" fmla="*/ 7 h 64"/>
                <a:gd name="T12" fmla="*/ 3 w 33"/>
                <a:gd name="T13" fmla="*/ 0 h 64"/>
                <a:gd name="T14" fmla="*/ 8 w 33"/>
                <a:gd name="T15" fmla="*/ 4 h 64"/>
                <a:gd name="T16" fmla="*/ 17 w 33"/>
                <a:gd name="T17" fmla="*/ 18 h 64"/>
                <a:gd name="T18" fmla="*/ 23 w 33"/>
                <a:gd name="T19" fmla="*/ 23 h 64"/>
                <a:gd name="T20" fmla="*/ 17 w 33"/>
                <a:gd name="T21" fmla="*/ 25 h 64"/>
                <a:gd name="T22" fmla="*/ 13 w 33"/>
                <a:gd name="T23" fmla="*/ 25 h 64"/>
                <a:gd name="T24" fmla="*/ 13 w 33"/>
                <a:gd name="T25" fmla="*/ 30 h 64"/>
                <a:gd name="T26" fmla="*/ 13 w 33"/>
                <a:gd name="T27" fmla="*/ 33 h 64"/>
                <a:gd name="T28" fmla="*/ 15 w 33"/>
                <a:gd name="T29" fmla="*/ 34 h 64"/>
                <a:gd name="T30" fmla="*/ 17 w 33"/>
                <a:gd name="T31" fmla="*/ 28 h 64"/>
                <a:gd name="T32" fmla="*/ 18 w 33"/>
                <a:gd name="T33" fmla="*/ 27 h 64"/>
                <a:gd name="T34" fmla="*/ 24 w 33"/>
                <a:gd name="T35" fmla="*/ 38 h 64"/>
                <a:gd name="T36" fmla="*/ 30 w 33"/>
                <a:gd name="T37" fmla="*/ 44 h 64"/>
                <a:gd name="T38" fmla="*/ 30 w 33"/>
                <a:gd name="T39" fmla="*/ 48 h 64"/>
                <a:gd name="T40" fmla="*/ 33 w 33"/>
                <a:gd name="T41" fmla="*/ 54 h 64"/>
                <a:gd name="T42" fmla="*/ 28 w 33"/>
                <a:gd name="T43" fmla="*/ 54 h 64"/>
                <a:gd name="T44" fmla="*/ 25 w 33"/>
                <a:gd name="T45" fmla="*/ 51 h 64"/>
                <a:gd name="T46" fmla="*/ 23 w 33"/>
                <a:gd name="T47" fmla="*/ 44 h 64"/>
                <a:gd name="T48" fmla="*/ 21 w 33"/>
                <a:gd name="T49" fmla="*/ 44 h 64"/>
                <a:gd name="T50" fmla="*/ 21 w 33"/>
                <a:gd name="T51" fmla="*/ 50 h 64"/>
                <a:gd name="T52" fmla="*/ 25 w 33"/>
                <a:gd name="T53" fmla="*/ 55 h 64"/>
                <a:gd name="T54" fmla="*/ 28 w 33"/>
                <a:gd name="T55" fmla="*/ 60 h 64"/>
                <a:gd name="T56" fmla="*/ 25 w 33"/>
                <a:gd name="T57" fmla="*/ 64 h 64"/>
                <a:gd name="T58" fmla="*/ 23 w 33"/>
                <a:gd name="T59" fmla="*/ 57 h 64"/>
                <a:gd name="T60" fmla="*/ 18 w 33"/>
                <a:gd name="T61" fmla="*/ 50 h 64"/>
                <a:gd name="T62" fmla="*/ 10 w 33"/>
                <a:gd name="T63" fmla="*/ 35 h 64"/>
                <a:gd name="T64" fmla="*/ 1 w 33"/>
                <a:gd name="T65" fmla="*/ 20 h 64"/>
                <a:gd name="T66" fmla="*/ 0 w 33"/>
                <a:gd name="T67" fmla="*/ 11 h 64"/>
                <a:gd name="T68" fmla="*/ 0 w 33"/>
                <a:gd name="T69" fmla="*/ 3 h 64"/>
                <a:gd name="T70" fmla="*/ 1 w 33"/>
                <a:gd name="T71" fmla="*/ 7 h 64"/>
                <a:gd name="T72" fmla="*/ 1 w 33"/>
                <a:gd name="T73" fmla="*/ 1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 h="64">
                  <a:moveTo>
                    <a:pt x="1" y="14"/>
                  </a:moveTo>
                  <a:lnTo>
                    <a:pt x="1" y="14"/>
                  </a:lnTo>
                  <a:lnTo>
                    <a:pt x="1" y="13"/>
                  </a:lnTo>
                  <a:lnTo>
                    <a:pt x="1" y="10"/>
                  </a:lnTo>
                  <a:lnTo>
                    <a:pt x="1" y="10"/>
                  </a:lnTo>
                  <a:lnTo>
                    <a:pt x="3" y="11"/>
                  </a:lnTo>
                  <a:lnTo>
                    <a:pt x="4" y="13"/>
                  </a:lnTo>
                  <a:lnTo>
                    <a:pt x="4" y="14"/>
                  </a:lnTo>
                  <a:lnTo>
                    <a:pt x="7" y="14"/>
                  </a:lnTo>
                  <a:lnTo>
                    <a:pt x="7" y="14"/>
                  </a:lnTo>
                  <a:lnTo>
                    <a:pt x="7" y="11"/>
                  </a:lnTo>
                  <a:lnTo>
                    <a:pt x="5" y="7"/>
                  </a:lnTo>
                  <a:lnTo>
                    <a:pt x="3" y="0"/>
                  </a:lnTo>
                  <a:lnTo>
                    <a:pt x="3" y="0"/>
                  </a:lnTo>
                  <a:lnTo>
                    <a:pt x="5" y="1"/>
                  </a:lnTo>
                  <a:lnTo>
                    <a:pt x="8" y="4"/>
                  </a:lnTo>
                  <a:lnTo>
                    <a:pt x="13" y="11"/>
                  </a:lnTo>
                  <a:lnTo>
                    <a:pt x="17" y="18"/>
                  </a:lnTo>
                  <a:lnTo>
                    <a:pt x="23" y="23"/>
                  </a:lnTo>
                  <a:lnTo>
                    <a:pt x="23" y="23"/>
                  </a:lnTo>
                  <a:lnTo>
                    <a:pt x="20" y="24"/>
                  </a:lnTo>
                  <a:lnTo>
                    <a:pt x="17" y="25"/>
                  </a:lnTo>
                  <a:lnTo>
                    <a:pt x="13" y="25"/>
                  </a:lnTo>
                  <a:lnTo>
                    <a:pt x="13" y="25"/>
                  </a:lnTo>
                  <a:lnTo>
                    <a:pt x="11" y="28"/>
                  </a:lnTo>
                  <a:lnTo>
                    <a:pt x="13" y="30"/>
                  </a:lnTo>
                  <a:lnTo>
                    <a:pt x="13" y="31"/>
                  </a:lnTo>
                  <a:lnTo>
                    <a:pt x="13" y="33"/>
                  </a:lnTo>
                  <a:lnTo>
                    <a:pt x="13" y="33"/>
                  </a:lnTo>
                  <a:lnTo>
                    <a:pt x="15" y="34"/>
                  </a:lnTo>
                  <a:lnTo>
                    <a:pt x="15" y="31"/>
                  </a:lnTo>
                  <a:lnTo>
                    <a:pt x="17" y="28"/>
                  </a:lnTo>
                  <a:lnTo>
                    <a:pt x="17" y="27"/>
                  </a:lnTo>
                  <a:lnTo>
                    <a:pt x="18" y="27"/>
                  </a:lnTo>
                  <a:lnTo>
                    <a:pt x="18" y="27"/>
                  </a:lnTo>
                  <a:lnTo>
                    <a:pt x="24" y="38"/>
                  </a:lnTo>
                  <a:lnTo>
                    <a:pt x="27" y="43"/>
                  </a:lnTo>
                  <a:lnTo>
                    <a:pt x="30" y="44"/>
                  </a:lnTo>
                  <a:lnTo>
                    <a:pt x="30" y="44"/>
                  </a:lnTo>
                  <a:lnTo>
                    <a:pt x="30" y="48"/>
                  </a:lnTo>
                  <a:lnTo>
                    <a:pt x="33" y="54"/>
                  </a:lnTo>
                  <a:lnTo>
                    <a:pt x="33" y="54"/>
                  </a:lnTo>
                  <a:lnTo>
                    <a:pt x="30" y="54"/>
                  </a:lnTo>
                  <a:lnTo>
                    <a:pt x="28" y="54"/>
                  </a:lnTo>
                  <a:lnTo>
                    <a:pt x="27" y="53"/>
                  </a:lnTo>
                  <a:lnTo>
                    <a:pt x="25" y="51"/>
                  </a:lnTo>
                  <a:lnTo>
                    <a:pt x="24" y="47"/>
                  </a:lnTo>
                  <a:lnTo>
                    <a:pt x="23" y="44"/>
                  </a:lnTo>
                  <a:lnTo>
                    <a:pt x="21" y="44"/>
                  </a:lnTo>
                  <a:lnTo>
                    <a:pt x="21" y="44"/>
                  </a:lnTo>
                  <a:lnTo>
                    <a:pt x="21" y="47"/>
                  </a:lnTo>
                  <a:lnTo>
                    <a:pt x="21" y="50"/>
                  </a:lnTo>
                  <a:lnTo>
                    <a:pt x="21" y="50"/>
                  </a:lnTo>
                  <a:lnTo>
                    <a:pt x="25" y="55"/>
                  </a:lnTo>
                  <a:lnTo>
                    <a:pt x="25" y="55"/>
                  </a:lnTo>
                  <a:lnTo>
                    <a:pt x="28" y="60"/>
                  </a:lnTo>
                  <a:lnTo>
                    <a:pt x="28" y="63"/>
                  </a:lnTo>
                  <a:lnTo>
                    <a:pt x="25" y="64"/>
                  </a:lnTo>
                  <a:lnTo>
                    <a:pt x="25" y="64"/>
                  </a:lnTo>
                  <a:lnTo>
                    <a:pt x="23" y="57"/>
                  </a:lnTo>
                  <a:lnTo>
                    <a:pt x="18" y="50"/>
                  </a:lnTo>
                  <a:lnTo>
                    <a:pt x="18" y="50"/>
                  </a:lnTo>
                  <a:lnTo>
                    <a:pt x="10" y="35"/>
                  </a:lnTo>
                  <a:lnTo>
                    <a:pt x="10" y="35"/>
                  </a:lnTo>
                  <a:lnTo>
                    <a:pt x="5" y="28"/>
                  </a:lnTo>
                  <a:lnTo>
                    <a:pt x="1" y="20"/>
                  </a:lnTo>
                  <a:lnTo>
                    <a:pt x="1" y="20"/>
                  </a:lnTo>
                  <a:lnTo>
                    <a:pt x="0" y="11"/>
                  </a:lnTo>
                  <a:lnTo>
                    <a:pt x="0" y="3"/>
                  </a:lnTo>
                  <a:lnTo>
                    <a:pt x="0" y="3"/>
                  </a:lnTo>
                  <a:lnTo>
                    <a:pt x="1" y="4"/>
                  </a:lnTo>
                  <a:lnTo>
                    <a:pt x="1" y="7"/>
                  </a:lnTo>
                  <a:lnTo>
                    <a:pt x="0" y="10"/>
                  </a:lnTo>
                  <a:lnTo>
                    <a:pt x="1" y="1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2" name="Freeform 372"/>
            <p:cNvSpPr/>
            <p:nvPr/>
          </p:nvSpPr>
          <p:spPr bwMode="auto">
            <a:xfrm>
              <a:off x="1537502" y="4365900"/>
              <a:ext cx="24574" cy="30716"/>
            </a:xfrm>
            <a:custGeom>
              <a:avLst/>
              <a:gdLst>
                <a:gd name="T0" fmla="*/ 7 w 8"/>
                <a:gd name="T1" fmla="*/ 4 h 8"/>
                <a:gd name="T2" fmla="*/ 7 w 8"/>
                <a:gd name="T3" fmla="*/ 4 h 8"/>
                <a:gd name="T4" fmla="*/ 8 w 8"/>
                <a:gd name="T5" fmla="*/ 5 h 8"/>
                <a:gd name="T6" fmla="*/ 7 w 8"/>
                <a:gd name="T7" fmla="*/ 5 h 8"/>
                <a:gd name="T8" fmla="*/ 6 w 8"/>
                <a:gd name="T9" fmla="*/ 5 h 8"/>
                <a:gd name="T10" fmla="*/ 3 w 8"/>
                <a:gd name="T11" fmla="*/ 5 h 8"/>
                <a:gd name="T12" fmla="*/ 3 w 8"/>
                <a:gd name="T13" fmla="*/ 5 h 8"/>
                <a:gd name="T14" fmla="*/ 3 w 8"/>
                <a:gd name="T15" fmla="*/ 8 h 8"/>
                <a:gd name="T16" fmla="*/ 3 w 8"/>
                <a:gd name="T17" fmla="*/ 8 h 8"/>
                <a:gd name="T18" fmla="*/ 0 w 8"/>
                <a:gd name="T19" fmla="*/ 7 h 8"/>
                <a:gd name="T20" fmla="*/ 0 w 8"/>
                <a:gd name="T21" fmla="*/ 5 h 8"/>
                <a:gd name="T22" fmla="*/ 1 w 8"/>
                <a:gd name="T23" fmla="*/ 1 h 8"/>
                <a:gd name="T24" fmla="*/ 1 w 8"/>
                <a:gd name="T25" fmla="*/ 1 h 8"/>
                <a:gd name="T26" fmla="*/ 3 w 8"/>
                <a:gd name="T27" fmla="*/ 0 h 8"/>
                <a:gd name="T28" fmla="*/ 4 w 8"/>
                <a:gd name="T29" fmla="*/ 1 h 8"/>
                <a:gd name="T30" fmla="*/ 6 w 8"/>
                <a:gd name="T31" fmla="*/ 2 h 8"/>
                <a:gd name="T32" fmla="*/ 7 w 8"/>
                <a:gd name="T3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8">
                  <a:moveTo>
                    <a:pt x="7" y="4"/>
                  </a:moveTo>
                  <a:lnTo>
                    <a:pt x="7" y="4"/>
                  </a:lnTo>
                  <a:lnTo>
                    <a:pt x="8" y="5"/>
                  </a:lnTo>
                  <a:lnTo>
                    <a:pt x="7" y="5"/>
                  </a:lnTo>
                  <a:lnTo>
                    <a:pt x="6" y="5"/>
                  </a:lnTo>
                  <a:lnTo>
                    <a:pt x="3" y="5"/>
                  </a:lnTo>
                  <a:lnTo>
                    <a:pt x="3" y="5"/>
                  </a:lnTo>
                  <a:lnTo>
                    <a:pt x="3" y="8"/>
                  </a:lnTo>
                  <a:lnTo>
                    <a:pt x="3" y="8"/>
                  </a:lnTo>
                  <a:lnTo>
                    <a:pt x="0" y="7"/>
                  </a:lnTo>
                  <a:lnTo>
                    <a:pt x="0" y="5"/>
                  </a:lnTo>
                  <a:lnTo>
                    <a:pt x="1" y="1"/>
                  </a:lnTo>
                  <a:lnTo>
                    <a:pt x="1" y="1"/>
                  </a:lnTo>
                  <a:lnTo>
                    <a:pt x="3" y="0"/>
                  </a:lnTo>
                  <a:lnTo>
                    <a:pt x="4" y="1"/>
                  </a:lnTo>
                  <a:lnTo>
                    <a:pt x="6" y="2"/>
                  </a:lnTo>
                  <a:lnTo>
                    <a:pt x="7"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3" name="Freeform 373"/>
            <p:cNvSpPr/>
            <p:nvPr/>
          </p:nvSpPr>
          <p:spPr bwMode="auto">
            <a:xfrm>
              <a:off x="1494494" y="4261459"/>
              <a:ext cx="36861" cy="104438"/>
            </a:xfrm>
            <a:custGeom>
              <a:avLst/>
              <a:gdLst>
                <a:gd name="T0" fmla="*/ 13 w 13"/>
                <a:gd name="T1" fmla="*/ 35 h 35"/>
                <a:gd name="T2" fmla="*/ 13 w 13"/>
                <a:gd name="T3" fmla="*/ 35 h 35"/>
                <a:gd name="T4" fmla="*/ 7 w 13"/>
                <a:gd name="T5" fmla="*/ 25 h 35"/>
                <a:gd name="T6" fmla="*/ 1 w 13"/>
                <a:gd name="T7" fmla="*/ 12 h 35"/>
                <a:gd name="T8" fmla="*/ 1 w 13"/>
                <a:gd name="T9" fmla="*/ 12 h 35"/>
                <a:gd name="T10" fmla="*/ 0 w 13"/>
                <a:gd name="T11" fmla="*/ 6 h 35"/>
                <a:gd name="T12" fmla="*/ 0 w 13"/>
                <a:gd name="T13" fmla="*/ 2 h 35"/>
                <a:gd name="T14" fmla="*/ 0 w 13"/>
                <a:gd name="T15" fmla="*/ 2 h 35"/>
                <a:gd name="T16" fmla="*/ 1 w 13"/>
                <a:gd name="T17" fmla="*/ 0 h 35"/>
                <a:gd name="T18" fmla="*/ 4 w 13"/>
                <a:gd name="T19" fmla="*/ 0 h 35"/>
                <a:gd name="T20" fmla="*/ 4 w 13"/>
                <a:gd name="T21" fmla="*/ 0 h 35"/>
                <a:gd name="T22" fmla="*/ 4 w 13"/>
                <a:gd name="T23" fmla="*/ 3 h 35"/>
                <a:gd name="T24" fmla="*/ 4 w 13"/>
                <a:gd name="T25" fmla="*/ 7 h 35"/>
                <a:gd name="T26" fmla="*/ 8 w 13"/>
                <a:gd name="T27" fmla="*/ 16 h 35"/>
                <a:gd name="T28" fmla="*/ 8 w 13"/>
                <a:gd name="T29" fmla="*/ 16 h 35"/>
                <a:gd name="T30" fmla="*/ 11 w 13"/>
                <a:gd name="T31" fmla="*/ 25 h 35"/>
                <a:gd name="T32" fmla="*/ 13 w 13"/>
                <a:gd name="T33" fmla="*/ 29 h 35"/>
                <a:gd name="T34" fmla="*/ 13 w 13"/>
                <a:gd name="T35"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35">
                  <a:moveTo>
                    <a:pt x="13" y="35"/>
                  </a:moveTo>
                  <a:lnTo>
                    <a:pt x="13" y="35"/>
                  </a:lnTo>
                  <a:lnTo>
                    <a:pt x="7" y="25"/>
                  </a:lnTo>
                  <a:lnTo>
                    <a:pt x="1" y="12"/>
                  </a:lnTo>
                  <a:lnTo>
                    <a:pt x="1" y="12"/>
                  </a:lnTo>
                  <a:lnTo>
                    <a:pt x="0" y="6"/>
                  </a:lnTo>
                  <a:lnTo>
                    <a:pt x="0" y="2"/>
                  </a:lnTo>
                  <a:lnTo>
                    <a:pt x="0" y="2"/>
                  </a:lnTo>
                  <a:lnTo>
                    <a:pt x="1" y="0"/>
                  </a:lnTo>
                  <a:lnTo>
                    <a:pt x="4" y="0"/>
                  </a:lnTo>
                  <a:lnTo>
                    <a:pt x="4" y="0"/>
                  </a:lnTo>
                  <a:lnTo>
                    <a:pt x="4" y="3"/>
                  </a:lnTo>
                  <a:lnTo>
                    <a:pt x="4" y="7"/>
                  </a:lnTo>
                  <a:lnTo>
                    <a:pt x="8" y="16"/>
                  </a:lnTo>
                  <a:lnTo>
                    <a:pt x="8" y="16"/>
                  </a:lnTo>
                  <a:lnTo>
                    <a:pt x="11" y="25"/>
                  </a:lnTo>
                  <a:lnTo>
                    <a:pt x="13" y="29"/>
                  </a:lnTo>
                  <a:lnTo>
                    <a:pt x="13" y="3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4" name="Freeform 374"/>
            <p:cNvSpPr/>
            <p:nvPr/>
          </p:nvSpPr>
          <p:spPr bwMode="auto">
            <a:xfrm>
              <a:off x="1832391" y="4089440"/>
              <a:ext cx="24574" cy="49148"/>
            </a:xfrm>
            <a:custGeom>
              <a:avLst/>
              <a:gdLst>
                <a:gd name="T0" fmla="*/ 8 w 8"/>
                <a:gd name="T1" fmla="*/ 12 h 15"/>
                <a:gd name="T2" fmla="*/ 8 w 8"/>
                <a:gd name="T3" fmla="*/ 12 h 15"/>
                <a:gd name="T4" fmla="*/ 8 w 8"/>
                <a:gd name="T5" fmla="*/ 14 h 15"/>
                <a:gd name="T6" fmla="*/ 7 w 8"/>
                <a:gd name="T7" fmla="*/ 14 h 15"/>
                <a:gd name="T8" fmla="*/ 5 w 8"/>
                <a:gd name="T9" fmla="*/ 14 h 15"/>
                <a:gd name="T10" fmla="*/ 5 w 8"/>
                <a:gd name="T11" fmla="*/ 15 h 15"/>
                <a:gd name="T12" fmla="*/ 5 w 8"/>
                <a:gd name="T13" fmla="*/ 15 h 15"/>
                <a:gd name="T14" fmla="*/ 2 w 8"/>
                <a:gd name="T15" fmla="*/ 15 h 15"/>
                <a:gd name="T16" fmla="*/ 1 w 8"/>
                <a:gd name="T17" fmla="*/ 14 h 15"/>
                <a:gd name="T18" fmla="*/ 0 w 8"/>
                <a:gd name="T19" fmla="*/ 10 h 15"/>
                <a:gd name="T20" fmla="*/ 0 w 8"/>
                <a:gd name="T21" fmla="*/ 0 h 15"/>
                <a:gd name="T22" fmla="*/ 0 w 8"/>
                <a:gd name="T23" fmla="*/ 0 h 15"/>
                <a:gd name="T24" fmla="*/ 1 w 8"/>
                <a:gd name="T25" fmla="*/ 0 h 15"/>
                <a:gd name="T26" fmla="*/ 2 w 8"/>
                <a:gd name="T27" fmla="*/ 1 h 15"/>
                <a:gd name="T28" fmla="*/ 4 w 8"/>
                <a:gd name="T29" fmla="*/ 5 h 15"/>
                <a:gd name="T30" fmla="*/ 5 w 8"/>
                <a:gd name="T31" fmla="*/ 10 h 15"/>
                <a:gd name="T32" fmla="*/ 7 w 8"/>
                <a:gd name="T33" fmla="*/ 12 h 15"/>
                <a:gd name="T34" fmla="*/ 8 w 8"/>
                <a:gd name="T35" fmla="*/ 1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15">
                  <a:moveTo>
                    <a:pt x="8" y="12"/>
                  </a:moveTo>
                  <a:lnTo>
                    <a:pt x="8" y="12"/>
                  </a:lnTo>
                  <a:lnTo>
                    <a:pt x="8" y="14"/>
                  </a:lnTo>
                  <a:lnTo>
                    <a:pt x="7" y="14"/>
                  </a:lnTo>
                  <a:lnTo>
                    <a:pt x="5" y="14"/>
                  </a:lnTo>
                  <a:lnTo>
                    <a:pt x="5" y="15"/>
                  </a:lnTo>
                  <a:lnTo>
                    <a:pt x="5" y="15"/>
                  </a:lnTo>
                  <a:lnTo>
                    <a:pt x="2" y="15"/>
                  </a:lnTo>
                  <a:lnTo>
                    <a:pt x="1" y="14"/>
                  </a:lnTo>
                  <a:lnTo>
                    <a:pt x="0" y="10"/>
                  </a:lnTo>
                  <a:lnTo>
                    <a:pt x="0" y="0"/>
                  </a:lnTo>
                  <a:lnTo>
                    <a:pt x="0" y="0"/>
                  </a:lnTo>
                  <a:lnTo>
                    <a:pt x="1" y="0"/>
                  </a:lnTo>
                  <a:lnTo>
                    <a:pt x="2" y="1"/>
                  </a:lnTo>
                  <a:lnTo>
                    <a:pt x="4" y="5"/>
                  </a:lnTo>
                  <a:lnTo>
                    <a:pt x="5" y="10"/>
                  </a:lnTo>
                  <a:lnTo>
                    <a:pt x="7" y="12"/>
                  </a:lnTo>
                  <a:lnTo>
                    <a:pt x="8" y="1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5" name="Freeform 375"/>
            <p:cNvSpPr/>
            <p:nvPr/>
          </p:nvSpPr>
          <p:spPr bwMode="auto">
            <a:xfrm>
              <a:off x="1832391" y="4064866"/>
              <a:ext cx="18433" cy="24574"/>
            </a:xfrm>
            <a:custGeom>
              <a:avLst/>
              <a:gdLst>
                <a:gd name="T0" fmla="*/ 2 w 7"/>
                <a:gd name="T1" fmla="*/ 9 h 9"/>
                <a:gd name="T2" fmla="*/ 2 w 7"/>
                <a:gd name="T3" fmla="*/ 9 h 9"/>
                <a:gd name="T4" fmla="*/ 0 w 7"/>
                <a:gd name="T5" fmla="*/ 1 h 9"/>
                <a:gd name="T6" fmla="*/ 0 w 7"/>
                <a:gd name="T7" fmla="*/ 1 h 9"/>
                <a:gd name="T8" fmla="*/ 2 w 7"/>
                <a:gd name="T9" fmla="*/ 1 h 9"/>
                <a:gd name="T10" fmla="*/ 2 w 7"/>
                <a:gd name="T11" fmla="*/ 0 h 9"/>
                <a:gd name="T12" fmla="*/ 2 w 7"/>
                <a:gd name="T13" fmla="*/ 0 h 9"/>
                <a:gd name="T14" fmla="*/ 4 w 7"/>
                <a:gd name="T15" fmla="*/ 1 h 9"/>
                <a:gd name="T16" fmla="*/ 5 w 7"/>
                <a:gd name="T17" fmla="*/ 1 h 9"/>
                <a:gd name="T18" fmla="*/ 5 w 7"/>
                <a:gd name="T19" fmla="*/ 3 h 9"/>
                <a:gd name="T20" fmla="*/ 7 w 7"/>
                <a:gd name="T21" fmla="*/ 3 h 9"/>
                <a:gd name="T22" fmla="*/ 7 w 7"/>
                <a:gd name="T23" fmla="*/ 3 h 9"/>
                <a:gd name="T24" fmla="*/ 7 w 7"/>
                <a:gd name="T25" fmla="*/ 6 h 9"/>
                <a:gd name="T26" fmla="*/ 7 w 7"/>
                <a:gd name="T27" fmla="*/ 6 h 9"/>
                <a:gd name="T28" fmla="*/ 2 w 7"/>
                <a:gd name="T2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9">
                  <a:moveTo>
                    <a:pt x="2" y="9"/>
                  </a:moveTo>
                  <a:lnTo>
                    <a:pt x="2" y="9"/>
                  </a:lnTo>
                  <a:lnTo>
                    <a:pt x="0" y="1"/>
                  </a:lnTo>
                  <a:lnTo>
                    <a:pt x="0" y="1"/>
                  </a:lnTo>
                  <a:lnTo>
                    <a:pt x="2" y="1"/>
                  </a:lnTo>
                  <a:lnTo>
                    <a:pt x="2" y="0"/>
                  </a:lnTo>
                  <a:lnTo>
                    <a:pt x="2" y="0"/>
                  </a:lnTo>
                  <a:lnTo>
                    <a:pt x="4" y="1"/>
                  </a:lnTo>
                  <a:lnTo>
                    <a:pt x="5" y="1"/>
                  </a:lnTo>
                  <a:lnTo>
                    <a:pt x="5" y="3"/>
                  </a:lnTo>
                  <a:lnTo>
                    <a:pt x="7" y="3"/>
                  </a:lnTo>
                  <a:lnTo>
                    <a:pt x="7" y="3"/>
                  </a:lnTo>
                  <a:lnTo>
                    <a:pt x="7" y="6"/>
                  </a:lnTo>
                  <a:lnTo>
                    <a:pt x="7" y="6"/>
                  </a:lnTo>
                  <a:lnTo>
                    <a:pt x="2"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7" name="Freeform 377"/>
            <p:cNvSpPr/>
            <p:nvPr/>
          </p:nvSpPr>
          <p:spPr bwMode="auto">
            <a:xfrm>
              <a:off x="1727948" y="3800697"/>
              <a:ext cx="141303" cy="288743"/>
            </a:xfrm>
            <a:custGeom>
              <a:avLst/>
              <a:gdLst>
                <a:gd name="T0" fmla="*/ 35 w 47"/>
                <a:gd name="T1" fmla="*/ 53 h 93"/>
                <a:gd name="T2" fmla="*/ 35 w 47"/>
                <a:gd name="T3" fmla="*/ 53 h 93"/>
                <a:gd name="T4" fmla="*/ 33 w 47"/>
                <a:gd name="T5" fmla="*/ 46 h 93"/>
                <a:gd name="T6" fmla="*/ 33 w 47"/>
                <a:gd name="T7" fmla="*/ 39 h 93"/>
                <a:gd name="T8" fmla="*/ 32 w 47"/>
                <a:gd name="T9" fmla="*/ 33 h 93"/>
                <a:gd name="T10" fmla="*/ 29 w 47"/>
                <a:gd name="T11" fmla="*/ 28 h 93"/>
                <a:gd name="T12" fmla="*/ 36 w 47"/>
                <a:gd name="T13" fmla="*/ 23 h 93"/>
                <a:gd name="T14" fmla="*/ 35 w 47"/>
                <a:gd name="T15" fmla="*/ 26 h 93"/>
                <a:gd name="T16" fmla="*/ 33 w 47"/>
                <a:gd name="T17" fmla="*/ 29 h 93"/>
                <a:gd name="T18" fmla="*/ 37 w 47"/>
                <a:gd name="T19" fmla="*/ 30 h 93"/>
                <a:gd name="T20" fmla="*/ 42 w 47"/>
                <a:gd name="T21" fmla="*/ 39 h 93"/>
                <a:gd name="T22" fmla="*/ 46 w 47"/>
                <a:gd name="T23" fmla="*/ 50 h 93"/>
                <a:gd name="T24" fmla="*/ 46 w 47"/>
                <a:gd name="T25" fmla="*/ 53 h 93"/>
                <a:gd name="T26" fmla="*/ 42 w 47"/>
                <a:gd name="T27" fmla="*/ 57 h 93"/>
                <a:gd name="T28" fmla="*/ 42 w 47"/>
                <a:gd name="T29" fmla="*/ 55 h 93"/>
                <a:gd name="T30" fmla="*/ 37 w 47"/>
                <a:gd name="T31" fmla="*/ 59 h 93"/>
                <a:gd name="T32" fmla="*/ 42 w 47"/>
                <a:gd name="T33" fmla="*/ 62 h 93"/>
                <a:gd name="T34" fmla="*/ 37 w 47"/>
                <a:gd name="T35" fmla="*/ 65 h 93"/>
                <a:gd name="T36" fmla="*/ 33 w 47"/>
                <a:gd name="T37" fmla="*/ 63 h 93"/>
                <a:gd name="T38" fmla="*/ 32 w 47"/>
                <a:gd name="T39" fmla="*/ 59 h 93"/>
                <a:gd name="T40" fmla="*/ 32 w 47"/>
                <a:gd name="T41" fmla="*/ 66 h 93"/>
                <a:gd name="T42" fmla="*/ 35 w 47"/>
                <a:gd name="T43" fmla="*/ 72 h 93"/>
                <a:gd name="T44" fmla="*/ 42 w 47"/>
                <a:gd name="T45" fmla="*/ 70 h 93"/>
                <a:gd name="T46" fmla="*/ 36 w 47"/>
                <a:gd name="T47" fmla="*/ 73 h 93"/>
                <a:gd name="T48" fmla="*/ 33 w 47"/>
                <a:gd name="T49" fmla="*/ 76 h 93"/>
                <a:gd name="T50" fmla="*/ 33 w 47"/>
                <a:gd name="T51" fmla="*/ 76 h 93"/>
                <a:gd name="T52" fmla="*/ 35 w 47"/>
                <a:gd name="T53" fmla="*/ 80 h 93"/>
                <a:gd name="T54" fmla="*/ 35 w 47"/>
                <a:gd name="T55" fmla="*/ 80 h 93"/>
                <a:gd name="T56" fmla="*/ 35 w 47"/>
                <a:gd name="T57" fmla="*/ 82 h 93"/>
                <a:gd name="T58" fmla="*/ 35 w 47"/>
                <a:gd name="T59" fmla="*/ 92 h 93"/>
                <a:gd name="T60" fmla="*/ 29 w 47"/>
                <a:gd name="T61" fmla="*/ 93 h 93"/>
                <a:gd name="T62" fmla="*/ 26 w 47"/>
                <a:gd name="T63" fmla="*/ 85 h 93"/>
                <a:gd name="T64" fmla="*/ 25 w 47"/>
                <a:gd name="T65" fmla="*/ 79 h 93"/>
                <a:gd name="T66" fmla="*/ 23 w 47"/>
                <a:gd name="T67" fmla="*/ 76 h 93"/>
                <a:gd name="T68" fmla="*/ 17 w 47"/>
                <a:gd name="T69" fmla="*/ 65 h 93"/>
                <a:gd name="T70" fmla="*/ 16 w 47"/>
                <a:gd name="T71" fmla="*/ 60 h 93"/>
                <a:gd name="T72" fmla="*/ 15 w 47"/>
                <a:gd name="T73" fmla="*/ 57 h 93"/>
                <a:gd name="T74" fmla="*/ 10 w 47"/>
                <a:gd name="T75" fmla="*/ 47 h 93"/>
                <a:gd name="T76" fmla="*/ 5 w 47"/>
                <a:gd name="T77" fmla="*/ 26 h 93"/>
                <a:gd name="T78" fmla="*/ 12 w 47"/>
                <a:gd name="T79" fmla="*/ 26 h 93"/>
                <a:gd name="T80" fmla="*/ 7 w 47"/>
                <a:gd name="T81" fmla="*/ 22 h 93"/>
                <a:gd name="T82" fmla="*/ 3 w 47"/>
                <a:gd name="T83" fmla="*/ 18 h 93"/>
                <a:gd name="T84" fmla="*/ 7 w 47"/>
                <a:gd name="T85" fmla="*/ 13 h 93"/>
                <a:gd name="T86" fmla="*/ 6 w 47"/>
                <a:gd name="T87" fmla="*/ 10 h 93"/>
                <a:gd name="T88" fmla="*/ 2 w 47"/>
                <a:gd name="T89" fmla="*/ 10 h 93"/>
                <a:gd name="T90" fmla="*/ 2 w 47"/>
                <a:gd name="T91" fmla="*/ 2 h 93"/>
                <a:gd name="T92" fmla="*/ 9 w 47"/>
                <a:gd name="T93" fmla="*/ 3 h 93"/>
                <a:gd name="T94" fmla="*/ 13 w 47"/>
                <a:gd name="T95" fmla="*/ 9 h 93"/>
                <a:gd name="T96" fmla="*/ 19 w 47"/>
                <a:gd name="T97" fmla="*/ 6 h 93"/>
                <a:gd name="T98" fmla="*/ 20 w 47"/>
                <a:gd name="T99" fmla="*/ 15 h 93"/>
                <a:gd name="T100" fmla="*/ 23 w 47"/>
                <a:gd name="T101" fmla="*/ 19 h 93"/>
                <a:gd name="T102" fmla="*/ 26 w 47"/>
                <a:gd name="T103" fmla="*/ 20 h 93"/>
                <a:gd name="T104" fmla="*/ 27 w 47"/>
                <a:gd name="T105" fmla="*/ 22 h 93"/>
                <a:gd name="T106" fmla="*/ 27 w 47"/>
                <a:gd name="T107" fmla="*/ 29 h 93"/>
                <a:gd name="T108" fmla="*/ 29 w 47"/>
                <a:gd name="T109" fmla="*/ 37 h 93"/>
                <a:gd name="T110" fmla="*/ 33 w 47"/>
                <a:gd name="T111" fmla="*/ 50 h 93"/>
                <a:gd name="T112" fmla="*/ 35 w 47"/>
                <a:gd name="T113" fmla="*/ 5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 h="93">
                  <a:moveTo>
                    <a:pt x="35" y="55"/>
                  </a:moveTo>
                  <a:lnTo>
                    <a:pt x="35" y="55"/>
                  </a:lnTo>
                  <a:lnTo>
                    <a:pt x="35" y="53"/>
                  </a:lnTo>
                  <a:lnTo>
                    <a:pt x="35" y="53"/>
                  </a:lnTo>
                  <a:lnTo>
                    <a:pt x="35" y="53"/>
                  </a:lnTo>
                  <a:lnTo>
                    <a:pt x="35" y="53"/>
                  </a:lnTo>
                  <a:lnTo>
                    <a:pt x="35" y="50"/>
                  </a:lnTo>
                  <a:lnTo>
                    <a:pt x="35" y="50"/>
                  </a:lnTo>
                  <a:lnTo>
                    <a:pt x="33" y="46"/>
                  </a:lnTo>
                  <a:lnTo>
                    <a:pt x="33" y="46"/>
                  </a:lnTo>
                  <a:lnTo>
                    <a:pt x="32" y="42"/>
                  </a:lnTo>
                  <a:lnTo>
                    <a:pt x="33" y="39"/>
                  </a:lnTo>
                  <a:lnTo>
                    <a:pt x="35" y="37"/>
                  </a:lnTo>
                  <a:lnTo>
                    <a:pt x="35" y="37"/>
                  </a:lnTo>
                  <a:lnTo>
                    <a:pt x="32" y="33"/>
                  </a:lnTo>
                  <a:lnTo>
                    <a:pt x="29" y="30"/>
                  </a:lnTo>
                  <a:lnTo>
                    <a:pt x="29" y="28"/>
                  </a:lnTo>
                  <a:lnTo>
                    <a:pt x="29" y="28"/>
                  </a:lnTo>
                  <a:lnTo>
                    <a:pt x="32" y="23"/>
                  </a:lnTo>
                  <a:lnTo>
                    <a:pt x="33" y="23"/>
                  </a:lnTo>
                  <a:lnTo>
                    <a:pt x="36" y="23"/>
                  </a:lnTo>
                  <a:lnTo>
                    <a:pt x="36" y="23"/>
                  </a:lnTo>
                  <a:lnTo>
                    <a:pt x="36" y="26"/>
                  </a:lnTo>
                  <a:lnTo>
                    <a:pt x="35" y="26"/>
                  </a:lnTo>
                  <a:lnTo>
                    <a:pt x="33" y="28"/>
                  </a:lnTo>
                  <a:lnTo>
                    <a:pt x="33" y="29"/>
                  </a:lnTo>
                  <a:lnTo>
                    <a:pt x="33" y="29"/>
                  </a:lnTo>
                  <a:lnTo>
                    <a:pt x="35" y="32"/>
                  </a:lnTo>
                  <a:lnTo>
                    <a:pt x="36" y="32"/>
                  </a:lnTo>
                  <a:lnTo>
                    <a:pt x="37" y="30"/>
                  </a:lnTo>
                  <a:lnTo>
                    <a:pt x="37" y="29"/>
                  </a:lnTo>
                  <a:lnTo>
                    <a:pt x="37" y="29"/>
                  </a:lnTo>
                  <a:lnTo>
                    <a:pt x="42" y="39"/>
                  </a:lnTo>
                  <a:lnTo>
                    <a:pt x="44" y="47"/>
                  </a:lnTo>
                  <a:lnTo>
                    <a:pt x="46" y="49"/>
                  </a:lnTo>
                  <a:lnTo>
                    <a:pt x="46" y="50"/>
                  </a:lnTo>
                  <a:lnTo>
                    <a:pt x="46" y="50"/>
                  </a:lnTo>
                  <a:lnTo>
                    <a:pt x="46" y="53"/>
                  </a:lnTo>
                  <a:lnTo>
                    <a:pt x="46" y="53"/>
                  </a:lnTo>
                  <a:lnTo>
                    <a:pt x="47" y="59"/>
                  </a:lnTo>
                  <a:lnTo>
                    <a:pt x="47" y="59"/>
                  </a:lnTo>
                  <a:lnTo>
                    <a:pt x="42" y="57"/>
                  </a:lnTo>
                  <a:lnTo>
                    <a:pt x="40" y="56"/>
                  </a:lnTo>
                  <a:lnTo>
                    <a:pt x="42" y="55"/>
                  </a:lnTo>
                  <a:lnTo>
                    <a:pt x="42" y="55"/>
                  </a:lnTo>
                  <a:lnTo>
                    <a:pt x="37" y="56"/>
                  </a:lnTo>
                  <a:lnTo>
                    <a:pt x="36" y="57"/>
                  </a:lnTo>
                  <a:lnTo>
                    <a:pt x="37" y="59"/>
                  </a:lnTo>
                  <a:lnTo>
                    <a:pt x="39" y="60"/>
                  </a:lnTo>
                  <a:lnTo>
                    <a:pt x="42" y="62"/>
                  </a:lnTo>
                  <a:lnTo>
                    <a:pt x="42" y="62"/>
                  </a:lnTo>
                  <a:lnTo>
                    <a:pt x="39" y="65"/>
                  </a:lnTo>
                  <a:lnTo>
                    <a:pt x="37" y="65"/>
                  </a:lnTo>
                  <a:lnTo>
                    <a:pt x="37" y="65"/>
                  </a:lnTo>
                  <a:lnTo>
                    <a:pt x="37" y="65"/>
                  </a:lnTo>
                  <a:lnTo>
                    <a:pt x="35" y="65"/>
                  </a:lnTo>
                  <a:lnTo>
                    <a:pt x="33" y="63"/>
                  </a:lnTo>
                  <a:lnTo>
                    <a:pt x="33" y="60"/>
                  </a:lnTo>
                  <a:lnTo>
                    <a:pt x="32" y="59"/>
                  </a:lnTo>
                  <a:lnTo>
                    <a:pt x="32" y="59"/>
                  </a:lnTo>
                  <a:lnTo>
                    <a:pt x="30" y="60"/>
                  </a:lnTo>
                  <a:lnTo>
                    <a:pt x="30" y="62"/>
                  </a:lnTo>
                  <a:lnTo>
                    <a:pt x="32" y="66"/>
                  </a:lnTo>
                  <a:lnTo>
                    <a:pt x="33" y="69"/>
                  </a:lnTo>
                  <a:lnTo>
                    <a:pt x="35" y="72"/>
                  </a:lnTo>
                  <a:lnTo>
                    <a:pt x="35" y="72"/>
                  </a:lnTo>
                  <a:lnTo>
                    <a:pt x="39" y="69"/>
                  </a:lnTo>
                  <a:lnTo>
                    <a:pt x="40" y="69"/>
                  </a:lnTo>
                  <a:lnTo>
                    <a:pt x="42" y="70"/>
                  </a:lnTo>
                  <a:lnTo>
                    <a:pt x="42" y="70"/>
                  </a:lnTo>
                  <a:lnTo>
                    <a:pt x="36" y="73"/>
                  </a:lnTo>
                  <a:lnTo>
                    <a:pt x="36" y="73"/>
                  </a:lnTo>
                  <a:lnTo>
                    <a:pt x="35" y="75"/>
                  </a:lnTo>
                  <a:lnTo>
                    <a:pt x="35" y="75"/>
                  </a:lnTo>
                  <a:lnTo>
                    <a:pt x="33" y="76"/>
                  </a:lnTo>
                  <a:lnTo>
                    <a:pt x="33" y="76"/>
                  </a:lnTo>
                  <a:lnTo>
                    <a:pt x="33" y="76"/>
                  </a:lnTo>
                  <a:lnTo>
                    <a:pt x="33" y="76"/>
                  </a:lnTo>
                  <a:lnTo>
                    <a:pt x="33" y="76"/>
                  </a:lnTo>
                  <a:lnTo>
                    <a:pt x="35" y="80"/>
                  </a:lnTo>
                  <a:lnTo>
                    <a:pt x="35" y="80"/>
                  </a:lnTo>
                  <a:lnTo>
                    <a:pt x="35" y="80"/>
                  </a:lnTo>
                  <a:lnTo>
                    <a:pt x="35" y="80"/>
                  </a:lnTo>
                  <a:lnTo>
                    <a:pt x="35" y="80"/>
                  </a:lnTo>
                  <a:lnTo>
                    <a:pt x="35" y="80"/>
                  </a:lnTo>
                  <a:lnTo>
                    <a:pt x="35" y="82"/>
                  </a:lnTo>
                  <a:lnTo>
                    <a:pt x="35" y="82"/>
                  </a:lnTo>
                  <a:lnTo>
                    <a:pt x="35" y="86"/>
                  </a:lnTo>
                  <a:lnTo>
                    <a:pt x="35" y="92"/>
                  </a:lnTo>
                  <a:lnTo>
                    <a:pt x="35" y="92"/>
                  </a:lnTo>
                  <a:lnTo>
                    <a:pt x="32" y="92"/>
                  </a:lnTo>
                  <a:lnTo>
                    <a:pt x="29" y="93"/>
                  </a:lnTo>
                  <a:lnTo>
                    <a:pt x="29" y="93"/>
                  </a:lnTo>
                  <a:lnTo>
                    <a:pt x="27" y="86"/>
                  </a:lnTo>
                  <a:lnTo>
                    <a:pt x="27" y="86"/>
                  </a:lnTo>
                  <a:lnTo>
                    <a:pt x="26" y="85"/>
                  </a:lnTo>
                  <a:lnTo>
                    <a:pt x="26" y="83"/>
                  </a:lnTo>
                  <a:lnTo>
                    <a:pt x="26" y="83"/>
                  </a:lnTo>
                  <a:lnTo>
                    <a:pt x="25" y="79"/>
                  </a:lnTo>
                  <a:lnTo>
                    <a:pt x="25" y="77"/>
                  </a:lnTo>
                  <a:lnTo>
                    <a:pt x="25" y="77"/>
                  </a:lnTo>
                  <a:lnTo>
                    <a:pt x="23" y="76"/>
                  </a:lnTo>
                  <a:lnTo>
                    <a:pt x="23" y="76"/>
                  </a:lnTo>
                  <a:lnTo>
                    <a:pt x="17" y="65"/>
                  </a:lnTo>
                  <a:lnTo>
                    <a:pt x="17" y="65"/>
                  </a:lnTo>
                  <a:lnTo>
                    <a:pt x="16" y="62"/>
                  </a:lnTo>
                  <a:lnTo>
                    <a:pt x="16" y="60"/>
                  </a:lnTo>
                  <a:lnTo>
                    <a:pt x="16" y="60"/>
                  </a:lnTo>
                  <a:lnTo>
                    <a:pt x="16" y="59"/>
                  </a:lnTo>
                  <a:lnTo>
                    <a:pt x="15" y="59"/>
                  </a:lnTo>
                  <a:lnTo>
                    <a:pt x="15" y="57"/>
                  </a:lnTo>
                  <a:lnTo>
                    <a:pt x="15" y="57"/>
                  </a:lnTo>
                  <a:lnTo>
                    <a:pt x="10" y="47"/>
                  </a:lnTo>
                  <a:lnTo>
                    <a:pt x="10" y="47"/>
                  </a:lnTo>
                  <a:lnTo>
                    <a:pt x="7" y="36"/>
                  </a:lnTo>
                  <a:lnTo>
                    <a:pt x="5" y="26"/>
                  </a:lnTo>
                  <a:lnTo>
                    <a:pt x="5" y="26"/>
                  </a:lnTo>
                  <a:lnTo>
                    <a:pt x="9" y="26"/>
                  </a:lnTo>
                  <a:lnTo>
                    <a:pt x="12" y="26"/>
                  </a:lnTo>
                  <a:lnTo>
                    <a:pt x="12" y="26"/>
                  </a:lnTo>
                  <a:lnTo>
                    <a:pt x="10" y="23"/>
                  </a:lnTo>
                  <a:lnTo>
                    <a:pt x="7" y="22"/>
                  </a:lnTo>
                  <a:lnTo>
                    <a:pt x="7" y="22"/>
                  </a:lnTo>
                  <a:lnTo>
                    <a:pt x="5" y="20"/>
                  </a:lnTo>
                  <a:lnTo>
                    <a:pt x="3" y="18"/>
                  </a:lnTo>
                  <a:lnTo>
                    <a:pt x="3" y="18"/>
                  </a:lnTo>
                  <a:lnTo>
                    <a:pt x="9" y="16"/>
                  </a:lnTo>
                  <a:lnTo>
                    <a:pt x="9" y="16"/>
                  </a:lnTo>
                  <a:lnTo>
                    <a:pt x="7" y="13"/>
                  </a:lnTo>
                  <a:lnTo>
                    <a:pt x="6" y="10"/>
                  </a:lnTo>
                  <a:lnTo>
                    <a:pt x="6" y="10"/>
                  </a:lnTo>
                  <a:lnTo>
                    <a:pt x="6" y="10"/>
                  </a:lnTo>
                  <a:lnTo>
                    <a:pt x="5" y="10"/>
                  </a:lnTo>
                  <a:lnTo>
                    <a:pt x="3" y="12"/>
                  </a:lnTo>
                  <a:lnTo>
                    <a:pt x="2" y="10"/>
                  </a:lnTo>
                  <a:lnTo>
                    <a:pt x="0" y="3"/>
                  </a:lnTo>
                  <a:lnTo>
                    <a:pt x="0" y="3"/>
                  </a:lnTo>
                  <a:lnTo>
                    <a:pt x="2" y="2"/>
                  </a:lnTo>
                  <a:lnTo>
                    <a:pt x="3" y="0"/>
                  </a:lnTo>
                  <a:lnTo>
                    <a:pt x="3" y="0"/>
                  </a:lnTo>
                  <a:lnTo>
                    <a:pt x="9" y="3"/>
                  </a:lnTo>
                  <a:lnTo>
                    <a:pt x="12" y="6"/>
                  </a:lnTo>
                  <a:lnTo>
                    <a:pt x="13" y="9"/>
                  </a:lnTo>
                  <a:lnTo>
                    <a:pt x="13" y="9"/>
                  </a:lnTo>
                  <a:lnTo>
                    <a:pt x="15" y="8"/>
                  </a:lnTo>
                  <a:lnTo>
                    <a:pt x="19" y="6"/>
                  </a:lnTo>
                  <a:lnTo>
                    <a:pt x="19" y="6"/>
                  </a:lnTo>
                  <a:lnTo>
                    <a:pt x="19" y="9"/>
                  </a:lnTo>
                  <a:lnTo>
                    <a:pt x="20" y="12"/>
                  </a:lnTo>
                  <a:lnTo>
                    <a:pt x="20" y="15"/>
                  </a:lnTo>
                  <a:lnTo>
                    <a:pt x="20" y="18"/>
                  </a:lnTo>
                  <a:lnTo>
                    <a:pt x="20" y="18"/>
                  </a:lnTo>
                  <a:lnTo>
                    <a:pt x="23" y="19"/>
                  </a:lnTo>
                  <a:lnTo>
                    <a:pt x="26" y="19"/>
                  </a:lnTo>
                  <a:lnTo>
                    <a:pt x="26" y="19"/>
                  </a:lnTo>
                  <a:lnTo>
                    <a:pt x="26" y="20"/>
                  </a:lnTo>
                  <a:lnTo>
                    <a:pt x="26" y="20"/>
                  </a:lnTo>
                  <a:lnTo>
                    <a:pt x="27" y="22"/>
                  </a:lnTo>
                  <a:lnTo>
                    <a:pt x="27" y="22"/>
                  </a:lnTo>
                  <a:lnTo>
                    <a:pt x="27" y="25"/>
                  </a:lnTo>
                  <a:lnTo>
                    <a:pt x="27" y="25"/>
                  </a:lnTo>
                  <a:lnTo>
                    <a:pt x="27" y="29"/>
                  </a:lnTo>
                  <a:lnTo>
                    <a:pt x="27" y="29"/>
                  </a:lnTo>
                  <a:lnTo>
                    <a:pt x="29" y="37"/>
                  </a:lnTo>
                  <a:lnTo>
                    <a:pt x="29" y="37"/>
                  </a:lnTo>
                  <a:lnTo>
                    <a:pt x="32" y="45"/>
                  </a:lnTo>
                  <a:lnTo>
                    <a:pt x="32" y="45"/>
                  </a:lnTo>
                  <a:lnTo>
                    <a:pt x="33" y="50"/>
                  </a:lnTo>
                  <a:lnTo>
                    <a:pt x="33" y="50"/>
                  </a:lnTo>
                  <a:lnTo>
                    <a:pt x="35" y="52"/>
                  </a:lnTo>
                  <a:lnTo>
                    <a:pt x="35" y="52"/>
                  </a:lnTo>
                  <a:lnTo>
                    <a:pt x="35" y="5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82" name="Freeform 382"/>
            <p:cNvSpPr/>
            <p:nvPr/>
          </p:nvSpPr>
          <p:spPr bwMode="auto">
            <a:xfrm>
              <a:off x="3534144" y="345051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83" name="Freeform 383"/>
            <p:cNvSpPr/>
            <p:nvPr/>
          </p:nvSpPr>
          <p:spPr bwMode="auto">
            <a:xfrm>
              <a:off x="3534144" y="345051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87" name="Freeform 387"/>
            <p:cNvSpPr/>
            <p:nvPr/>
          </p:nvSpPr>
          <p:spPr bwMode="auto">
            <a:xfrm>
              <a:off x="3497283" y="3444372"/>
              <a:ext cx="49148" cy="12287"/>
            </a:xfrm>
            <a:custGeom>
              <a:avLst/>
              <a:gdLst>
                <a:gd name="T0" fmla="*/ 7 w 15"/>
                <a:gd name="T1" fmla="*/ 3 h 5"/>
                <a:gd name="T2" fmla="*/ 7 w 15"/>
                <a:gd name="T3" fmla="*/ 3 h 5"/>
                <a:gd name="T4" fmla="*/ 0 w 15"/>
                <a:gd name="T5" fmla="*/ 0 h 5"/>
                <a:gd name="T6" fmla="*/ 0 w 15"/>
                <a:gd name="T7" fmla="*/ 0 h 5"/>
                <a:gd name="T8" fmla="*/ 8 w 15"/>
                <a:gd name="T9" fmla="*/ 2 h 5"/>
                <a:gd name="T10" fmla="*/ 8 w 15"/>
                <a:gd name="T11" fmla="*/ 2 h 5"/>
                <a:gd name="T12" fmla="*/ 15 w 15"/>
                <a:gd name="T13" fmla="*/ 5 h 5"/>
                <a:gd name="T14" fmla="*/ 15 w 15"/>
                <a:gd name="T15" fmla="*/ 5 h 5"/>
                <a:gd name="T16" fmla="*/ 15 w 15"/>
                <a:gd name="T17" fmla="*/ 5 h 5"/>
                <a:gd name="T18" fmla="*/ 15 w 15"/>
                <a:gd name="T19" fmla="*/ 5 h 5"/>
                <a:gd name="T20" fmla="*/ 15 w 15"/>
                <a:gd name="T21" fmla="*/ 3 h 5"/>
                <a:gd name="T22" fmla="*/ 15 w 15"/>
                <a:gd name="T23" fmla="*/ 3 h 5"/>
                <a:gd name="T24" fmla="*/ 7 w 15"/>
                <a:gd name="T2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5">
                  <a:moveTo>
                    <a:pt x="7" y="3"/>
                  </a:moveTo>
                  <a:lnTo>
                    <a:pt x="7" y="3"/>
                  </a:lnTo>
                  <a:lnTo>
                    <a:pt x="0" y="0"/>
                  </a:lnTo>
                  <a:lnTo>
                    <a:pt x="0" y="0"/>
                  </a:lnTo>
                  <a:lnTo>
                    <a:pt x="8" y="2"/>
                  </a:lnTo>
                  <a:lnTo>
                    <a:pt x="8" y="2"/>
                  </a:lnTo>
                  <a:lnTo>
                    <a:pt x="15" y="5"/>
                  </a:lnTo>
                  <a:lnTo>
                    <a:pt x="15" y="5"/>
                  </a:lnTo>
                  <a:lnTo>
                    <a:pt x="15" y="5"/>
                  </a:lnTo>
                  <a:lnTo>
                    <a:pt x="15" y="5"/>
                  </a:lnTo>
                  <a:lnTo>
                    <a:pt x="15" y="3"/>
                  </a:lnTo>
                  <a:lnTo>
                    <a:pt x="15" y="3"/>
                  </a:lnTo>
                  <a:lnTo>
                    <a:pt x="7"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88" name="Freeform 388"/>
            <p:cNvSpPr/>
            <p:nvPr/>
          </p:nvSpPr>
          <p:spPr bwMode="auto">
            <a:xfrm>
              <a:off x="1924542" y="3002038"/>
              <a:ext cx="18433" cy="30716"/>
            </a:xfrm>
            <a:custGeom>
              <a:avLst/>
              <a:gdLst>
                <a:gd name="T0" fmla="*/ 5 w 8"/>
                <a:gd name="T1" fmla="*/ 8 h 8"/>
                <a:gd name="T2" fmla="*/ 5 w 8"/>
                <a:gd name="T3" fmla="*/ 8 h 8"/>
                <a:gd name="T4" fmla="*/ 2 w 8"/>
                <a:gd name="T5" fmla="*/ 7 h 8"/>
                <a:gd name="T6" fmla="*/ 0 w 8"/>
                <a:gd name="T7" fmla="*/ 5 h 8"/>
                <a:gd name="T8" fmla="*/ 2 w 8"/>
                <a:gd name="T9" fmla="*/ 0 h 8"/>
                <a:gd name="T10" fmla="*/ 2 w 8"/>
                <a:gd name="T11" fmla="*/ 0 h 8"/>
                <a:gd name="T12" fmla="*/ 5 w 8"/>
                <a:gd name="T13" fmla="*/ 0 h 8"/>
                <a:gd name="T14" fmla="*/ 8 w 8"/>
                <a:gd name="T15" fmla="*/ 0 h 8"/>
                <a:gd name="T16" fmla="*/ 8 w 8"/>
                <a:gd name="T17" fmla="*/ 0 h 8"/>
                <a:gd name="T18" fmla="*/ 6 w 8"/>
                <a:gd name="T19" fmla="*/ 5 h 8"/>
                <a:gd name="T20" fmla="*/ 5 w 8"/>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8">
                  <a:moveTo>
                    <a:pt x="5" y="8"/>
                  </a:moveTo>
                  <a:lnTo>
                    <a:pt x="5" y="8"/>
                  </a:lnTo>
                  <a:lnTo>
                    <a:pt x="2" y="7"/>
                  </a:lnTo>
                  <a:lnTo>
                    <a:pt x="0" y="5"/>
                  </a:lnTo>
                  <a:lnTo>
                    <a:pt x="2" y="0"/>
                  </a:lnTo>
                  <a:lnTo>
                    <a:pt x="2" y="0"/>
                  </a:lnTo>
                  <a:lnTo>
                    <a:pt x="5" y="0"/>
                  </a:lnTo>
                  <a:lnTo>
                    <a:pt x="8" y="0"/>
                  </a:lnTo>
                  <a:lnTo>
                    <a:pt x="8" y="0"/>
                  </a:lnTo>
                  <a:lnTo>
                    <a:pt x="6" y="5"/>
                  </a:lnTo>
                  <a:lnTo>
                    <a:pt x="5"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89" name="Freeform 389"/>
            <p:cNvSpPr/>
            <p:nvPr/>
          </p:nvSpPr>
          <p:spPr bwMode="auto">
            <a:xfrm>
              <a:off x="3380559" y="3370649"/>
              <a:ext cx="104442" cy="55290"/>
            </a:xfrm>
            <a:custGeom>
              <a:avLst/>
              <a:gdLst>
                <a:gd name="T0" fmla="*/ 30 w 33"/>
                <a:gd name="T1" fmla="*/ 15 h 17"/>
                <a:gd name="T2" fmla="*/ 30 w 33"/>
                <a:gd name="T3" fmla="*/ 15 h 17"/>
                <a:gd name="T4" fmla="*/ 22 w 33"/>
                <a:gd name="T5" fmla="*/ 11 h 17"/>
                <a:gd name="T6" fmla="*/ 22 w 33"/>
                <a:gd name="T7" fmla="*/ 11 h 17"/>
                <a:gd name="T8" fmla="*/ 9 w 33"/>
                <a:gd name="T9" fmla="*/ 5 h 17"/>
                <a:gd name="T10" fmla="*/ 0 w 33"/>
                <a:gd name="T11" fmla="*/ 0 h 17"/>
                <a:gd name="T12" fmla="*/ 0 w 33"/>
                <a:gd name="T13" fmla="*/ 0 h 17"/>
                <a:gd name="T14" fmla="*/ 2 w 33"/>
                <a:gd name="T15" fmla="*/ 1 h 17"/>
                <a:gd name="T16" fmla="*/ 5 w 33"/>
                <a:gd name="T17" fmla="*/ 1 h 17"/>
                <a:gd name="T18" fmla="*/ 5 w 33"/>
                <a:gd name="T19" fmla="*/ 1 h 17"/>
                <a:gd name="T20" fmla="*/ 28 w 33"/>
                <a:gd name="T21" fmla="*/ 12 h 17"/>
                <a:gd name="T22" fmla="*/ 28 w 33"/>
                <a:gd name="T23" fmla="*/ 12 h 17"/>
                <a:gd name="T24" fmla="*/ 29 w 33"/>
                <a:gd name="T25" fmla="*/ 14 h 17"/>
                <a:gd name="T26" fmla="*/ 29 w 33"/>
                <a:gd name="T27" fmla="*/ 14 h 17"/>
                <a:gd name="T28" fmla="*/ 33 w 33"/>
                <a:gd name="T29" fmla="*/ 17 h 17"/>
                <a:gd name="T30" fmla="*/ 33 w 33"/>
                <a:gd name="T31" fmla="*/ 17 h 17"/>
                <a:gd name="T32" fmla="*/ 30 w 33"/>
                <a:gd name="T33"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17">
                  <a:moveTo>
                    <a:pt x="30" y="15"/>
                  </a:moveTo>
                  <a:lnTo>
                    <a:pt x="30" y="15"/>
                  </a:lnTo>
                  <a:lnTo>
                    <a:pt x="22" y="11"/>
                  </a:lnTo>
                  <a:lnTo>
                    <a:pt x="22" y="11"/>
                  </a:lnTo>
                  <a:lnTo>
                    <a:pt x="9" y="5"/>
                  </a:lnTo>
                  <a:lnTo>
                    <a:pt x="0" y="0"/>
                  </a:lnTo>
                  <a:lnTo>
                    <a:pt x="0" y="0"/>
                  </a:lnTo>
                  <a:lnTo>
                    <a:pt x="2" y="1"/>
                  </a:lnTo>
                  <a:lnTo>
                    <a:pt x="5" y="1"/>
                  </a:lnTo>
                  <a:lnTo>
                    <a:pt x="5" y="1"/>
                  </a:lnTo>
                  <a:lnTo>
                    <a:pt x="28" y="12"/>
                  </a:lnTo>
                  <a:lnTo>
                    <a:pt x="28" y="12"/>
                  </a:lnTo>
                  <a:lnTo>
                    <a:pt x="29" y="14"/>
                  </a:lnTo>
                  <a:lnTo>
                    <a:pt x="29" y="14"/>
                  </a:lnTo>
                  <a:lnTo>
                    <a:pt x="33" y="17"/>
                  </a:lnTo>
                  <a:lnTo>
                    <a:pt x="33" y="17"/>
                  </a:lnTo>
                  <a:lnTo>
                    <a:pt x="30" y="1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0" name="Freeform 390"/>
            <p:cNvSpPr/>
            <p:nvPr/>
          </p:nvSpPr>
          <p:spPr bwMode="auto">
            <a:xfrm>
              <a:off x="2600330" y="2989751"/>
              <a:ext cx="12287" cy="18429"/>
            </a:xfrm>
            <a:custGeom>
              <a:avLst/>
              <a:gdLst>
                <a:gd name="T0" fmla="*/ 2 w 4"/>
                <a:gd name="T1" fmla="*/ 6 h 6"/>
                <a:gd name="T2" fmla="*/ 2 w 4"/>
                <a:gd name="T3" fmla="*/ 6 h 6"/>
                <a:gd name="T4" fmla="*/ 0 w 4"/>
                <a:gd name="T5" fmla="*/ 3 h 6"/>
                <a:gd name="T6" fmla="*/ 0 w 4"/>
                <a:gd name="T7" fmla="*/ 2 h 6"/>
                <a:gd name="T8" fmla="*/ 3 w 4"/>
                <a:gd name="T9" fmla="*/ 0 h 6"/>
                <a:gd name="T10" fmla="*/ 3 w 4"/>
                <a:gd name="T11" fmla="*/ 0 h 6"/>
                <a:gd name="T12" fmla="*/ 4 w 4"/>
                <a:gd name="T13" fmla="*/ 3 h 6"/>
                <a:gd name="T14" fmla="*/ 4 w 4"/>
                <a:gd name="T15" fmla="*/ 5 h 6"/>
                <a:gd name="T16" fmla="*/ 4 w 4"/>
                <a:gd name="T17" fmla="*/ 5 h 6"/>
                <a:gd name="T18" fmla="*/ 2 w 4"/>
                <a:gd name="T19" fmla="*/ 5 h 6"/>
                <a:gd name="T20" fmla="*/ 2 w 4"/>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2" y="6"/>
                  </a:moveTo>
                  <a:lnTo>
                    <a:pt x="2" y="6"/>
                  </a:lnTo>
                  <a:lnTo>
                    <a:pt x="0" y="3"/>
                  </a:lnTo>
                  <a:lnTo>
                    <a:pt x="0" y="2"/>
                  </a:lnTo>
                  <a:lnTo>
                    <a:pt x="3" y="0"/>
                  </a:lnTo>
                  <a:lnTo>
                    <a:pt x="3" y="0"/>
                  </a:lnTo>
                  <a:lnTo>
                    <a:pt x="4" y="3"/>
                  </a:lnTo>
                  <a:lnTo>
                    <a:pt x="4" y="5"/>
                  </a:lnTo>
                  <a:lnTo>
                    <a:pt x="4" y="5"/>
                  </a:lnTo>
                  <a:lnTo>
                    <a:pt x="2" y="5"/>
                  </a:lnTo>
                  <a:lnTo>
                    <a:pt x="2"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1" name="Freeform 391"/>
            <p:cNvSpPr/>
            <p:nvPr/>
          </p:nvSpPr>
          <p:spPr bwMode="auto">
            <a:xfrm>
              <a:off x="3423562" y="3389078"/>
              <a:ext cx="24574" cy="12287"/>
            </a:xfrm>
            <a:custGeom>
              <a:avLst/>
              <a:gdLst>
                <a:gd name="T0" fmla="*/ 0 w 9"/>
                <a:gd name="T1" fmla="*/ 0 h 5"/>
                <a:gd name="T2" fmla="*/ 0 w 9"/>
                <a:gd name="T3" fmla="*/ 0 h 5"/>
                <a:gd name="T4" fmla="*/ 2 w 9"/>
                <a:gd name="T5" fmla="*/ 0 h 5"/>
                <a:gd name="T6" fmla="*/ 2 w 9"/>
                <a:gd name="T7" fmla="*/ 0 h 5"/>
                <a:gd name="T8" fmla="*/ 9 w 9"/>
                <a:gd name="T9" fmla="*/ 5 h 5"/>
                <a:gd name="T10" fmla="*/ 9 w 9"/>
                <a:gd name="T11" fmla="*/ 5 h 5"/>
                <a:gd name="T12" fmla="*/ 0 w 9"/>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0" y="0"/>
                  </a:moveTo>
                  <a:lnTo>
                    <a:pt x="0" y="0"/>
                  </a:lnTo>
                  <a:lnTo>
                    <a:pt x="2" y="0"/>
                  </a:lnTo>
                  <a:lnTo>
                    <a:pt x="2" y="0"/>
                  </a:lnTo>
                  <a:lnTo>
                    <a:pt x="9" y="5"/>
                  </a:lnTo>
                  <a:lnTo>
                    <a:pt x="9" y="5"/>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2" name="Freeform 392"/>
            <p:cNvSpPr/>
            <p:nvPr/>
          </p:nvSpPr>
          <p:spPr bwMode="auto">
            <a:xfrm>
              <a:off x="1998263" y="2633427"/>
              <a:ext cx="18433" cy="24574"/>
            </a:xfrm>
            <a:custGeom>
              <a:avLst/>
              <a:gdLst>
                <a:gd name="T0" fmla="*/ 1 w 7"/>
                <a:gd name="T1" fmla="*/ 7 h 7"/>
                <a:gd name="T2" fmla="*/ 1 w 7"/>
                <a:gd name="T3" fmla="*/ 7 h 7"/>
                <a:gd name="T4" fmla="*/ 0 w 7"/>
                <a:gd name="T5" fmla="*/ 7 h 7"/>
                <a:gd name="T6" fmla="*/ 0 w 7"/>
                <a:gd name="T7" fmla="*/ 5 h 7"/>
                <a:gd name="T8" fmla="*/ 1 w 7"/>
                <a:gd name="T9" fmla="*/ 1 h 7"/>
                <a:gd name="T10" fmla="*/ 4 w 7"/>
                <a:gd name="T11" fmla="*/ 0 h 7"/>
                <a:gd name="T12" fmla="*/ 5 w 7"/>
                <a:gd name="T13" fmla="*/ 0 h 7"/>
                <a:gd name="T14" fmla="*/ 7 w 7"/>
                <a:gd name="T15" fmla="*/ 1 h 7"/>
                <a:gd name="T16" fmla="*/ 7 w 7"/>
                <a:gd name="T17" fmla="*/ 1 h 7"/>
                <a:gd name="T18" fmla="*/ 7 w 7"/>
                <a:gd name="T19" fmla="*/ 3 h 7"/>
                <a:gd name="T20" fmla="*/ 5 w 7"/>
                <a:gd name="T21" fmla="*/ 4 h 7"/>
                <a:gd name="T22" fmla="*/ 1 w 7"/>
                <a:gd name="T2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1" y="7"/>
                  </a:moveTo>
                  <a:lnTo>
                    <a:pt x="1" y="7"/>
                  </a:lnTo>
                  <a:lnTo>
                    <a:pt x="0" y="7"/>
                  </a:lnTo>
                  <a:lnTo>
                    <a:pt x="0" y="5"/>
                  </a:lnTo>
                  <a:lnTo>
                    <a:pt x="1" y="1"/>
                  </a:lnTo>
                  <a:lnTo>
                    <a:pt x="4" y="0"/>
                  </a:lnTo>
                  <a:lnTo>
                    <a:pt x="5" y="0"/>
                  </a:lnTo>
                  <a:lnTo>
                    <a:pt x="7" y="1"/>
                  </a:lnTo>
                  <a:lnTo>
                    <a:pt x="7" y="1"/>
                  </a:lnTo>
                  <a:lnTo>
                    <a:pt x="7" y="3"/>
                  </a:lnTo>
                  <a:lnTo>
                    <a:pt x="5" y="4"/>
                  </a:lnTo>
                  <a:lnTo>
                    <a:pt x="1"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3" name="Freeform 393"/>
            <p:cNvSpPr/>
            <p:nvPr/>
          </p:nvSpPr>
          <p:spPr bwMode="auto">
            <a:xfrm>
              <a:off x="2157995" y="2541271"/>
              <a:ext cx="18433" cy="18429"/>
            </a:xfrm>
            <a:custGeom>
              <a:avLst/>
              <a:gdLst>
                <a:gd name="T0" fmla="*/ 0 w 7"/>
                <a:gd name="T1" fmla="*/ 3 h 7"/>
                <a:gd name="T2" fmla="*/ 1 w 7"/>
                <a:gd name="T3" fmla="*/ 0 h 7"/>
                <a:gd name="T4" fmla="*/ 1 w 7"/>
                <a:gd name="T5" fmla="*/ 0 h 7"/>
                <a:gd name="T6" fmla="*/ 6 w 7"/>
                <a:gd name="T7" fmla="*/ 3 h 7"/>
                <a:gd name="T8" fmla="*/ 7 w 7"/>
                <a:gd name="T9" fmla="*/ 5 h 7"/>
                <a:gd name="T10" fmla="*/ 6 w 7"/>
                <a:gd name="T11" fmla="*/ 7 h 7"/>
                <a:gd name="T12" fmla="*/ 6 w 7"/>
                <a:gd name="T13" fmla="*/ 7 h 7"/>
                <a:gd name="T14" fmla="*/ 4 w 7"/>
                <a:gd name="T15" fmla="*/ 6 h 7"/>
                <a:gd name="T16" fmla="*/ 1 w 7"/>
                <a:gd name="T17" fmla="*/ 6 h 7"/>
                <a:gd name="T18" fmla="*/ 0 w 7"/>
                <a:gd name="T19" fmla="*/ 5 h 7"/>
                <a:gd name="T20" fmla="*/ 0 w 7"/>
                <a:gd name="T2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0" y="3"/>
                  </a:moveTo>
                  <a:lnTo>
                    <a:pt x="1" y="0"/>
                  </a:lnTo>
                  <a:lnTo>
                    <a:pt x="1" y="0"/>
                  </a:lnTo>
                  <a:lnTo>
                    <a:pt x="6" y="3"/>
                  </a:lnTo>
                  <a:lnTo>
                    <a:pt x="7" y="5"/>
                  </a:lnTo>
                  <a:lnTo>
                    <a:pt x="6" y="7"/>
                  </a:lnTo>
                  <a:lnTo>
                    <a:pt x="6" y="7"/>
                  </a:lnTo>
                  <a:lnTo>
                    <a:pt x="4" y="6"/>
                  </a:lnTo>
                  <a:lnTo>
                    <a:pt x="1" y="6"/>
                  </a:lnTo>
                  <a:lnTo>
                    <a:pt x="0" y="5"/>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4" name="Freeform 394"/>
            <p:cNvSpPr/>
            <p:nvPr/>
          </p:nvSpPr>
          <p:spPr bwMode="auto">
            <a:xfrm>
              <a:off x="3607868" y="3585671"/>
              <a:ext cx="12287" cy="36861"/>
            </a:xfrm>
            <a:custGeom>
              <a:avLst/>
              <a:gdLst>
                <a:gd name="T0" fmla="*/ 0 w 6"/>
                <a:gd name="T1" fmla="*/ 3 h 13"/>
                <a:gd name="T2" fmla="*/ 0 w 6"/>
                <a:gd name="T3" fmla="*/ 3 h 13"/>
                <a:gd name="T4" fmla="*/ 2 w 6"/>
                <a:gd name="T5" fmla="*/ 4 h 13"/>
                <a:gd name="T6" fmla="*/ 2 w 6"/>
                <a:gd name="T7" fmla="*/ 4 h 13"/>
                <a:gd name="T8" fmla="*/ 2 w 6"/>
                <a:gd name="T9" fmla="*/ 4 h 13"/>
                <a:gd name="T10" fmla="*/ 2 w 6"/>
                <a:gd name="T11" fmla="*/ 0 h 13"/>
                <a:gd name="T12" fmla="*/ 2 w 6"/>
                <a:gd name="T13" fmla="*/ 0 h 13"/>
                <a:gd name="T14" fmla="*/ 3 w 6"/>
                <a:gd name="T15" fmla="*/ 3 h 13"/>
                <a:gd name="T16" fmla="*/ 3 w 6"/>
                <a:gd name="T17" fmla="*/ 1 h 13"/>
                <a:gd name="T18" fmla="*/ 3 w 6"/>
                <a:gd name="T19" fmla="*/ 3 h 13"/>
                <a:gd name="T20" fmla="*/ 3 w 6"/>
                <a:gd name="T21" fmla="*/ 3 h 13"/>
                <a:gd name="T22" fmla="*/ 4 w 6"/>
                <a:gd name="T23" fmla="*/ 6 h 13"/>
                <a:gd name="T24" fmla="*/ 3 w 6"/>
                <a:gd name="T25" fmla="*/ 6 h 13"/>
                <a:gd name="T26" fmla="*/ 3 w 6"/>
                <a:gd name="T27" fmla="*/ 6 h 13"/>
                <a:gd name="T28" fmla="*/ 3 w 6"/>
                <a:gd name="T29" fmla="*/ 7 h 13"/>
                <a:gd name="T30" fmla="*/ 4 w 6"/>
                <a:gd name="T31" fmla="*/ 10 h 13"/>
                <a:gd name="T32" fmla="*/ 4 w 6"/>
                <a:gd name="T33" fmla="*/ 10 h 13"/>
                <a:gd name="T34" fmla="*/ 4 w 6"/>
                <a:gd name="T35" fmla="*/ 11 h 13"/>
                <a:gd name="T36" fmla="*/ 4 w 6"/>
                <a:gd name="T37" fmla="*/ 11 h 13"/>
                <a:gd name="T38" fmla="*/ 4 w 6"/>
                <a:gd name="T39" fmla="*/ 11 h 13"/>
                <a:gd name="T40" fmla="*/ 6 w 6"/>
                <a:gd name="T41" fmla="*/ 13 h 13"/>
                <a:gd name="T42" fmla="*/ 4 w 6"/>
                <a:gd name="T43" fmla="*/ 13 h 13"/>
                <a:gd name="T44" fmla="*/ 2 w 6"/>
                <a:gd name="T45" fmla="*/ 9 h 13"/>
                <a:gd name="T46" fmla="*/ 2 w 6"/>
                <a:gd name="T47" fmla="*/ 9 h 13"/>
                <a:gd name="T48" fmla="*/ 3 w 6"/>
                <a:gd name="T49" fmla="*/ 7 h 13"/>
                <a:gd name="T50" fmla="*/ 0 w 6"/>
                <a:gd name="T51"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 h="13">
                  <a:moveTo>
                    <a:pt x="0" y="3"/>
                  </a:moveTo>
                  <a:lnTo>
                    <a:pt x="0" y="3"/>
                  </a:lnTo>
                  <a:lnTo>
                    <a:pt x="2" y="4"/>
                  </a:lnTo>
                  <a:lnTo>
                    <a:pt x="2" y="4"/>
                  </a:lnTo>
                  <a:lnTo>
                    <a:pt x="2" y="4"/>
                  </a:lnTo>
                  <a:lnTo>
                    <a:pt x="2" y="0"/>
                  </a:lnTo>
                  <a:lnTo>
                    <a:pt x="2" y="0"/>
                  </a:lnTo>
                  <a:lnTo>
                    <a:pt x="3" y="3"/>
                  </a:lnTo>
                  <a:lnTo>
                    <a:pt x="3" y="1"/>
                  </a:lnTo>
                  <a:lnTo>
                    <a:pt x="3" y="3"/>
                  </a:lnTo>
                  <a:lnTo>
                    <a:pt x="3" y="3"/>
                  </a:lnTo>
                  <a:lnTo>
                    <a:pt x="4" y="6"/>
                  </a:lnTo>
                  <a:lnTo>
                    <a:pt x="3" y="6"/>
                  </a:lnTo>
                  <a:lnTo>
                    <a:pt x="3" y="6"/>
                  </a:lnTo>
                  <a:lnTo>
                    <a:pt x="3" y="7"/>
                  </a:lnTo>
                  <a:lnTo>
                    <a:pt x="4" y="10"/>
                  </a:lnTo>
                  <a:lnTo>
                    <a:pt x="4" y="10"/>
                  </a:lnTo>
                  <a:lnTo>
                    <a:pt x="4" y="11"/>
                  </a:lnTo>
                  <a:lnTo>
                    <a:pt x="4" y="11"/>
                  </a:lnTo>
                  <a:lnTo>
                    <a:pt x="4" y="11"/>
                  </a:lnTo>
                  <a:lnTo>
                    <a:pt x="6" y="13"/>
                  </a:lnTo>
                  <a:lnTo>
                    <a:pt x="4" y="13"/>
                  </a:lnTo>
                  <a:lnTo>
                    <a:pt x="2" y="9"/>
                  </a:lnTo>
                  <a:lnTo>
                    <a:pt x="2" y="9"/>
                  </a:lnTo>
                  <a:lnTo>
                    <a:pt x="3" y="7"/>
                  </a:lnTo>
                  <a:lnTo>
                    <a:pt x="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5" name="Freeform 395"/>
            <p:cNvSpPr/>
            <p:nvPr/>
          </p:nvSpPr>
          <p:spPr bwMode="auto">
            <a:xfrm>
              <a:off x="3607868" y="3585671"/>
              <a:ext cx="12287" cy="36861"/>
            </a:xfrm>
            <a:custGeom>
              <a:avLst/>
              <a:gdLst>
                <a:gd name="T0" fmla="*/ 0 w 6"/>
                <a:gd name="T1" fmla="*/ 3 h 13"/>
                <a:gd name="T2" fmla="*/ 0 w 6"/>
                <a:gd name="T3" fmla="*/ 3 h 13"/>
                <a:gd name="T4" fmla="*/ 2 w 6"/>
                <a:gd name="T5" fmla="*/ 4 h 13"/>
                <a:gd name="T6" fmla="*/ 2 w 6"/>
                <a:gd name="T7" fmla="*/ 4 h 13"/>
                <a:gd name="T8" fmla="*/ 2 w 6"/>
                <a:gd name="T9" fmla="*/ 4 h 13"/>
                <a:gd name="T10" fmla="*/ 2 w 6"/>
                <a:gd name="T11" fmla="*/ 0 h 13"/>
                <a:gd name="T12" fmla="*/ 2 w 6"/>
                <a:gd name="T13" fmla="*/ 0 h 13"/>
                <a:gd name="T14" fmla="*/ 3 w 6"/>
                <a:gd name="T15" fmla="*/ 3 h 13"/>
                <a:gd name="T16" fmla="*/ 3 w 6"/>
                <a:gd name="T17" fmla="*/ 1 h 13"/>
                <a:gd name="T18" fmla="*/ 3 w 6"/>
                <a:gd name="T19" fmla="*/ 3 h 13"/>
                <a:gd name="T20" fmla="*/ 3 w 6"/>
                <a:gd name="T21" fmla="*/ 3 h 13"/>
                <a:gd name="T22" fmla="*/ 4 w 6"/>
                <a:gd name="T23" fmla="*/ 6 h 13"/>
                <a:gd name="T24" fmla="*/ 3 w 6"/>
                <a:gd name="T25" fmla="*/ 6 h 13"/>
                <a:gd name="T26" fmla="*/ 3 w 6"/>
                <a:gd name="T27" fmla="*/ 6 h 13"/>
                <a:gd name="T28" fmla="*/ 3 w 6"/>
                <a:gd name="T29" fmla="*/ 7 h 13"/>
                <a:gd name="T30" fmla="*/ 4 w 6"/>
                <a:gd name="T31" fmla="*/ 10 h 13"/>
                <a:gd name="T32" fmla="*/ 4 w 6"/>
                <a:gd name="T33" fmla="*/ 10 h 13"/>
                <a:gd name="T34" fmla="*/ 4 w 6"/>
                <a:gd name="T35" fmla="*/ 11 h 13"/>
                <a:gd name="T36" fmla="*/ 4 w 6"/>
                <a:gd name="T37" fmla="*/ 11 h 13"/>
                <a:gd name="T38" fmla="*/ 4 w 6"/>
                <a:gd name="T39" fmla="*/ 11 h 13"/>
                <a:gd name="T40" fmla="*/ 6 w 6"/>
                <a:gd name="T41" fmla="*/ 13 h 13"/>
                <a:gd name="T42" fmla="*/ 4 w 6"/>
                <a:gd name="T43" fmla="*/ 13 h 13"/>
                <a:gd name="T44" fmla="*/ 2 w 6"/>
                <a:gd name="T45" fmla="*/ 9 h 13"/>
                <a:gd name="T46" fmla="*/ 2 w 6"/>
                <a:gd name="T47" fmla="*/ 9 h 13"/>
                <a:gd name="T48" fmla="*/ 3 w 6"/>
                <a:gd name="T49" fmla="*/ 7 h 13"/>
                <a:gd name="T50" fmla="*/ 0 w 6"/>
                <a:gd name="T51"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 h="13">
                  <a:moveTo>
                    <a:pt x="0" y="3"/>
                  </a:moveTo>
                  <a:lnTo>
                    <a:pt x="0" y="3"/>
                  </a:lnTo>
                  <a:lnTo>
                    <a:pt x="2" y="4"/>
                  </a:lnTo>
                  <a:lnTo>
                    <a:pt x="2" y="4"/>
                  </a:lnTo>
                  <a:lnTo>
                    <a:pt x="2" y="4"/>
                  </a:lnTo>
                  <a:lnTo>
                    <a:pt x="2" y="0"/>
                  </a:lnTo>
                  <a:lnTo>
                    <a:pt x="2" y="0"/>
                  </a:lnTo>
                  <a:lnTo>
                    <a:pt x="3" y="3"/>
                  </a:lnTo>
                  <a:lnTo>
                    <a:pt x="3" y="1"/>
                  </a:lnTo>
                  <a:lnTo>
                    <a:pt x="3" y="3"/>
                  </a:lnTo>
                  <a:lnTo>
                    <a:pt x="3" y="3"/>
                  </a:lnTo>
                  <a:lnTo>
                    <a:pt x="4" y="6"/>
                  </a:lnTo>
                  <a:lnTo>
                    <a:pt x="3" y="6"/>
                  </a:lnTo>
                  <a:lnTo>
                    <a:pt x="3" y="6"/>
                  </a:lnTo>
                  <a:lnTo>
                    <a:pt x="3" y="7"/>
                  </a:lnTo>
                  <a:lnTo>
                    <a:pt x="4" y="10"/>
                  </a:lnTo>
                  <a:lnTo>
                    <a:pt x="4" y="10"/>
                  </a:lnTo>
                  <a:lnTo>
                    <a:pt x="4" y="11"/>
                  </a:lnTo>
                  <a:lnTo>
                    <a:pt x="4" y="11"/>
                  </a:lnTo>
                  <a:lnTo>
                    <a:pt x="4" y="11"/>
                  </a:lnTo>
                  <a:lnTo>
                    <a:pt x="6" y="13"/>
                  </a:lnTo>
                  <a:lnTo>
                    <a:pt x="4" y="13"/>
                  </a:lnTo>
                  <a:lnTo>
                    <a:pt x="2" y="9"/>
                  </a:lnTo>
                  <a:lnTo>
                    <a:pt x="2" y="9"/>
                  </a:lnTo>
                  <a:lnTo>
                    <a:pt x="3" y="7"/>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6" name="Freeform 396"/>
            <p:cNvSpPr>
              <a:spLocks noEditPoints="1"/>
            </p:cNvSpPr>
            <p:nvPr/>
          </p:nvSpPr>
          <p:spPr bwMode="auto">
            <a:xfrm>
              <a:off x="3847466" y="5293571"/>
              <a:ext cx="1339288" cy="675788"/>
            </a:xfrm>
            <a:custGeom>
              <a:avLst/>
              <a:gdLst>
                <a:gd name="T0" fmla="*/ 179 w 436"/>
                <a:gd name="T1" fmla="*/ 154 h 219"/>
                <a:gd name="T2" fmla="*/ 165 w 436"/>
                <a:gd name="T3" fmla="*/ 161 h 219"/>
                <a:gd name="T4" fmla="*/ 155 w 436"/>
                <a:gd name="T5" fmla="*/ 168 h 219"/>
                <a:gd name="T6" fmla="*/ 137 w 436"/>
                <a:gd name="T7" fmla="*/ 172 h 219"/>
                <a:gd name="T8" fmla="*/ 108 w 436"/>
                <a:gd name="T9" fmla="*/ 185 h 219"/>
                <a:gd name="T10" fmla="*/ 88 w 436"/>
                <a:gd name="T11" fmla="*/ 194 h 219"/>
                <a:gd name="T12" fmla="*/ 57 w 436"/>
                <a:gd name="T13" fmla="*/ 199 h 219"/>
                <a:gd name="T14" fmla="*/ 0 w 436"/>
                <a:gd name="T15" fmla="*/ 219 h 219"/>
                <a:gd name="T16" fmla="*/ 35 w 436"/>
                <a:gd name="T17" fmla="*/ 211 h 219"/>
                <a:gd name="T18" fmla="*/ 45 w 436"/>
                <a:gd name="T19" fmla="*/ 212 h 219"/>
                <a:gd name="T20" fmla="*/ 115 w 436"/>
                <a:gd name="T21" fmla="*/ 194 h 219"/>
                <a:gd name="T22" fmla="*/ 147 w 436"/>
                <a:gd name="T23" fmla="*/ 184 h 219"/>
                <a:gd name="T24" fmla="*/ 174 w 436"/>
                <a:gd name="T25" fmla="*/ 174 h 219"/>
                <a:gd name="T26" fmla="*/ 303 w 436"/>
                <a:gd name="T27" fmla="*/ 111 h 219"/>
                <a:gd name="T28" fmla="*/ 332 w 436"/>
                <a:gd name="T29" fmla="*/ 90 h 219"/>
                <a:gd name="T30" fmla="*/ 353 w 436"/>
                <a:gd name="T31" fmla="*/ 80 h 219"/>
                <a:gd name="T32" fmla="*/ 373 w 436"/>
                <a:gd name="T33" fmla="*/ 67 h 219"/>
                <a:gd name="T34" fmla="*/ 366 w 436"/>
                <a:gd name="T35" fmla="*/ 67 h 219"/>
                <a:gd name="T36" fmla="*/ 392 w 436"/>
                <a:gd name="T37" fmla="*/ 47 h 219"/>
                <a:gd name="T38" fmla="*/ 413 w 436"/>
                <a:gd name="T39" fmla="*/ 31 h 219"/>
                <a:gd name="T40" fmla="*/ 413 w 436"/>
                <a:gd name="T41" fmla="*/ 22 h 219"/>
                <a:gd name="T42" fmla="*/ 428 w 436"/>
                <a:gd name="T43" fmla="*/ 8 h 219"/>
                <a:gd name="T44" fmla="*/ 435 w 436"/>
                <a:gd name="T45" fmla="*/ 0 h 219"/>
                <a:gd name="T46" fmla="*/ 415 w 436"/>
                <a:gd name="T47" fmla="*/ 18 h 219"/>
                <a:gd name="T48" fmla="*/ 413 w 436"/>
                <a:gd name="T49" fmla="*/ 14 h 219"/>
                <a:gd name="T50" fmla="*/ 402 w 436"/>
                <a:gd name="T51" fmla="*/ 21 h 219"/>
                <a:gd name="T52" fmla="*/ 396 w 436"/>
                <a:gd name="T53" fmla="*/ 18 h 219"/>
                <a:gd name="T54" fmla="*/ 390 w 436"/>
                <a:gd name="T55" fmla="*/ 20 h 219"/>
                <a:gd name="T56" fmla="*/ 376 w 436"/>
                <a:gd name="T57" fmla="*/ 31 h 219"/>
                <a:gd name="T58" fmla="*/ 379 w 436"/>
                <a:gd name="T59" fmla="*/ 37 h 219"/>
                <a:gd name="T60" fmla="*/ 360 w 436"/>
                <a:gd name="T61" fmla="*/ 44 h 219"/>
                <a:gd name="T62" fmla="*/ 359 w 436"/>
                <a:gd name="T63" fmla="*/ 41 h 219"/>
                <a:gd name="T64" fmla="*/ 331 w 436"/>
                <a:gd name="T65" fmla="*/ 58 h 219"/>
                <a:gd name="T66" fmla="*/ 313 w 436"/>
                <a:gd name="T67" fmla="*/ 61 h 219"/>
                <a:gd name="T68" fmla="*/ 311 w 436"/>
                <a:gd name="T69" fmla="*/ 71 h 219"/>
                <a:gd name="T70" fmla="*/ 305 w 436"/>
                <a:gd name="T71" fmla="*/ 78 h 219"/>
                <a:gd name="T72" fmla="*/ 299 w 436"/>
                <a:gd name="T73" fmla="*/ 77 h 219"/>
                <a:gd name="T74" fmla="*/ 295 w 436"/>
                <a:gd name="T75" fmla="*/ 75 h 219"/>
                <a:gd name="T76" fmla="*/ 279 w 436"/>
                <a:gd name="T77" fmla="*/ 92 h 219"/>
                <a:gd name="T78" fmla="*/ 259 w 436"/>
                <a:gd name="T79" fmla="*/ 92 h 219"/>
                <a:gd name="T80" fmla="*/ 248 w 436"/>
                <a:gd name="T81" fmla="*/ 92 h 219"/>
                <a:gd name="T82" fmla="*/ 202 w 436"/>
                <a:gd name="T83" fmla="*/ 114 h 219"/>
                <a:gd name="T84" fmla="*/ 176 w 436"/>
                <a:gd name="T85" fmla="*/ 134 h 219"/>
                <a:gd name="T86" fmla="*/ 175 w 436"/>
                <a:gd name="T87" fmla="*/ 144 h 219"/>
                <a:gd name="T88" fmla="*/ 174 w 436"/>
                <a:gd name="T89" fmla="*/ 137 h 219"/>
                <a:gd name="T90" fmla="*/ 182 w 436"/>
                <a:gd name="T91" fmla="*/ 148 h 219"/>
                <a:gd name="T92" fmla="*/ 366 w 436"/>
                <a:gd name="T93" fmla="*/ 50 h 219"/>
                <a:gd name="T94" fmla="*/ 351 w 436"/>
                <a:gd name="T95" fmla="*/ 54 h 219"/>
                <a:gd name="T96" fmla="*/ 332 w 436"/>
                <a:gd name="T97" fmla="*/ 62 h 219"/>
                <a:gd name="T98" fmla="*/ 342 w 436"/>
                <a:gd name="T99" fmla="*/ 58 h 219"/>
                <a:gd name="T100" fmla="*/ 351 w 436"/>
                <a:gd name="T101" fmla="*/ 50 h 219"/>
                <a:gd name="T102" fmla="*/ 254 w 436"/>
                <a:gd name="T103" fmla="*/ 108 h 219"/>
                <a:gd name="T104" fmla="*/ 255 w 436"/>
                <a:gd name="T105" fmla="*/ 101 h 219"/>
                <a:gd name="T106" fmla="*/ 246 w 436"/>
                <a:gd name="T107" fmla="*/ 114 h 219"/>
                <a:gd name="T108" fmla="*/ 238 w 436"/>
                <a:gd name="T109" fmla="*/ 102 h 219"/>
                <a:gd name="T110" fmla="*/ 232 w 436"/>
                <a:gd name="T111" fmla="*/ 105 h 219"/>
                <a:gd name="T112" fmla="*/ 226 w 436"/>
                <a:gd name="T113" fmla="*/ 124 h 219"/>
                <a:gd name="T114" fmla="*/ 232 w 436"/>
                <a:gd name="T115" fmla="*/ 118 h 219"/>
                <a:gd name="T116" fmla="*/ 211 w 436"/>
                <a:gd name="T117" fmla="*/ 137 h 219"/>
                <a:gd name="T118" fmla="*/ 212 w 436"/>
                <a:gd name="T119" fmla="*/ 120 h 219"/>
                <a:gd name="T120" fmla="*/ 189 w 436"/>
                <a:gd name="T121" fmla="*/ 13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6" h="219">
                  <a:moveTo>
                    <a:pt x="192" y="147"/>
                  </a:moveTo>
                  <a:lnTo>
                    <a:pt x="192" y="147"/>
                  </a:lnTo>
                  <a:lnTo>
                    <a:pt x="191" y="148"/>
                  </a:lnTo>
                  <a:lnTo>
                    <a:pt x="189" y="150"/>
                  </a:lnTo>
                  <a:lnTo>
                    <a:pt x="188" y="152"/>
                  </a:lnTo>
                  <a:lnTo>
                    <a:pt x="186" y="152"/>
                  </a:lnTo>
                  <a:lnTo>
                    <a:pt x="186" y="152"/>
                  </a:lnTo>
                  <a:lnTo>
                    <a:pt x="179" y="154"/>
                  </a:lnTo>
                  <a:lnTo>
                    <a:pt x="172" y="157"/>
                  </a:lnTo>
                  <a:lnTo>
                    <a:pt x="172" y="157"/>
                  </a:lnTo>
                  <a:lnTo>
                    <a:pt x="167" y="160"/>
                  </a:lnTo>
                  <a:lnTo>
                    <a:pt x="167" y="160"/>
                  </a:lnTo>
                  <a:lnTo>
                    <a:pt x="165" y="161"/>
                  </a:lnTo>
                  <a:lnTo>
                    <a:pt x="165" y="161"/>
                  </a:lnTo>
                  <a:lnTo>
                    <a:pt x="165" y="161"/>
                  </a:lnTo>
                  <a:lnTo>
                    <a:pt x="165" y="161"/>
                  </a:lnTo>
                  <a:lnTo>
                    <a:pt x="165" y="161"/>
                  </a:lnTo>
                  <a:lnTo>
                    <a:pt x="165" y="161"/>
                  </a:lnTo>
                  <a:lnTo>
                    <a:pt x="155" y="165"/>
                  </a:lnTo>
                  <a:lnTo>
                    <a:pt x="155" y="165"/>
                  </a:lnTo>
                  <a:lnTo>
                    <a:pt x="155" y="165"/>
                  </a:lnTo>
                  <a:lnTo>
                    <a:pt x="155" y="165"/>
                  </a:lnTo>
                  <a:lnTo>
                    <a:pt x="155" y="165"/>
                  </a:lnTo>
                  <a:lnTo>
                    <a:pt x="155" y="168"/>
                  </a:lnTo>
                  <a:lnTo>
                    <a:pt x="155" y="168"/>
                  </a:lnTo>
                  <a:lnTo>
                    <a:pt x="152" y="167"/>
                  </a:lnTo>
                  <a:lnTo>
                    <a:pt x="152" y="164"/>
                  </a:lnTo>
                  <a:lnTo>
                    <a:pt x="152" y="164"/>
                  </a:lnTo>
                  <a:lnTo>
                    <a:pt x="145" y="168"/>
                  </a:lnTo>
                  <a:lnTo>
                    <a:pt x="138" y="172"/>
                  </a:lnTo>
                  <a:lnTo>
                    <a:pt x="137" y="172"/>
                  </a:lnTo>
                  <a:lnTo>
                    <a:pt x="137" y="172"/>
                  </a:lnTo>
                  <a:lnTo>
                    <a:pt x="135" y="174"/>
                  </a:lnTo>
                  <a:lnTo>
                    <a:pt x="134" y="174"/>
                  </a:lnTo>
                  <a:lnTo>
                    <a:pt x="134" y="174"/>
                  </a:lnTo>
                  <a:lnTo>
                    <a:pt x="125" y="178"/>
                  </a:lnTo>
                  <a:lnTo>
                    <a:pt x="125" y="178"/>
                  </a:lnTo>
                  <a:lnTo>
                    <a:pt x="108" y="187"/>
                  </a:lnTo>
                  <a:lnTo>
                    <a:pt x="108" y="187"/>
                  </a:lnTo>
                  <a:lnTo>
                    <a:pt x="108" y="185"/>
                  </a:lnTo>
                  <a:lnTo>
                    <a:pt x="107" y="185"/>
                  </a:lnTo>
                  <a:lnTo>
                    <a:pt x="98" y="187"/>
                  </a:lnTo>
                  <a:lnTo>
                    <a:pt x="98" y="187"/>
                  </a:lnTo>
                  <a:lnTo>
                    <a:pt x="91" y="189"/>
                  </a:lnTo>
                  <a:lnTo>
                    <a:pt x="89" y="192"/>
                  </a:lnTo>
                  <a:lnTo>
                    <a:pt x="91" y="194"/>
                  </a:lnTo>
                  <a:lnTo>
                    <a:pt x="91" y="194"/>
                  </a:lnTo>
                  <a:lnTo>
                    <a:pt x="88" y="194"/>
                  </a:lnTo>
                  <a:lnTo>
                    <a:pt x="88" y="194"/>
                  </a:lnTo>
                  <a:lnTo>
                    <a:pt x="85" y="194"/>
                  </a:lnTo>
                  <a:lnTo>
                    <a:pt x="85" y="194"/>
                  </a:lnTo>
                  <a:lnTo>
                    <a:pt x="79" y="195"/>
                  </a:lnTo>
                  <a:lnTo>
                    <a:pt x="79" y="195"/>
                  </a:lnTo>
                  <a:lnTo>
                    <a:pt x="68" y="197"/>
                  </a:lnTo>
                  <a:lnTo>
                    <a:pt x="68" y="197"/>
                  </a:lnTo>
                  <a:lnTo>
                    <a:pt x="57" y="199"/>
                  </a:lnTo>
                  <a:lnTo>
                    <a:pt x="57" y="199"/>
                  </a:lnTo>
                  <a:lnTo>
                    <a:pt x="44" y="202"/>
                  </a:lnTo>
                  <a:lnTo>
                    <a:pt x="44" y="202"/>
                  </a:lnTo>
                  <a:lnTo>
                    <a:pt x="20" y="209"/>
                  </a:lnTo>
                  <a:lnTo>
                    <a:pt x="20" y="209"/>
                  </a:lnTo>
                  <a:lnTo>
                    <a:pt x="10" y="214"/>
                  </a:lnTo>
                  <a:lnTo>
                    <a:pt x="10" y="214"/>
                  </a:lnTo>
                  <a:lnTo>
                    <a:pt x="0" y="219"/>
                  </a:lnTo>
                  <a:lnTo>
                    <a:pt x="0" y="219"/>
                  </a:lnTo>
                  <a:lnTo>
                    <a:pt x="8" y="218"/>
                  </a:lnTo>
                  <a:lnTo>
                    <a:pt x="8" y="218"/>
                  </a:lnTo>
                  <a:lnTo>
                    <a:pt x="18" y="217"/>
                  </a:lnTo>
                  <a:lnTo>
                    <a:pt x="18" y="217"/>
                  </a:lnTo>
                  <a:lnTo>
                    <a:pt x="28" y="215"/>
                  </a:lnTo>
                  <a:lnTo>
                    <a:pt x="32" y="212"/>
                  </a:lnTo>
                  <a:lnTo>
                    <a:pt x="35" y="211"/>
                  </a:lnTo>
                  <a:lnTo>
                    <a:pt x="35" y="211"/>
                  </a:lnTo>
                  <a:lnTo>
                    <a:pt x="35" y="212"/>
                  </a:lnTo>
                  <a:lnTo>
                    <a:pt x="35" y="214"/>
                  </a:lnTo>
                  <a:lnTo>
                    <a:pt x="38" y="212"/>
                  </a:lnTo>
                  <a:lnTo>
                    <a:pt x="42" y="209"/>
                  </a:lnTo>
                  <a:lnTo>
                    <a:pt x="45" y="207"/>
                  </a:lnTo>
                  <a:lnTo>
                    <a:pt x="45" y="212"/>
                  </a:lnTo>
                  <a:lnTo>
                    <a:pt x="45" y="212"/>
                  </a:lnTo>
                  <a:lnTo>
                    <a:pt x="78" y="204"/>
                  </a:lnTo>
                  <a:lnTo>
                    <a:pt x="78" y="204"/>
                  </a:lnTo>
                  <a:lnTo>
                    <a:pt x="87" y="202"/>
                  </a:lnTo>
                  <a:lnTo>
                    <a:pt x="89" y="201"/>
                  </a:lnTo>
                  <a:lnTo>
                    <a:pt x="95" y="199"/>
                  </a:lnTo>
                  <a:lnTo>
                    <a:pt x="95" y="199"/>
                  </a:lnTo>
                  <a:lnTo>
                    <a:pt x="115" y="194"/>
                  </a:lnTo>
                  <a:lnTo>
                    <a:pt x="115" y="194"/>
                  </a:lnTo>
                  <a:lnTo>
                    <a:pt x="135" y="188"/>
                  </a:lnTo>
                  <a:lnTo>
                    <a:pt x="141" y="187"/>
                  </a:lnTo>
                  <a:lnTo>
                    <a:pt x="141" y="187"/>
                  </a:lnTo>
                  <a:lnTo>
                    <a:pt x="141" y="187"/>
                  </a:lnTo>
                  <a:lnTo>
                    <a:pt x="141" y="185"/>
                  </a:lnTo>
                  <a:lnTo>
                    <a:pt x="142" y="185"/>
                  </a:lnTo>
                  <a:lnTo>
                    <a:pt x="147" y="184"/>
                  </a:lnTo>
                  <a:lnTo>
                    <a:pt x="147" y="184"/>
                  </a:lnTo>
                  <a:lnTo>
                    <a:pt x="154" y="181"/>
                  </a:lnTo>
                  <a:lnTo>
                    <a:pt x="158" y="179"/>
                  </a:lnTo>
                  <a:lnTo>
                    <a:pt x="159" y="179"/>
                  </a:lnTo>
                  <a:lnTo>
                    <a:pt x="159" y="179"/>
                  </a:lnTo>
                  <a:lnTo>
                    <a:pt x="159" y="179"/>
                  </a:lnTo>
                  <a:lnTo>
                    <a:pt x="171" y="175"/>
                  </a:lnTo>
                  <a:lnTo>
                    <a:pt x="171" y="175"/>
                  </a:lnTo>
                  <a:lnTo>
                    <a:pt x="174" y="174"/>
                  </a:lnTo>
                  <a:lnTo>
                    <a:pt x="174" y="174"/>
                  </a:lnTo>
                  <a:lnTo>
                    <a:pt x="204" y="162"/>
                  </a:lnTo>
                  <a:lnTo>
                    <a:pt x="232" y="150"/>
                  </a:lnTo>
                  <a:lnTo>
                    <a:pt x="286" y="124"/>
                  </a:lnTo>
                  <a:lnTo>
                    <a:pt x="286" y="124"/>
                  </a:lnTo>
                  <a:lnTo>
                    <a:pt x="289" y="121"/>
                  </a:lnTo>
                  <a:lnTo>
                    <a:pt x="293" y="117"/>
                  </a:lnTo>
                  <a:lnTo>
                    <a:pt x="303" y="111"/>
                  </a:lnTo>
                  <a:lnTo>
                    <a:pt x="303" y="111"/>
                  </a:lnTo>
                  <a:lnTo>
                    <a:pt x="309" y="107"/>
                  </a:lnTo>
                  <a:lnTo>
                    <a:pt x="315" y="102"/>
                  </a:lnTo>
                  <a:lnTo>
                    <a:pt x="318" y="98"/>
                  </a:lnTo>
                  <a:lnTo>
                    <a:pt x="319" y="92"/>
                  </a:lnTo>
                  <a:lnTo>
                    <a:pt x="319" y="92"/>
                  </a:lnTo>
                  <a:lnTo>
                    <a:pt x="326" y="91"/>
                  </a:lnTo>
                  <a:lnTo>
                    <a:pt x="332" y="90"/>
                  </a:lnTo>
                  <a:lnTo>
                    <a:pt x="336" y="85"/>
                  </a:lnTo>
                  <a:lnTo>
                    <a:pt x="342" y="81"/>
                  </a:lnTo>
                  <a:lnTo>
                    <a:pt x="342" y="81"/>
                  </a:lnTo>
                  <a:lnTo>
                    <a:pt x="343" y="82"/>
                  </a:lnTo>
                  <a:lnTo>
                    <a:pt x="345" y="84"/>
                  </a:lnTo>
                  <a:lnTo>
                    <a:pt x="348" y="82"/>
                  </a:lnTo>
                  <a:lnTo>
                    <a:pt x="352" y="80"/>
                  </a:lnTo>
                  <a:lnTo>
                    <a:pt x="353" y="80"/>
                  </a:lnTo>
                  <a:lnTo>
                    <a:pt x="355" y="81"/>
                  </a:lnTo>
                  <a:lnTo>
                    <a:pt x="355" y="81"/>
                  </a:lnTo>
                  <a:lnTo>
                    <a:pt x="360" y="77"/>
                  </a:lnTo>
                  <a:lnTo>
                    <a:pt x="366" y="74"/>
                  </a:lnTo>
                  <a:lnTo>
                    <a:pt x="372" y="71"/>
                  </a:lnTo>
                  <a:lnTo>
                    <a:pt x="373" y="68"/>
                  </a:lnTo>
                  <a:lnTo>
                    <a:pt x="373" y="67"/>
                  </a:lnTo>
                  <a:lnTo>
                    <a:pt x="373" y="67"/>
                  </a:lnTo>
                  <a:lnTo>
                    <a:pt x="366" y="71"/>
                  </a:lnTo>
                  <a:lnTo>
                    <a:pt x="360" y="75"/>
                  </a:lnTo>
                  <a:lnTo>
                    <a:pt x="356" y="77"/>
                  </a:lnTo>
                  <a:lnTo>
                    <a:pt x="353" y="77"/>
                  </a:lnTo>
                  <a:lnTo>
                    <a:pt x="351" y="77"/>
                  </a:lnTo>
                  <a:lnTo>
                    <a:pt x="351" y="77"/>
                  </a:lnTo>
                  <a:lnTo>
                    <a:pt x="359" y="71"/>
                  </a:lnTo>
                  <a:lnTo>
                    <a:pt x="366" y="67"/>
                  </a:lnTo>
                  <a:lnTo>
                    <a:pt x="372" y="62"/>
                  </a:lnTo>
                  <a:lnTo>
                    <a:pt x="376" y="61"/>
                  </a:lnTo>
                  <a:lnTo>
                    <a:pt x="380" y="61"/>
                  </a:lnTo>
                  <a:lnTo>
                    <a:pt x="380" y="61"/>
                  </a:lnTo>
                  <a:lnTo>
                    <a:pt x="386" y="55"/>
                  </a:lnTo>
                  <a:lnTo>
                    <a:pt x="386" y="55"/>
                  </a:lnTo>
                  <a:lnTo>
                    <a:pt x="392" y="47"/>
                  </a:lnTo>
                  <a:lnTo>
                    <a:pt x="392" y="47"/>
                  </a:lnTo>
                  <a:lnTo>
                    <a:pt x="399" y="41"/>
                  </a:lnTo>
                  <a:lnTo>
                    <a:pt x="402" y="40"/>
                  </a:lnTo>
                  <a:lnTo>
                    <a:pt x="406" y="40"/>
                  </a:lnTo>
                  <a:lnTo>
                    <a:pt x="406" y="40"/>
                  </a:lnTo>
                  <a:lnTo>
                    <a:pt x="405" y="37"/>
                  </a:lnTo>
                  <a:lnTo>
                    <a:pt x="406" y="35"/>
                  </a:lnTo>
                  <a:lnTo>
                    <a:pt x="409" y="32"/>
                  </a:lnTo>
                  <a:lnTo>
                    <a:pt x="413" y="31"/>
                  </a:lnTo>
                  <a:lnTo>
                    <a:pt x="416" y="28"/>
                  </a:lnTo>
                  <a:lnTo>
                    <a:pt x="416" y="27"/>
                  </a:lnTo>
                  <a:lnTo>
                    <a:pt x="416" y="27"/>
                  </a:lnTo>
                  <a:lnTo>
                    <a:pt x="415" y="25"/>
                  </a:lnTo>
                  <a:lnTo>
                    <a:pt x="413" y="24"/>
                  </a:lnTo>
                  <a:lnTo>
                    <a:pt x="413" y="24"/>
                  </a:lnTo>
                  <a:lnTo>
                    <a:pt x="413" y="22"/>
                  </a:lnTo>
                  <a:lnTo>
                    <a:pt x="413" y="22"/>
                  </a:lnTo>
                  <a:lnTo>
                    <a:pt x="418" y="18"/>
                  </a:lnTo>
                  <a:lnTo>
                    <a:pt x="423" y="15"/>
                  </a:lnTo>
                  <a:lnTo>
                    <a:pt x="428" y="11"/>
                  </a:lnTo>
                  <a:lnTo>
                    <a:pt x="430" y="10"/>
                  </a:lnTo>
                  <a:lnTo>
                    <a:pt x="432" y="7"/>
                  </a:lnTo>
                  <a:lnTo>
                    <a:pt x="432" y="7"/>
                  </a:lnTo>
                  <a:lnTo>
                    <a:pt x="429" y="8"/>
                  </a:lnTo>
                  <a:lnTo>
                    <a:pt x="428" y="8"/>
                  </a:lnTo>
                  <a:lnTo>
                    <a:pt x="426" y="7"/>
                  </a:lnTo>
                  <a:lnTo>
                    <a:pt x="426" y="7"/>
                  </a:lnTo>
                  <a:lnTo>
                    <a:pt x="429" y="5"/>
                  </a:lnTo>
                  <a:lnTo>
                    <a:pt x="430" y="4"/>
                  </a:lnTo>
                  <a:lnTo>
                    <a:pt x="433" y="3"/>
                  </a:lnTo>
                  <a:lnTo>
                    <a:pt x="436" y="1"/>
                  </a:lnTo>
                  <a:lnTo>
                    <a:pt x="436" y="1"/>
                  </a:lnTo>
                  <a:lnTo>
                    <a:pt x="435" y="0"/>
                  </a:lnTo>
                  <a:lnTo>
                    <a:pt x="433" y="0"/>
                  </a:lnTo>
                  <a:lnTo>
                    <a:pt x="430" y="1"/>
                  </a:lnTo>
                  <a:lnTo>
                    <a:pt x="428" y="4"/>
                  </a:lnTo>
                  <a:lnTo>
                    <a:pt x="423" y="5"/>
                  </a:lnTo>
                  <a:lnTo>
                    <a:pt x="423" y="5"/>
                  </a:lnTo>
                  <a:lnTo>
                    <a:pt x="423" y="8"/>
                  </a:lnTo>
                  <a:lnTo>
                    <a:pt x="422" y="11"/>
                  </a:lnTo>
                  <a:lnTo>
                    <a:pt x="415" y="18"/>
                  </a:lnTo>
                  <a:lnTo>
                    <a:pt x="408" y="24"/>
                  </a:lnTo>
                  <a:lnTo>
                    <a:pt x="405" y="25"/>
                  </a:lnTo>
                  <a:lnTo>
                    <a:pt x="403" y="25"/>
                  </a:lnTo>
                  <a:lnTo>
                    <a:pt x="403" y="25"/>
                  </a:lnTo>
                  <a:lnTo>
                    <a:pt x="406" y="18"/>
                  </a:lnTo>
                  <a:lnTo>
                    <a:pt x="409" y="15"/>
                  </a:lnTo>
                  <a:lnTo>
                    <a:pt x="413" y="14"/>
                  </a:lnTo>
                  <a:lnTo>
                    <a:pt x="413" y="14"/>
                  </a:lnTo>
                  <a:lnTo>
                    <a:pt x="412" y="13"/>
                  </a:lnTo>
                  <a:lnTo>
                    <a:pt x="410" y="13"/>
                  </a:lnTo>
                  <a:lnTo>
                    <a:pt x="408" y="13"/>
                  </a:lnTo>
                  <a:lnTo>
                    <a:pt x="406" y="13"/>
                  </a:lnTo>
                  <a:lnTo>
                    <a:pt x="406" y="13"/>
                  </a:lnTo>
                  <a:lnTo>
                    <a:pt x="405" y="15"/>
                  </a:lnTo>
                  <a:lnTo>
                    <a:pt x="403" y="18"/>
                  </a:lnTo>
                  <a:lnTo>
                    <a:pt x="402" y="21"/>
                  </a:lnTo>
                  <a:lnTo>
                    <a:pt x="399" y="24"/>
                  </a:lnTo>
                  <a:lnTo>
                    <a:pt x="399" y="24"/>
                  </a:lnTo>
                  <a:lnTo>
                    <a:pt x="399" y="21"/>
                  </a:lnTo>
                  <a:lnTo>
                    <a:pt x="399" y="18"/>
                  </a:lnTo>
                  <a:lnTo>
                    <a:pt x="399" y="13"/>
                  </a:lnTo>
                  <a:lnTo>
                    <a:pt x="399" y="13"/>
                  </a:lnTo>
                  <a:lnTo>
                    <a:pt x="396" y="15"/>
                  </a:lnTo>
                  <a:lnTo>
                    <a:pt x="396" y="18"/>
                  </a:lnTo>
                  <a:lnTo>
                    <a:pt x="396" y="21"/>
                  </a:lnTo>
                  <a:lnTo>
                    <a:pt x="393" y="24"/>
                  </a:lnTo>
                  <a:lnTo>
                    <a:pt x="393" y="24"/>
                  </a:lnTo>
                  <a:lnTo>
                    <a:pt x="393" y="22"/>
                  </a:lnTo>
                  <a:lnTo>
                    <a:pt x="393" y="21"/>
                  </a:lnTo>
                  <a:lnTo>
                    <a:pt x="392" y="18"/>
                  </a:lnTo>
                  <a:lnTo>
                    <a:pt x="390" y="20"/>
                  </a:lnTo>
                  <a:lnTo>
                    <a:pt x="390" y="20"/>
                  </a:lnTo>
                  <a:lnTo>
                    <a:pt x="389" y="21"/>
                  </a:lnTo>
                  <a:lnTo>
                    <a:pt x="388" y="22"/>
                  </a:lnTo>
                  <a:lnTo>
                    <a:pt x="385" y="24"/>
                  </a:lnTo>
                  <a:lnTo>
                    <a:pt x="378" y="25"/>
                  </a:lnTo>
                  <a:lnTo>
                    <a:pt x="378" y="25"/>
                  </a:lnTo>
                  <a:lnTo>
                    <a:pt x="379" y="28"/>
                  </a:lnTo>
                  <a:lnTo>
                    <a:pt x="379" y="30"/>
                  </a:lnTo>
                  <a:lnTo>
                    <a:pt x="376" y="31"/>
                  </a:lnTo>
                  <a:lnTo>
                    <a:pt x="372" y="34"/>
                  </a:lnTo>
                  <a:lnTo>
                    <a:pt x="370" y="35"/>
                  </a:lnTo>
                  <a:lnTo>
                    <a:pt x="369" y="38"/>
                  </a:lnTo>
                  <a:lnTo>
                    <a:pt x="369" y="38"/>
                  </a:lnTo>
                  <a:lnTo>
                    <a:pt x="373" y="35"/>
                  </a:lnTo>
                  <a:lnTo>
                    <a:pt x="376" y="34"/>
                  </a:lnTo>
                  <a:lnTo>
                    <a:pt x="379" y="35"/>
                  </a:lnTo>
                  <a:lnTo>
                    <a:pt x="379" y="37"/>
                  </a:lnTo>
                  <a:lnTo>
                    <a:pt x="378" y="40"/>
                  </a:lnTo>
                  <a:lnTo>
                    <a:pt x="378" y="40"/>
                  </a:lnTo>
                  <a:lnTo>
                    <a:pt x="373" y="40"/>
                  </a:lnTo>
                  <a:lnTo>
                    <a:pt x="370" y="41"/>
                  </a:lnTo>
                  <a:lnTo>
                    <a:pt x="368" y="42"/>
                  </a:lnTo>
                  <a:lnTo>
                    <a:pt x="362" y="44"/>
                  </a:lnTo>
                  <a:lnTo>
                    <a:pt x="362" y="44"/>
                  </a:lnTo>
                  <a:lnTo>
                    <a:pt x="360" y="44"/>
                  </a:lnTo>
                  <a:lnTo>
                    <a:pt x="359" y="42"/>
                  </a:lnTo>
                  <a:lnTo>
                    <a:pt x="359" y="42"/>
                  </a:lnTo>
                  <a:lnTo>
                    <a:pt x="362" y="40"/>
                  </a:lnTo>
                  <a:lnTo>
                    <a:pt x="362" y="37"/>
                  </a:lnTo>
                  <a:lnTo>
                    <a:pt x="362" y="37"/>
                  </a:lnTo>
                  <a:lnTo>
                    <a:pt x="360" y="37"/>
                  </a:lnTo>
                  <a:lnTo>
                    <a:pt x="359" y="41"/>
                  </a:lnTo>
                  <a:lnTo>
                    <a:pt x="359" y="41"/>
                  </a:lnTo>
                  <a:lnTo>
                    <a:pt x="343" y="50"/>
                  </a:lnTo>
                  <a:lnTo>
                    <a:pt x="343" y="50"/>
                  </a:lnTo>
                  <a:lnTo>
                    <a:pt x="331" y="55"/>
                  </a:lnTo>
                  <a:lnTo>
                    <a:pt x="331" y="55"/>
                  </a:lnTo>
                  <a:lnTo>
                    <a:pt x="333" y="55"/>
                  </a:lnTo>
                  <a:lnTo>
                    <a:pt x="336" y="55"/>
                  </a:lnTo>
                  <a:lnTo>
                    <a:pt x="336" y="55"/>
                  </a:lnTo>
                  <a:lnTo>
                    <a:pt x="331" y="58"/>
                  </a:lnTo>
                  <a:lnTo>
                    <a:pt x="328" y="60"/>
                  </a:lnTo>
                  <a:lnTo>
                    <a:pt x="326" y="60"/>
                  </a:lnTo>
                  <a:lnTo>
                    <a:pt x="328" y="62"/>
                  </a:lnTo>
                  <a:lnTo>
                    <a:pt x="328" y="62"/>
                  </a:lnTo>
                  <a:lnTo>
                    <a:pt x="323" y="65"/>
                  </a:lnTo>
                  <a:lnTo>
                    <a:pt x="321" y="64"/>
                  </a:lnTo>
                  <a:lnTo>
                    <a:pt x="316" y="62"/>
                  </a:lnTo>
                  <a:lnTo>
                    <a:pt x="313" y="61"/>
                  </a:lnTo>
                  <a:lnTo>
                    <a:pt x="313" y="61"/>
                  </a:lnTo>
                  <a:lnTo>
                    <a:pt x="313" y="62"/>
                  </a:lnTo>
                  <a:lnTo>
                    <a:pt x="313" y="64"/>
                  </a:lnTo>
                  <a:lnTo>
                    <a:pt x="312" y="67"/>
                  </a:lnTo>
                  <a:lnTo>
                    <a:pt x="309" y="68"/>
                  </a:lnTo>
                  <a:lnTo>
                    <a:pt x="309" y="70"/>
                  </a:lnTo>
                  <a:lnTo>
                    <a:pt x="311" y="71"/>
                  </a:lnTo>
                  <a:lnTo>
                    <a:pt x="311" y="71"/>
                  </a:lnTo>
                  <a:lnTo>
                    <a:pt x="316" y="67"/>
                  </a:lnTo>
                  <a:lnTo>
                    <a:pt x="318" y="67"/>
                  </a:lnTo>
                  <a:lnTo>
                    <a:pt x="319" y="67"/>
                  </a:lnTo>
                  <a:lnTo>
                    <a:pt x="319" y="68"/>
                  </a:lnTo>
                  <a:lnTo>
                    <a:pt x="319" y="68"/>
                  </a:lnTo>
                  <a:lnTo>
                    <a:pt x="308" y="75"/>
                  </a:lnTo>
                  <a:lnTo>
                    <a:pt x="308" y="75"/>
                  </a:lnTo>
                  <a:lnTo>
                    <a:pt x="305" y="78"/>
                  </a:lnTo>
                  <a:lnTo>
                    <a:pt x="305" y="78"/>
                  </a:lnTo>
                  <a:lnTo>
                    <a:pt x="299" y="82"/>
                  </a:lnTo>
                  <a:lnTo>
                    <a:pt x="299" y="82"/>
                  </a:lnTo>
                  <a:lnTo>
                    <a:pt x="298" y="81"/>
                  </a:lnTo>
                  <a:lnTo>
                    <a:pt x="296" y="81"/>
                  </a:lnTo>
                  <a:lnTo>
                    <a:pt x="295" y="78"/>
                  </a:lnTo>
                  <a:lnTo>
                    <a:pt x="295" y="78"/>
                  </a:lnTo>
                  <a:lnTo>
                    <a:pt x="299" y="77"/>
                  </a:lnTo>
                  <a:lnTo>
                    <a:pt x="303" y="75"/>
                  </a:lnTo>
                  <a:lnTo>
                    <a:pt x="303" y="75"/>
                  </a:lnTo>
                  <a:lnTo>
                    <a:pt x="305" y="71"/>
                  </a:lnTo>
                  <a:lnTo>
                    <a:pt x="306" y="68"/>
                  </a:lnTo>
                  <a:lnTo>
                    <a:pt x="306" y="68"/>
                  </a:lnTo>
                  <a:lnTo>
                    <a:pt x="299" y="71"/>
                  </a:lnTo>
                  <a:lnTo>
                    <a:pt x="299" y="71"/>
                  </a:lnTo>
                  <a:lnTo>
                    <a:pt x="295" y="75"/>
                  </a:lnTo>
                  <a:lnTo>
                    <a:pt x="295" y="75"/>
                  </a:lnTo>
                  <a:lnTo>
                    <a:pt x="292" y="80"/>
                  </a:lnTo>
                  <a:lnTo>
                    <a:pt x="289" y="85"/>
                  </a:lnTo>
                  <a:lnTo>
                    <a:pt x="289" y="85"/>
                  </a:lnTo>
                  <a:lnTo>
                    <a:pt x="285" y="85"/>
                  </a:lnTo>
                  <a:lnTo>
                    <a:pt x="281" y="87"/>
                  </a:lnTo>
                  <a:lnTo>
                    <a:pt x="279" y="90"/>
                  </a:lnTo>
                  <a:lnTo>
                    <a:pt x="279" y="92"/>
                  </a:lnTo>
                  <a:lnTo>
                    <a:pt x="279" y="92"/>
                  </a:lnTo>
                  <a:lnTo>
                    <a:pt x="276" y="92"/>
                  </a:lnTo>
                  <a:lnTo>
                    <a:pt x="275" y="90"/>
                  </a:lnTo>
                  <a:lnTo>
                    <a:pt x="275" y="84"/>
                  </a:lnTo>
                  <a:lnTo>
                    <a:pt x="275" y="84"/>
                  </a:lnTo>
                  <a:lnTo>
                    <a:pt x="269" y="88"/>
                  </a:lnTo>
                  <a:lnTo>
                    <a:pt x="265" y="91"/>
                  </a:lnTo>
                  <a:lnTo>
                    <a:pt x="259" y="92"/>
                  </a:lnTo>
                  <a:lnTo>
                    <a:pt x="254" y="92"/>
                  </a:lnTo>
                  <a:lnTo>
                    <a:pt x="254" y="92"/>
                  </a:lnTo>
                  <a:lnTo>
                    <a:pt x="255" y="91"/>
                  </a:lnTo>
                  <a:lnTo>
                    <a:pt x="255" y="90"/>
                  </a:lnTo>
                  <a:lnTo>
                    <a:pt x="255" y="87"/>
                  </a:lnTo>
                  <a:lnTo>
                    <a:pt x="255" y="87"/>
                  </a:lnTo>
                  <a:lnTo>
                    <a:pt x="252" y="90"/>
                  </a:lnTo>
                  <a:lnTo>
                    <a:pt x="248" y="92"/>
                  </a:lnTo>
                  <a:lnTo>
                    <a:pt x="241" y="92"/>
                  </a:lnTo>
                  <a:lnTo>
                    <a:pt x="241" y="92"/>
                  </a:lnTo>
                  <a:lnTo>
                    <a:pt x="235" y="98"/>
                  </a:lnTo>
                  <a:lnTo>
                    <a:pt x="225" y="105"/>
                  </a:lnTo>
                  <a:lnTo>
                    <a:pt x="225" y="105"/>
                  </a:lnTo>
                  <a:lnTo>
                    <a:pt x="214" y="111"/>
                  </a:lnTo>
                  <a:lnTo>
                    <a:pt x="208" y="112"/>
                  </a:lnTo>
                  <a:lnTo>
                    <a:pt x="202" y="114"/>
                  </a:lnTo>
                  <a:lnTo>
                    <a:pt x="202" y="114"/>
                  </a:lnTo>
                  <a:lnTo>
                    <a:pt x="199" y="118"/>
                  </a:lnTo>
                  <a:lnTo>
                    <a:pt x="194" y="122"/>
                  </a:lnTo>
                  <a:lnTo>
                    <a:pt x="194" y="122"/>
                  </a:lnTo>
                  <a:lnTo>
                    <a:pt x="175" y="131"/>
                  </a:lnTo>
                  <a:lnTo>
                    <a:pt x="175" y="131"/>
                  </a:lnTo>
                  <a:lnTo>
                    <a:pt x="175" y="134"/>
                  </a:lnTo>
                  <a:lnTo>
                    <a:pt x="176" y="134"/>
                  </a:lnTo>
                  <a:lnTo>
                    <a:pt x="181" y="132"/>
                  </a:lnTo>
                  <a:lnTo>
                    <a:pt x="185" y="131"/>
                  </a:lnTo>
                  <a:lnTo>
                    <a:pt x="186" y="131"/>
                  </a:lnTo>
                  <a:lnTo>
                    <a:pt x="188" y="132"/>
                  </a:lnTo>
                  <a:lnTo>
                    <a:pt x="188" y="132"/>
                  </a:lnTo>
                  <a:lnTo>
                    <a:pt x="185" y="137"/>
                  </a:lnTo>
                  <a:lnTo>
                    <a:pt x="181" y="141"/>
                  </a:lnTo>
                  <a:lnTo>
                    <a:pt x="175" y="144"/>
                  </a:lnTo>
                  <a:lnTo>
                    <a:pt x="172" y="144"/>
                  </a:lnTo>
                  <a:lnTo>
                    <a:pt x="169" y="142"/>
                  </a:lnTo>
                  <a:lnTo>
                    <a:pt x="169" y="142"/>
                  </a:lnTo>
                  <a:lnTo>
                    <a:pt x="169" y="141"/>
                  </a:lnTo>
                  <a:lnTo>
                    <a:pt x="169" y="141"/>
                  </a:lnTo>
                  <a:lnTo>
                    <a:pt x="172" y="140"/>
                  </a:lnTo>
                  <a:lnTo>
                    <a:pt x="174" y="138"/>
                  </a:lnTo>
                  <a:lnTo>
                    <a:pt x="174" y="137"/>
                  </a:lnTo>
                  <a:lnTo>
                    <a:pt x="172" y="135"/>
                  </a:lnTo>
                  <a:lnTo>
                    <a:pt x="172" y="135"/>
                  </a:lnTo>
                  <a:lnTo>
                    <a:pt x="168" y="140"/>
                  </a:lnTo>
                  <a:lnTo>
                    <a:pt x="167" y="142"/>
                  </a:lnTo>
                  <a:lnTo>
                    <a:pt x="168" y="145"/>
                  </a:lnTo>
                  <a:lnTo>
                    <a:pt x="171" y="147"/>
                  </a:lnTo>
                  <a:lnTo>
                    <a:pt x="171" y="147"/>
                  </a:lnTo>
                  <a:lnTo>
                    <a:pt x="182" y="148"/>
                  </a:lnTo>
                  <a:lnTo>
                    <a:pt x="192" y="147"/>
                  </a:lnTo>
                  <a:close/>
                  <a:moveTo>
                    <a:pt x="369" y="44"/>
                  </a:moveTo>
                  <a:lnTo>
                    <a:pt x="369" y="44"/>
                  </a:lnTo>
                  <a:lnTo>
                    <a:pt x="372" y="47"/>
                  </a:lnTo>
                  <a:lnTo>
                    <a:pt x="372" y="47"/>
                  </a:lnTo>
                  <a:lnTo>
                    <a:pt x="369" y="50"/>
                  </a:lnTo>
                  <a:lnTo>
                    <a:pt x="368" y="50"/>
                  </a:lnTo>
                  <a:lnTo>
                    <a:pt x="366" y="50"/>
                  </a:lnTo>
                  <a:lnTo>
                    <a:pt x="363" y="50"/>
                  </a:lnTo>
                  <a:lnTo>
                    <a:pt x="363" y="50"/>
                  </a:lnTo>
                  <a:lnTo>
                    <a:pt x="363" y="48"/>
                  </a:lnTo>
                  <a:lnTo>
                    <a:pt x="365" y="47"/>
                  </a:lnTo>
                  <a:lnTo>
                    <a:pt x="369" y="44"/>
                  </a:lnTo>
                  <a:close/>
                  <a:moveTo>
                    <a:pt x="353" y="48"/>
                  </a:moveTo>
                  <a:lnTo>
                    <a:pt x="353" y="48"/>
                  </a:lnTo>
                  <a:lnTo>
                    <a:pt x="351" y="54"/>
                  </a:lnTo>
                  <a:lnTo>
                    <a:pt x="348" y="61"/>
                  </a:lnTo>
                  <a:lnTo>
                    <a:pt x="348" y="61"/>
                  </a:lnTo>
                  <a:lnTo>
                    <a:pt x="343" y="65"/>
                  </a:lnTo>
                  <a:lnTo>
                    <a:pt x="343" y="65"/>
                  </a:lnTo>
                  <a:lnTo>
                    <a:pt x="339" y="67"/>
                  </a:lnTo>
                  <a:lnTo>
                    <a:pt x="336" y="67"/>
                  </a:lnTo>
                  <a:lnTo>
                    <a:pt x="336" y="67"/>
                  </a:lnTo>
                  <a:lnTo>
                    <a:pt x="332" y="62"/>
                  </a:lnTo>
                  <a:lnTo>
                    <a:pt x="332" y="62"/>
                  </a:lnTo>
                  <a:lnTo>
                    <a:pt x="335" y="61"/>
                  </a:lnTo>
                  <a:lnTo>
                    <a:pt x="338" y="60"/>
                  </a:lnTo>
                  <a:lnTo>
                    <a:pt x="339" y="60"/>
                  </a:lnTo>
                  <a:lnTo>
                    <a:pt x="341" y="57"/>
                  </a:lnTo>
                  <a:lnTo>
                    <a:pt x="341" y="57"/>
                  </a:lnTo>
                  <a:lnTo>
                    <a:pt x="343" y="57"/>
                  </a:lnTo>
                  <a:lnTo>
                    <a:pt x="342" y="58"/>
                  </a:lnTo>
                  <a:lnTo>
                    <a:pt x="342" y="60"/>
                  </a:lnTo>
                  <a:lnTo>
                    <a:pt x="341" y="62"/>
                  </a:lnTo>
                  <a:lnTo>
                    <a:pt x="341" y="62"/>
                  </a:lnTo>
                  <a:lnTo>
                    <a:pt x="343" y="61"/>
                  </a:lnTo>
                  <a:lnTo>
                    <a:pt x="345" y="60"/>
                  </a:lnTo>
                  <a:lnTo>
                    <a:pt x="346" y="57"/>
                  </a:lnTo>
                  <a:lnTo>
                    <a:pt x="348" y="51"/>
                  </a:lnTo>
                  <a:lnTo>
                    <a:pt x="351" y="50"/>
                  </a:lnTo>
                  <a:lnTo>
                    <a:pt x="353" y="48"/>
                  </a:lnTo>
                  <a:close/>
                  <a:moveTo>
                    <a:pt x="275" y="100"/>
                  </a:moveTo>
                  <a:lnTo>
                    <a:pt x="275" y="100"/>
                  </a:lnTo>
                  <a:lnTo>
                    <a:pt x="271" y="104"/>
                  </a:lnTo>
                  <a:lnTo>
                    <a:pt x="265" y="108"/>
                  </a:lnTo>
                  <a:lnTo>
                    <a:pt x="258" y="110"/>
                  </a:lnTo>
                  <a:lnTo>
                    <a:pt x="255" y="110"/>
                  </a:lnTo>
                  <a:lnTo>
                    <a:pt x="254" y="108"/>
                  </a:lnTo>
                  <a:lnTo>
                    <a:pt x="254" y="108"/>
                  </a:lnTo>
                  <a:lnTo>
                    <a:pt x="265" y="102"/>
                  </a:lnTo>
                  <a:lnTo>
                    <a:pt x="271" y="100"/>
                  </a:lnTo>
                  <a:lnTo>
                    <a:pt x="275" y="100"/>
                  </a:lnTo>
                  <a:close/>
                  <a:moveTo>
                    <a:pt x="259" y="95"/>
                  </a:moveTo>
                  <a:lnTo>
                    <a:pt x="259" y="95"/>
                  </a:lnTo>
                  <a:lnTo>
                    <a:pt x="258" y="98"/>
                  </a:lnTo>
                  <a:lnTo>
                    <a:pt x="255" y="101"/>
                  </a:lnTo>
                  <a:lnTo>
                    <a:pt x="245" y="105"/>
                  </a:lnTo>
                  <a:lnTo>
                    <a:pt x="245" y="105"/>
                  </a:lnTo>
                  <a:lnTo>
                    <a:pt x="246" y="101"/>
                  </a:lnTo>
                  <a:lnTo>
                    <a:pt x="249" y="98"/>
                  </a:lnTo>
                  <a:lnTo>
                    <a:pt x="259" y="95"/>
                  </a:lnTo>
                  <a:close/>
                  <a:moveTo>
                    <a:pt x="249" y="110"/>
                  </a:moveTo>
                  <a:lnTo>
                    <a:pt x="249" y="110"/>
                  </a:lnTo>
                  <a:lnTo>
                    <a:pt x="246" y="114"/>
                  </a:lnTo>
                  <a:lnTo>
                    <a:pt x="241" y="118"/>
                  </a:lnTo>
                  <a:lnTo>
                    <a:pt x="241" y="118"/>
                  </a:lnTo>
                  <a:lnTo>
                    <a:pt x="239" y="117"/>
                  </a:lnTo>
                  <a:lnTo>
                    <a:pt x="241" y="115"/>
                  </a:lnTo>
                  <a:lnTo>
                    <a:pt x="242" y="112"/>
                  </a:lnTo>
                  <a:lnTo>
                    <a:pt x="246" y="111"/>
                  </a:lnTo>
                  <a:lnTo>
                    <a:pt x="249" y="110"/>
                  </a:lnTo>
                  <a:close/>
                  <a:moveTo>
                    <a:pt x="238" y="102"/>
                  </a:moveTo>
                  <a:lnTo>
                    <a:pt x="238" y="102"/>
                  </a:lnTo>
                  <a:lnTo>
                    <a:pt x="238" y="105"/>
                  </a:lnTo>
                  <a:lnTo>
                    <a:pt x="238" y="107"/>
                  </a:lnTo>
                  <a:lnTo>
                    <a:pt x="235" y="108"/>
                  </a:lnTo>
                  <a:lnTo>
                    <a:pt x="232" y="110"/>
                  </a:lnTo>
                  <a:lnTo>
                    <a:pt x="232" y="110"/>
                  </a:lnTo>
                  <a:lnTo>
                    <a:pt x="232" y="108"/>
                  </a:lnTo>
                  <a:lnTo>
                    <a:pt x="232" y="105"/>
                  </a:lnTo>
                  <a:lnTo>
                    <a:pt x="234" y="104"/>
                  </a:lnTo>
                  <a:lnTo>
                    <a:pt x="238" y="102"/>
                  </a:lnTo>
                  <a:close/>
                  <a:moveTo>
                    <a:pt x="238" y="117"/>
                  </a:moveTo>
                  <a:lnTo>
                    <a:pt x="238" y="117"/>
                  </a:lnTo>
                  <a:lnTo>
                    <a:pt x="236" y="120"/>
                  </a:lnTo>
                  <a:lnTo>
                    <a:pt x="235" y="122"/>
                  </a:lnTo>
                  <a:lnTo>
                    <a:pt x="231" y="124"/>
                  </a:lnTo>
                  <a:lnTo>
                    <a:pt x="226" y="124"/>
                  </a:lnTo>
                  <a:lnTo>
                    <a:pt x="226" y="124"/>
                  </a:lnTo>
                  <a:lnTo>
                    <a:pt x="219" y="124"/>
                  </a:lnTo>
                  <a:lnTo>
                    <a:pt x="216" y="121"/>
                  </a:lnTo>
                  <a:lnTo>
                    <a:pt x="216" y="120"/>
                  </a:lnTo>
                  <a:lnTo>
                    <a:pt x="216" y="120"/>
                  </a:lnTo>
                  <a:lnTo>
                    <a:pt x="222" y="121"/>
                  </a:lnTo>
                  <a:lnTo>
                    <a:pt x="226" y="120"/>
                  </a:lnTo>
                  <a:lnTo>
                    <a:pt x="232" y="118"/>
                  </a:lnTo>
                  <a:lnTo>
                    <a:pt x="238" y="117"/>
                  </a:lnTo>
                  <a:close/>
                  <a:moveTo>
                    <a:pt x="225" y="130"/>
                  </a:moveTo>
                  <a:lnTo>
                    <a:pt x="225" y="130"/>
                  </a:lnTo>
                  <a:lnTo>
                    <a:pt x="225" y="130"/>
                  </a:lnTo>
                  <a:lnTo>
                    <a:pt x="225" y="131"/>
                  </a:lnTo>
                  <a:lnTo>
                    <a:pt x="222" y="132"/>
                  </a:lnTo>
                  <a:lnTo>
                    <a:pt x="211" y="137"/>
                  </a:lnTo>
                  <a:lnTo>
                    <a:pt x="211" y="137"/>
                  </a:lnTo>
                  <a:lnTo>
                    <a:pt x="211" y="135"/>
                  </a:lnTo>
                  <a:lnTo>
                    <a:pt x="212" y="132"/>
                  </a:lnTo>
                  <a:lnTo>
                    <a:pt x="215" y="131"/>
                  </a:lnTo>
                  <a:lnTo>
                    <a:pt x="221" y="130"/>
                  </a:lnTo>
                  <a:lnTo>
                    <a:pt x="225" y="130"/>
                  </a:lnTo>
                  <a:close/>
                  <a:moveTo>
                    <a:pt x="211" y="117"/>
                  </a:moveTo>
                  <a:lnTo>
                    <a:pt x="211" y="117"/>
                  </a:lnTo>
                  <a:lnTo>
                    <a:pt x="212" y="120"/>
                  </a:lnTo>
                  <a:lnTo>
                    <a:pt x="211" y="122"/>
                  </a:lnTo>
                  <a:lnTo>
                    <a:pt x="212" y="125"/>
                  </a:lnTo>
                  <a:lnTo>
                    <a:pt x="214" y="125"/>
                  </a:lnTo>
                  <a:lnTo>
                    <a:pt x="214" y="125"/>
                  </a:lnTo>
                  <a:lnTo>
                    <a:pt x="204" y="128"/>
                  </a:lnTo>
                  <a:lnTo>
                    <a:pt x="204" y="128"/>
                  </a:lnTo>
                  <a:lnTo>
                    <a:pt x="189" y="132"/>
                  </a:lnTo>
                  <a:lnTo>
                    <a:pt x="189" y="132"/>
                  </a:lnTo>
                  <a:lnTo>
                    <a:pt x="192" y="128"/>
                  </a:lnTo>
                  <a:lnTo>
                    <a:pt x="196" y="124"/>
                  </a:lnTo>
                  <a:lnTo>
                    <a:pt x="196" y="124"/>
                  </a:lnTo>
                  <a:lnTo>
                    <a:pt x="202" y="120"/>
                  </a:lnTo>
                  <a:lnTo>
                    <a:pt x="211" y="11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7" name="Freeform 397"/>
            <p:cNvSpPr/>
            <p:nvPr/>
          </p:nvSpPr>
          <p:spPr bwMode="auto">
            <a:xfrm>
              <a:off x="3847466" y="5293570"/>
              <a:ext cx="1339288" cy="675788"/>
            </a:xfrm>
            <a:custGeom>
              <a:avLst/>
              <a:gdLst>
                <a:gd name="T0" fmla="*/ 186 w 436"/>
                <a:gd name="T1" fmla="*/ 152 h 219"/>
                <a:gd name="T2" fmla="*/ 167 w 436"/>
                <a:gd name="T3" fmla="*/ 160 h 219"/>
                <a:gd name="T4" fmla="*/ 165 w 436"/>
                <a:gd name="T5" fmla="*/ 161 h 219"/>
                <a:gd name="T6" fmla="*/ 155 w 436"/>
                <a:gd name="T7" fmla="*/ 168 h 219"/>
                <a:gd name="T8" fmla="*/ 138 w 436"/>
                <a:gd name="T9" fmla="*/ 172 h 219"/>
                <a:gd name="T10" fmla="*/ 125 w 436"/>
                <a:gd name="T11" fmla="*/ 178 h 219"/>
                <a:gd name="T12" fmla="*/ 98 w 436"/>
                <a:gd name="T13" fmla="*/ 187 h 219"/>
                <a:gd name="T14" fmla="*/ 88 w 436"/>
                <a:gd name="T15" fmla="*/ 194 h 219"/>
                <a:gd name="T16" fmla="*/ 68 w 436"/>
                <a:gd name="T17" fmla="*/ 197 h 219"/>
                <a:gd name="T18" fmla="*/ 20 w 436"/>
                <a:gd name="T19" fmla="*/ 209 h 219"/>
                <a:gd name="T20" fmla="*/ 8 w 436"/>
                <a:gd name="T21" fmla="*/ 218 h 219"/>
                <a:gd name="T22" fmla="*/ 35 w 436"/>
                <a:gd name="T23" fmla="*/ 211 h 219"/>
                <a:gd name="T24" fmla="*/ 45 w 436"/>
                <a:gd name="T25" fmla="*/ 207 h 219"/>
                <a:gd name="T26" fmla="*/ 89 w 436"/>
                <a:gd name="T27" fmla="*/ 201 h 219"/>
                <a:gd name="T28" fmla="*/ 141 w 436"/>
                <a:gd name="T29" fmla="*/ 187 h 219"/>
                <a:gd name="T30" fmla="*/ 147 w 436"/>
                <a:gd name="T31" fmla="*/ 184 h 219"/>
                <a:gd name="T32" fmla="*/ 171 w 436"/>
                <a:gd name="T33" fmla="*/ 175 h 219"/>
                <a:gd name="T34" fmla="*/ 286 w 436"/>
                <a:gd name="T35" fmla="*/ 124 h 219"/>
                <a:gd name="T36" fmla="*/ 309 w 436"/>
                <a:gd name="T37" fmla="*/ 107 h 219"/>
                <a:gd name="T38" fmla="*/ 332 w 436"/>
                <a:gd name="T39" fmla="*/ 90 h 219"/>
                <a:gd name="T40" fmla="*/ 348 w 436"/>
                <a:gd name="T41" fmla="*/ 82 h 219"/>
                <a:gd name="T42" fmla="*/ 366 w 436"/>
                <a:gd name="T43" fmla="*/ 74 h 219"/>
                <a:gd name="T44" fmla="*/ 360 w 436"/>
                <a:gd name="T45" fmla="*/ 75 h 219"/>
                <a:gd name="T46" fmla="*/ 366 w 436"/>
                <a:gd name="T47" fmla="*/ 67 h 219"/>
                <a:gd name="T48" fmla="*/ 386 w 436"/>
                <a:gd name="T49" fmla="*/ 55 h 219"/>
                <a:gd name="T50" fmla="*/ 406 w 436"/>
                <a:gd name="T51" fmla="*/ 40 h 219"/>
                <a:gd name="T52" fmla="*/ 416 w 436"/>
                <a:gd name="T53" fmla="*/ 27 h 219"/>
                <a:gd name="T54" fmla="*/ 413 w 436"/>
                <a:gd name="T55" fmla="*/ 22 h 219"/>
                <a:gd name="T56" fmla="*/ 432 w 436"/>
                <a:gd name="T57" fmla="*/ 7 h 219"/>
                <a:gd name="T58" fmla="*/ 430 w 436"/>
                <a:gd name="T59" fmla="*/ 4 h 219"/>
                <a:gd name="T60" fmla="*/ 430 w 436"/>
                <a:gd name="T61" fmla="*/ 1 h 219"/>
                <a:gd name="T62" fmla="*/ 415 w 436"/>
                <a:gd name="T63" fmla="*/ 18 h 219"/>
                <a:gd name="T64" fmla="*/ 409 w 436"/>
                <a:gd name="T65" fmla="*/ 15 h 219"/>
                <a:gd name="T66" fmla="*/ 406 w 436"/>
                <a:gd name="T67" fmla="*/ 13 h 219"/>
                <a:gd name="T68" fmla="*/ 399 w 436"/>
                <a:gd name="T69" fmla="*/ 24 h 219"/>
                <a:gd name="T70" fmla="*/ 396 w 436"/>
                <a:gd name="T71" fmla="*/ 18 h 219"/>
                <a:gd name="T72" fmla="*/ 392 w 436"/>
                <a:gd name="T73" fmla="*/ 18 h 219"/>
                <a:gd name="T74" fmla="*/ 378 w 436"/>
                <a:gd name="T75" fmla="*/ 25 h 219"/>
                <a:gd name="T76" fmla="*/ 370 w 436"/>
                <a:gd name="T77" fmla="*/ 35 h 219"/>
                <a:gd name="T78" fmla="*/ 379 w 436"/>
                <a:gd name="T79" fmla="*/ 37 h 219"/>
                <a:gd name="T80" fmla="*/ 362 w 436"/>
                <a:gd name="T81" fmla="*/ 44 h 219"/>
                <a:gd name="T82" fmla="*/ 362 w 436"/>
                <a:gd name="T83" fmla="*/ 37 h 219"/>
                <a:gd name="T84" fmla="*/ 343 w 436"/>
                <a:gd name="T85" fmla="*/ 50 h 219"/>
                <a:gd name="T86" fmla="*/ 331 w 436"/>
                <a:gd name="T87" fmla="*/ 58 h 219"/>
                <a:gd name="T88" fmla="*/ 321 w 436"/>
                <a:gd name="T89" fmla="*/ 64 h 219"/>
                <a:gd name="T90" fmla="*/ 312 w 436"/>
                <a:gd name="T91" fmla="*/ 67 h 219"/>
                <a:gd name="T92" fmla="*/ 318 w 436"/>
                <a:gd name="T93" fmla="*/ 67 h 219"/>
                <a:gd name="T94" fmla="*/ 305 w 436"/>
                <a:gd name="T95" fmla="*/ 78 h 219"/>
                <a:gd name="T96" fmla="*/ 295 w 436"/>
                <a:gd name="T97" fmla="*/ 78 h 219"/>
                <a:gd name="T98" fmla="*/ 306 w 436"/>
                <a:gd name="T99" fmla="*/ 68 h 219"/>
                <a:gd name="T100" fmla="*/ 292 w 436"/>
                <a:gd name="T101" fmla="*/ 80 h 219"/>
                <a:gd name="T102" fmla="*/ 279 w 436"/>
                <a:gd name="T103" fmla="*/ 92 h 219"/>
                <a:gd name="T104" fmla="*/ 269 w 436"/>
                <a:gd name="T105" fmla="*/ 88 h 219"/>
                <a:gd name="T106" fmla="*/ 255 w 436"/>
                <a:gd name="T107" fmla="*/ 90 h 219"/>
                <a:gd name="T108" fmla="*/ 241 w 436"/>
                <a:gd name="T109" fmla="*/ 92 h 219"/>
                <a:gd name="T110" fmla="*/ 202 w 436"/>
                <a:gd name="T111" fmla="*/ 114 h 219"/>
                <a:gd name="T112" fmla="*/ 175 w 436"/>
                <a:gd name="T113" fmla="*/ 131 h 219"/>
                <a:gd name="T114" fmla="*/ 188 w 436"/>
                <a:gd name="T115" fmla="*/ 132 h 219"/>
                <a:gd name="T116" fmla="*/ 169 w 436"/>
                <a:gd name="T117" fmla="*/ 142 h 219"/>
                <a:gd name="T118" fmla="*/ 174 w 436"/>
                <a:gd name="T119" fmla="*/ 137 h 219"/>
                <a:gd name="T120" fmla="*/ 171 w 436"/>
                <a:gd name="T121" fmla="*/ 14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6" h="219">
                  <a:moveTo>
                    <a:pt x="192" y="147"/>
                  </a:moveTo>
                  <a:lnTo>
                    <a:pt x="192" y="147"/>
                  </a:lnTo>
                  <a:lnTo>
                    <a:pt x="191" y="148"/>
                  </a:lnTo>
                  <a:lnTo>
                    <a:pt x="189" y="150"/>
                  </a:lnTo>
                  <a:lnTo>
                    <a:pt x="188" y="152"/>
                  </a:lnTo>
                  <a:lnTo>
                    <a:pt x="186" y="152"/>
                  </a:lnTo>
                  <a:lnTo>
                    <a:pt x="186" y="152"/>
                  </a:lnTo>
                  <a:lnTo>
                    <a:pt x="179" y="154"/>
                  </a:lnTo>
                  <a:lnTo>
                    <a:pt x="172" y="157"/>
                  </a:lnTo>
                  <a:lnTo>
                    <a:pt x="172" y="157"/>
                  </a:lnTo>
                  <a:lnTo>
                    <a:pt x="167" y="160"/>
                  </a:lnTo>
                  <a:lnTo>
                    <a:pt x="167" y="160"/>
                  </a:lnTo>
                  <a:lnTo>
                    <a:pt x="165" y="161"/>
                  </a:lnTo>
                  <a:lnTo>
                    <a:pt x="165" y="161"/>
                  </a:lnTo>
                  <a:lnTo>
                    <a:pt x="165" y="161"/>
                  </a:lnTo>
                  <a:lnTo>
                    <a:pt x="165" y="161"/>
                  </a:lnTo>
                  <a:lnTo>
                    <a:pt x="165" y="161"/>
                  </a:lnTo>
                  <a:lnTo>
                    <a:pt x="165" y="161"/>
                  </a:lnTo>
                  <a:lnTo>
                    <a:pt x="155" y="165"/>
                  </a:lnTo>
                  <a:lnTo>
                    <a:pt x="155" y="165"/>
                  </a:lnTo>
                  <a:lnTo>
                    <a:pt x="155" y="165"/>
                  </a:lnTo>
                  <a:lnTo>
                    <a:pt x="155" y="165"/>
                  </a:lnTo>
                  <a:lnTo>
                    <a:pt x="155" y="165"/>
                  </a:lnTo>
                  <a:lnTo>
                    <a:pt x="155" y="168"/>
                  </a:lnTo>
                  <a:lnTo>
                    <a:pt x="155" y="168"/>
                  </a:lnTo>
                  <a:lnTo>
                    <a:pt x="152" y="167"/>
                  </a:lnTo>
                  <a:lnTo>
                    <a:pt x="152" y="164"/>
                  </a:lnTo>
                  <a:lnTo>
                    <a:pt x="152" y="164"/>
                  </a:lnTo>
                  <a:lnTo>
                    <a:pt x="145" y="168"/>
                  </a:lnTo>
                  <a:lnTo>
                    <a:pt x="138" y="172"/>
                  </a:lnTo>
                  <a:lnTo>
                    <a:pt x="137" y="172"/>
                  </a:lnTo>
                  <a:lnTo>
                    <a:pt x="137" y="172"/>
                  </a:lnTo>
                  <a:lnTo>
                    <a:pt x="135" y="174"/>
                  </a:lnTo>
                  <a:lnTo>
                    <a:pt x="134" y="174"/>
                  </a:lnTo>
                  <a:lnTo>
                    <a:pt x="134" y="174"/>
                  </a:lnTo>
                  <a:lnTo>
                    <a:pt x="125" y="178"/>
                  </a:lnTo>
                  <a:lnTo>
                    <a:pt x="125" y="178"/>
                  </a:lnTo>
                  <a:lnTo>
                    <a:pt x="108" y="187"/>
                  </a:lnTo>
                  <a:lnTo>
                    <a:pt x="108" y="187"/>
                  </a:lnTo>
                  <a:lnTo>
                    <a:pt x="108" y="185"/>
                  </a:lnTo>
                  <a:lnTo>
                    <a:pt x="107" y="185"/>
                  </a:lnTo>
                  <a:lnTo>
                    <a:pt x="98" y="187"/>
                  </a:lnTo>
                  <a:lnTo>
                    <a:pt x="98" y="187"/>
                  </a:lnTo>
                  <a:lnTo>
                    <a:pt x="91" y="189"/>
                  </a:lnTo>
                  <a:lnTo>
                    <a:pt x="89" y="192"/>
                  </a:lnTo>
                  <a:lnTo>
                    <a:pt x="91" y="194"/>
                  </a:lnTo>
                  <a:lnTo>
                    <a:pt x="91" y="194"/>
                  </a:lnTo>
                  <a:lnTo>
                    <a:pt x="88" y="194"/>
                  </a:lnTo>
                  <a:lnTo>
                    <a:pt x="88" y="194"/>
                  </a:lnTo>
                  <a:lnTo>
                    <a:pt x="85" y="194"/>
                  </a:lnTo>
                  <a:lnTo>
                    <a:pt x="85" y="194"/>
                  </a:lnTo>
                  <a:lnTo>
                    <a:pt x="79" y="195"/>
                  </a:lnTo>
                  <a:lnTo>
                    <a:pt x="79" y="195"/>
                  </a:lnTo>
                  <a:lnTo>
                    <a:pt x="68" y="197"/>
                  </a:lnTo>
                  <a:lnTo>
                    <a:pt x="68" y="197"/>
                  </a:lnTo>
                  <a:lnTo>
                    <a:pt x="57" y="199"/>
                  </a:lnTo>
                  <a:lnTo>
                    <a:pt x="57" y="199"/>
                  </a:lnTo>
                  <a:lnTo>
                    <a:pt x="44" y="202"/>
                  </a:lnTo>
                  <a:lnTo>
                    <a:pt x="44" y="202"/>
                  </a:lnTo>
                  <a:lnTo>
                    <a:pt x="20" y="209"/>
                  </a:lnTo>
                  <a:lnTo>
                    <a:pt x="20" y="209"/>
                  </a:lnTo>
                  <a:lnTo>
                    <a:pt x="10" y="214"/>
                  </a:lnTo>
                  <a:lnTo>
                    <a:pt x="10" y="214"/>
                  </a:lnTo>
                  <a:lnTo>
                    <a:pt x="0" y="219"/>
                  </a:lnTo>
                  <a:lnTo>
                    <a:pt x="0" y="219"/>
                  </a:lnTo>
                  <a:lnTo>
                    <a:pt x="8" y="218"/>
                  </a:lnTo>
                  <a:lnTo>
                    <a:pt x="8" y="218"/>
                  </a:lnTo>
                  <a:lnTo>
                    <a:pt x="18" y="217"/>
                  </a:lnTo>
                  <a:lnTo>
                    <a:pt x="18" y="217"/>
                  </a:lnTo>
                  <a:lnTo>
                    <a:pt x="28" y="215"/>
                  </a:lnTo>
                  <a:lnTo>
                    <a:pt x="32" y="212"/>
                  </a:lnTo>
                  <a:lnTo>
                    <a:pt x="35" y="211"/>
                  </a:lnTo>
                  <a:lnTo>
                    <a:pt x="35" y="211"/>
                  </a:lnTo>
                  <a:lnTo>
                    <a:pt x="35" y="212"/>
                  </a:lnTo>
                  <a:lnTo>
                    <a:pt x="35" y="214"/>
                  </a:lnTo>
                  <a:lnTo>
                    <a:pt x="38" y="212"/>
                  </a:lnTo>
                  <a:lnTo>
                    <a:pt x="42" y="209"/>
                  </a:lnTo>
                  <a:lnTo>
                    <a:pt x="45" y="207"/>
                  </a:lnTo>
                  <a:lnTo>
                    <a:pt x="45" y="212"/>
                  </a:lnTo>
                  <a:lnTo>
                    <a:pt x="45" y="212"/>
                  </a:lnTo>
                  <a:lnTo>
                    <a:pt x="78" y="204"/>
                  </a:lnTo>
                  <a:lnTo>
                    <a:pt x="78" y="204"/>
                  </a:lnTo>
                  <a:lnTo>
                    <a:pt x="87" y="202"/>
                  </a:lnTo>
                  <a:lnTo>
                    <a:pt x="89" y="201"/>
                  </a:lnTo>
                  <a:lnTo>
                    <a:pt x="95" y="199"/>
                  </a:lnTo>
                  <a:lnTo>
                    <a:pt x="95" y="199"/>
                  </a:lnTo>
                  <a:lnTo>
                    <a:pt x="115" y="194"/>
                  </a:lnTo>
                  <a:lnTo>
                    <a:pt x="115" y="194"/>
                  </a:lnTo>
                  <a:lnTo>
                    <a:pt x="135" y="188"/>
                  </a:lnTo>
                  <a:lnTo>
                    <a:pt x="141" y="187"/>
                  </a:lnTo>
                  <a:lnTo>
                    <a:pt x="141" y="187"/>
                  </a:lnTo>
                  <a:lnTo>
                    <a:pt x="141" y="187"/>
                  </a:lnTo>
                  <a:lnTo>
                    <a:pt x="141" y="185"/>
                  </a:lnTo>
                  <a:lnTo>
                    <a:pt x="142" y="185"/>
                  </a:lnTo>
                  <a:lnTo>
                    <a:pt x="147" y="184"/>
                  </a:lnTo>
                  <a:lnTo>
                    <a:pt x="147" y="184"/>
                  </a:lnTo>
                  <a:lnTo>
                    <a:pt x="154" y="181"/>
                  </a:lnTo>
                  <a:lnTo>
                    <a:pt x="158" y="179"/>
                  </a:lnTo>
                  <a:lnTo>
                    <a:pt x="159" y="179"/>
                  </a:lnTo>
                  <a:lnTo>
                    <a:pt x="159" y="179"/>
                  </a:lnTo>
                  <a:lnTo>
                    <a:pt x="159" y="179"/>
                  </a:lnTo>
                  <a:lnTo>
                    <a:pt x="171" y="175"/>
                  </a:lnTo>
                  <a:lnTo>
                    <a:pt x="171" y="175"/>
                  </a:lnTo>
                  <a:lnTo>
                    <a:pt x="174" y="174"/>
                  </a:lnTo>
                  <a:lnTo>
                    <a:pt x="174" y="174"/>
                  </a:lnTo>
                  <a:lnTo>
                    <a:pt x="204" y="162"/>
                  </a:lnTo>
                  <a:lnTo>
                    <a:pt x="232" y="150"/>
                  </a:lnTo>
                  <a:lnTo>
                    <a:pt x="286" y="124"/>
                  </a:lnTo>
                  <a:lnTo>
                    <a:pt x="286" y="124"/>
                  </a:lnTo>
                  <a:lnTo>
                    <a:pt x="289" y="121"/>
                  </a:lnTo>
                  <a:lnTo>
                    <a:pt x="293" y="117"/>
                  </a:lnTo>
                  <a:lnTo>
                    <a:pt x="303" y="111"/>
                  </a:lnTo>
                  <a:lnTo>
                    <a:pt x="303" y="111"/>
                  </a:lnTo>
                  <a:lnTo>
                    <a:pt x="309" y="107"/>
                  </a:lnTo>
                  <a:lnTo>
                    <a:pt x="315" y="102"/>
                  </a:lnTo>
                  <a:lnTo>
                    <a:pt x="318" y="98"/>
                  </a:lnTo>
                  <a:lnTo>
                    <a:pt x="319" y="92"/>
                  </a:lnTo>
                  <a:lnTo>
                    <a:pt x="319" y="92"/>
                  </a:lnTo>
                  <a:lnTo>
                    <a:pt x="326" y="91"/>
                  </a:lnTo>
                  <a:lnTo>
                    <a:pt x="332" y="90"/>
                  </a:lnTo>
                  <a:lnTo>
                    <a:pt x="336" y="85"/>
                  </a:lnTo>
                  <a:lnTo>
                    <a:pt x="342" y="81"/>
                  </a:lnTo>
                  <a:lnTo>
                    <a:pt x="342" y="81"/>
                  </a:lnTo>
                  <a:lnTo>
                    <a:pt x="343" y="82"/>
                  </a:lnTo>
                  <a:lnTo>
                    <a:pt x="345" y="84"/>
                  </a:lnTo>
                  <a:lnTo>
                    <a:pt x="348" y="82"/>
                  </a:lnTo>
                  <a:lnTo>
                    <a:pt x="352" y="80"/>
                  </a:lnTo>
                  <a:lnTo>
                    <a:pt x="353" y="80"/>
                  </a:lnTo>
                  <a:lnTo>
                    <a:pt x="355" y="81"/>
                  </a:lnTo>
                  <a:lnTo>
                    <a:pt x="355" y="81"/>
                  </a:lnTo>
                  <a:lnTo>
                    <a:pt x="360" y="77"/>
                  </a:lnTo>
                  <a:lnTo>
                    <a:pt x="366" y="74"/>
                  </a:lnTo>
                  <a:lnTo>
                    <a:pt x="372" y="71"/>
                  </a:lnTo>
                  <a:lnTo>
                    <a:pt x="373" y="68"/>
                  </a:lnTo>
                  <a:lnTo>
                    <a:pt x="373" y="67"/>
                  </a:lnTo>
                  <a:lnTo>
                    <a:pt x="373" y="67"/>
                  </a:lnTo>
                  <a:lnTo>
                    <a:pt x="366" y="71"/>
                  </a:lnTo>
                  <a:lnTo>
                    <a:pt x="360" y="75"/>
                  </a:lnTo>
                  <a:lnTo>
                    <a:pt x="356" y="77"/>
                  </a:lnTo>
                  <a:lnTo>
                    <a:pt x="353" y="77"/>
                  </a:lnTo>
                  <a:lnTo>
                    <a:pt x="351" y="77"/>
                  </a:lnTo>
                  <a:lnTo>
                    <a:pt x="351" y="77"/>
                  </a:lnTo>
                  <a:lnTo>
                    <a:pt x="359" y="71"/>
                  </a:lnTo>
                  <a:lnTo>
                    <a:pt x="366" y="67"/>
                  </a:lnTo>
                  <a:lnTo>
                    <a:pt x="372" y="62"/>
                  </a:lnTo>
                  <a:lnTo>
                    <a:pt x="376" y="61"/>
                  </a:lnTo>
                  <a:lnTo>
                    <a:pt x="380" y="61"/>
                  </a:lnTo>
                  <a:lnTo>
                    <a:pt x="380" y="61"/>
                  </a:lnTo>
                  <a:lnTo>
                    <a:pt x="386" y="55"/>
                  </a:lnTo>
                  <a:lnTo>
                    <a:pt x="386" y="55"/>
                  </a:lnTo>
                  <a:lnTo>
                    <a:pt x="392" y="47"/>
                  </a:lnTo>
                  <a:lnTo>
                    <a:pt x="392" y="47"/>
                  </a:lnTo>
                  <a:lnTo>
                    <a:pt x="399" y="41"/>
                  </a:lnTo>
                  <a:lnTo>
                    <a:pt x="402" y="40"/>
                  </a:lnTo>
                  <a:lnTo>
                    <a:pt x="406" y="40"/>
                  </a:lnTo>
                  <a:lnTo>
                    <a:pt x="406" y="40"/>
                  </a:lnTo>
                  <a:lnTo>
                    <a:pt x="405" y="37"/>
                  </a:lnTo>
                  <a:lnTo>
                    <a:pt x="406" y="35"/>
                  </a:lnTo>
                  <a:lnTo>
                    <a:pt x="409" y="32"/>
                  </a:lnTo>
                  <a:lnTo>
                    <a:pt x="413" y="31"/>
                  </a:lnTo>
                  <a:lnTo>
                    <a:pt x="416" y="28"/>
                  </a:lnTo>
                  <a:lnTo>
                    <a:pt x="416" y="27"/>
                  </a:lnTo>
                  <a:lnTo>
                    <a:pt x="416" y="27"/>
                  </a:lnTo>
                  <a:lnTo>
                    <a:pt x="415" y="25"/>
                  </a:lnTo>
                  <a:lnTo>
                    <a:pt x="413" y="24"/>
                  </a:lnTo>
                  <a:lnTo>
                    <a:pt x="413" y="24"/>
                  </a:lnTo>
                  <a:lnTo>
                    <a:pt x="413" y="22"/>
                  </a:lnTo>
                  <a:lnTo>
                    <a:pt x="413" y="22"/>
                  </a:lnTo>
                  <a:lnTo>
                    <a:pt x="418" y="18"/>
                  </a:lnTo>
                  <a:lnTo>
                    <a:pt x="423" y="15"/>
                  </a:lnTo>
                  <a:lnTo>
                    <a:pt x="428" y="11"/>
                  </a:lnTo>
                  <a:lnTo>
                    <a:pt x="430" y="10"/>
                  </a:lnTo>
                  <a:lnTo>
                    <a:pt x="432" y="7"/>
                  </a:lnTo>
                  <a:lnTo>
                    <a:pt x="432" y="7"/>
                  </a:lnTo>
                  <a:lnTo>
                    <a:pt x="429" y="8"/>
                  </a:lnTo>
                  <a:lnTo>
                    <a:pt x="428" y="8"/>
                  </a:lnTo>
                  <a:lnTo>
                    <a:pt x="426" y="7"/>
                  </a:lnTo>
                  <a:lnTo>
                    <a:pt x="426" y="7"/>
                  </a:lnTo>
                  <a:lnTo>
                    <a:pt x="429" y="5"/>
                  </a:lnTo>
                  <a:lnTo>
                    <a:pt x="430" y="4"/>
                  </a:lnTo>
                  <a:lnTo>
                    <a:pt x="433" y="3"/>
                  </a:lnTo>
                  <a:lnTo>
                    <a:pt x="436" y="1"/>
                  </a:lnTo>
                  <a:lnTo>
                    <a:pt x="436" y="1"/>
                  </a:lnTo>
                  <a:lnTo>
                    <a:pt x="435" y="0"/>
                  </a:lnTo>
                  <a:lnTo>
                    <a:pt x="433" y="0"/>
                  </a:lnTo>
                  <a:lnTo>
                    <a:pt x="430" y="1"/>
                  </a:lnTo>
                  <a:lnTo>
                    <a:pt x="428" y="4"/>
                  </a:lnTo>
                  <a:lnTo>
                    <a:pt x="423" y="5"/>
                  </a:lnTo>
                  <a:lnTo>
                    <a:pt x="423" y="5"/>
                  </a:lnTo>
                  <a:lnTo>
                    <a:pt x="423" y="8"/>
                  </a:lnTo>
                  <a:lnTo>
                    <a:pt x="422" y="11"/>
                  </a:lnTo>
                  <a:lnTo>
                    <a:pt x="415" y="18"/>
                  </a:lnTo>
                  <a:lnTo>
                    <a:pt x="408" y="24"/>
                  </a:lnTo>
                  <a:lnTo>
                    <a:pt x="405" y="25"/>
                  </a:lnTo>
                  <a:lnTo>
                    <a:pt x="403" y="25"/>
                  </a:lnTo>
                  <a:lnTo>
                    <a:pt x="403" y="25"/>
                  </a:lnTo>
                  <a:lnTo>
                    <a:pt x="406" y="18"/>
                  </a:lnTo>
                  <a:lnTo>
                    <a:pt x="409" y="15"/>
                  </a:lnTo>
                  <a:lnTo>
                    <a:pt x="413" y="14"/>
                  </a:lnTo>
                  <a:lnTo>
                    <a:pt x="413" y="14"/>
                  </a:lnTo>
                  <a:lnTo>
                    <a:pt x="412" y="13"/>
                  </a:lnTo>
                  <a:lnTo>
                    <a:pt x="410" y="13"/>
                  </a:lnTo>
                  <a:lnTo>
                    <a:pt x="408" y="13"/>
                  </a:lnTo>
                  <a:lnTo>
                    <a:pt x="406" y="13"/>
                  </a:lnTo>
                  <a:lnTo>
                    <a:pt x="406" y="13"/>
                  </a:lnTo>
                  <a:lnTo>
                    <a:pt x="405" y="15"/>
                  </a:lnTo>
                  <a:lnTo>
                    <a:pt x="403" y="18"/>
                  </a:lnTo>
                  <a:lnTo>
                    <a:pt x="402" y="21"/>
                  </a:lnTo>
                  <a:lnTo>
                    <a:pt x="399" y="24"/>
                  </a:lnTo>
                  <a:lnTo>
                    <a:pt x="399" y="24"/>
                  </a:lnTo>
                  <a:lnTo>
                    <a:pt x="399" y="21"/>
                  </a:lnTo>
                  <a:lnTo>
                    <a:pt x="399" y="18"/>
                  </a:lnTo>
                  <a:lnTo>
                    <a:pt x="399" y="13"/>
                  </a:lnTo>
                  <a:lnTo>
                    <a:pt x="399" y="13"/>
                  </a:lnTo>
                  <a:lnTo>
                    <a:pt x="396" y="15"/>
                  </a:lnTo>
                  <a:lnTo>
                    <a:pt x="396" y="18"/>
                  </a:lnTo>
                  <a:lnTo>
                    <a:pt x="396" y="21"/>
                  </a:lnTo>
                  <a:lnTo>
                    <a:pt x="393" y="24"/>
                  </a:lnTo>
                  <a:lnTo>
                    <a:pt x="393" y="24"/>
                  </a:lnTo>
                  <a:lnTo>
                    <a:pt x="393" y="22"/>
                  </a:lnTo>
                  <a:lnTo>
                    <a:pt x="393" y="21"/>
                  </a:lnTo>
                  <a:lnTo>
                    <a:pt x="392" y="18"/>
                  </a:lnTo>
                  <a:lnTo>
                    <a:pt x="390" y="20"/>
                  </a:lnTo>
                  <a:lnTo>
                    <a:pt x="390" y="20"/>
                  </a:lnTo>
                  <a:lnTo>
                    <a:pt x="389" y="21"/>
                  </a:lnTo>
                  <a:lnTo>
                    <a:pt x="388" y="22"/>
                  </a:lnTo>
                  <a:lnTo>
                    <a:pt x="385" y="24"/>
                  </a:lnTo>
                  <a:lnTo>
                    <a:pt x="378" y="25"/>
                  </a:lnTo>
                  <a:lnTo>
                    <a:pt x="378" y="25"/>
                  </a:lnTo>
                  <a:lnTo>
                    <a:pt x="379" y="28"/>
                  </a:lnTo>
                  <a:lnTo>
                    <a:pt x="379" y="30"/>
                  </a:lnTo>
                  <a:lnTo>
                    <a:pt x="376" y="31"/>
                  </a:lnTo>
                  <a:lnTo>
                    <a:pt x="372" y="34"/>
                  </a:lnTo>
                  <a:lnTo>
                    <a:pt x="370" y="35"/>
                  </a:lnTo>
                  <a:lnTo>
                    <a:pt x="369" y="38"/>
                  </a:lnTo>
                  <a:lnTo>
                    <a:pt x="369" y="38"/>
                  </a:lnTo>
                  <a:lnTo>
                    <a:pt x="373" y="35"/>
                  </a:lnTo>
                  <a:lnTo>
                    <a:pt x="376" y="34"/>
                  </a:lnTo>
                  <a:lnTo>
                    <a:pt x="379" y="35"/>
                  </a:lnTo>
                  <a:lnTo>
                    <a:pt x="379" y="37"/>
                  </a:lnTo>
                  <a:lnTo>
                    <a:pt x="378" y="40"/>
                  </a:lnTo>
                  <a:lnTo>
                    <a:pt x="378" y="40"/>
                  </a:lnTo>
                  <a:lnTo>
                    <a:pt x="373" y="40"/>
                  </a:lnTo>
                  <a:lnTo>
                    <a:pt x="370" y="41"/>
                  </a:lnTo>
                  <a:lnTo>
                    <a:pt x="368" y="42"/>
                  </a:lnTo>
                  <a:lnTo>
                    <a:pt x="362" y="44"/>
                  </a:lnTo>
                  <a:lnTo>
                    <a:pt x="362" y="44"/>
                  </a:lnTo>
                  <a:lnTo>
                    <a:pt x="360" y="44"/>
                  </a:lnTo>
                  <a:lnTo>
                    <a:pt x="359" y="42"/>
                  </a:lnTo>
                  <a:lnTo>
                    <a:pt x="359" y="42"/>
                  </a:lnTo>
                  <a:lnTo>
                    <a:pt x="362" y="40"/>
                  </a:lnTo>
                  <a:lnTo>
                    <a:pt x="362" y="37"/>
                  </a:lnTo>
                  <a:lnTo>
                    <a:pt x="362" y="37"/>
                  </a:lnTo>
                  <a:lnTo>
                    <a:pt x="360" y="37"/>
                  </a:lnTo>
                  <a:lnTo>
                    <a:pt x="359" y="41"/>
                  </a:lnTo>
                  <a:lnTo>
                    <a:pt x="359" y="41"/>
                  </a:lnTo>
                  <a:lnTo>
                    <a:pt x="343" y="50"/>
                  </a:lnTo>
                  <a:lnTo>
                    <a:pt x="343" y="50"/>
                  </a:lnTo>
                  <a:lnTo>
                    <a:pt x="331" y="55"/>
                  </a:lnTo>
                  <a:lnTo>
                    <a:pt x="331" y="55"/>
                  </a:lnTo>
                  <a:lnTo>
                    <a:pt x="333" y="55"/>
                  </a:lnTo>
                  <a:lnTo>
                    <a:pt x="336" y="55"/>
                  </a:lnTo>
                  <a:lnTo>
                    <a:pt x="336" y="55"/>
                  </a:lnTo>
                  <a:lnTo>
                    <a:pt x="331" y="58"/>
                  </a:lnTo>
                  <a:lnTo>
                    <a:pt x="328" y="60"/>
                  </a:lnTo>
                  <a:lnTo>
                    <a:pt x="326" y="60"/>
                  </a:lnTo>
                  <a:lnTo>
                    <a:pt x="328" y="62"/>
                  </a:lnTo>
                  <a:lnTo>
                    <a:pt x="328" y="62"/>
                  </a:lnTo>
                  <a:lnTo>
                    <a:pt x="323" y="65"/>
                  </a:lnTo>
                  <a:lnTo>
                    <a:pt x="321" y="64"/>
                  </a:lnTo>
                  <a:lnTo>
                    <a:pt x="316" y="62"/>
                  </a:lnTo>
                  <a:lnTo>
                    <a:pt x="313" y="61"/>
                  </a:lnTo>
                  <a:lnTo>
                    <a:pt x="313" y="61"/>
                  </a:lnTo>
                  <a:lnTo>
                    <a:pt x="313" y="62"/>
                  </a:lnTo>
                  <a:lnTo>
                    <a:pt x="313" y="64"/>
                  </a:lnTo>
                  <a:lnTo>
                    <a:pt x="312" y="67"/>
                  </a:lnTo>
                  <a:lnTo>
                    <a:pt x="309" y="68"/>
                  </a:lnTo>
                  <a:lnTo>
                    <a:pt x="309" y="70"/>
                  </a:lnTo>
                  <a:lnTo>
                    <a:pt x="311" y="71"/>
                  </a:lnTo>
                  <a:lnTo>
                    <a:pt x="311" y="71"/>
                  </a:lnTo>
                  <a:lnTo>
                    <a:pt x="316" y="67"/>
                  </a:lnTo>
                  <a:lnTo>
                    <a:pt x="318" y="67"/>
                  </a:lnTo>
                  <a:lnTo>
                    <a:pt x="319" y="67"/>
                  </a:lnTo>
                  <a:lnTo>
                    <a:pt x="319" y="68"/>
                  </a:lnTo>
                  <a:lnTo>
                    <a:pt x="319" y="68"/>
                  </a:lnTo>
                  <a:lnTo>
                    <a:pt x="308" y="75"/>
                  </a:lnTo>
                  <a:lnTo>
                    <a:pt x="308" y="75"/>
                  </a:lnTo>
                  <a:lnTo>
                    <a:pt x="305" y="78"/>
                  </a:lnTo>
                  <a:lnTo>
                    <a:pt x="305" y="78"/>
                  </a:lnTo>
                  <a:lnTo>
                    <a:pt x="299" y="82"/>
                  </a:lnTo>
                  <a:lnTo>
                    <a:pt x="299" y="82"/>
                  </a:lnTo>
                  <a:lnTo>
                    <a:pt x="298" y="81"/>
                  </a:lnTo>
                  <a:lnTo>
                    <a:pt x="296" y="81"/>
                  </a:lnTo>
                  <a:lnTo>
                    <a:pt x="295" y="78"/>
                  </a:lnTo>
                  <a:lnTo>
                    <a:pt x="295" y="78"/>
                  </a:lnTo>
                  <a:lnTo>
                    <a:pt x="299" y="77"/>
                  </a:lnTo>
                  <a:lnTo>
                    <a:pt x="303" y="75"/>
                  </a:lnTo>
                  <a:lnTo>
                    <a:pt x="303" y="75"/>
                  </a:lnTo>
                  <a:lnTo>
                    <a:pt x="305" y="71"/>
                  </a:lnTo>
                  <a:lnTo>
                    <a:pt x="306" y="68"/>
                  </a:lnTo>
                  <a:lnTo>
                    <a:pt x="306" y="68"/>
                  </a:lnTo>
                  <a:lnTo>
                    <a:pt x="299" y="71"/>
                  </a:lnTo>
                  <a:lnTo>
                    <a:pt x="299" y="71"/>
                  </a:lnTo>
                  <a:lnTo>
                    <a:pt x="295" y="75"/>
                  </a:lnTo>
                  <a:lnTo>
                    <a:pt x="295" y="75"/>
                  </a:lnTo>
                  <a:lnTo>
                    <a:pt x="292" y="80"/>
                  </a:lnTo>
                  <a:lnTo>
                    <a:pt x="289" y="85"/>
                  </a:lnTo>
                  <a:lnTo>
                    <a:pt x="289" y="85"/>
                  </a:lnTo>
                  <a:lnTo>
                    <a:pt x="285" y="85"/>
                  </a:lnTo>
                  <a:lnTo>
                    <a:pt x="281" y="87"/>
                  </a:lnTo>
                  <a:lnTo>
                    <a:pt x="279" y="90"/>
                  </a:lnTo>
                  <a:lnTo>
                    <a:pt x="279" y="92"/>
                  </a:lnTo>
                  <a:lnTo>
                    <a:pt x="279" y="92"/>
                  </a:lnTo>
                  <a:lnTo>
                    <a:pt x="276" y="92"/>
                  </a:lnTo>
                  <a:lnTo>
                    <a:pt x="275" y="90"/>
                  </a:lnTo>
                  <a:lnTo>
                    <a:pt x="275" y="84"/>
                  </a:lnTo>
                  <a:lnTo>
                    <a:pt x="275" y="84"/>
                  </a:lnTo>
                  <a:lnTo>
                    <a:pt x="269" y="88"/>
                  </a:lnTo>
                  <a:lnTo>
                    <a:pt x="265" y="91"/>
                  </a:lnTo>
                  <a:lnTo>
                    <a:pt x="259" y="92"/>
                  </a:lnTo>
                  <a:lnTo>
                    <a:pt x="254" y="92"/>
                  </a:lnTo>
                  <a:lnTo>
                    <a:pt x="254" y="92"/>
                  </a:lnTo>
                  <a:lnTo>
                    <a:pt x="255" y="91"/>
                  </a:lnTo>
                  <a:lnTo>
                    <a:pt x="255" y="90"/>
                  </a:lnTo>
                  <a:lnTo>
                    <a:pt x="255" y="87"/>
                  </a:lnTo>
                  <a:lnTo>
                    <a:pt x="255" y="87"/>
                  </a:lnTo>
                  <a:lnTo>
                    <a:pt x="252" y="90"/>
                  </a:lnTo>
                  <a:lnTo>
                    <a:pt x="248" y="92"/>
                  </a:lnTo>
                  <a:lnTo>
                    <a:pt x="241" y="92"/>
                  </a:lnTo>
                  <a:lnTo>
                    <a:pt x="241" y="92"/>
                  </a:lnTo>
                  <a:lnTo>
                    <a:pt x="235" y="98"/>
                  </a:lnTo>
                  <a:lnTo>
                    <a:pt x="225" y="105"/>
                  </a:lnTo>
                  <a:lnTo>
                    <a:pt x="225" y="105"/>
                  </a:lnTo>
                  <a:lnTo>
                    <a:pt x="214" y="111"/>
                  </a:lnTo>
                  <a:lnTo>
                    <a:pt x="208" y="112"/>
                  </a:lnTo>
                  <a:lnTo>
                    <a:pt x="202" y="114"/>
                  </a:lnTo>
                  <a:lnTo>
                    <a:pt x="202" y="114"/>
                  </a:lnTo>
                  <a:lnTo>
                    <a:pt x="199" y="118"/>
                  </a:lnTo>
                  <a:lnTo>
                    <a:pt x="194" y="122"/>
                  </a:lnTo>
                  <a:lnTo>
                    <a:pt x="194" y="122"/>
                  </a:lnTo>
                  <a:lnTo>
                    <a:pt x="175" y="131"/>
                  </a:lnTo>
                  <a:lnTo>
                    <a:pt x="175" y="131"/>
                  </a:lnTo>
                  <a:lnTo>
                    <a:pt x="175" y="134"/>
                  </a:lnTo>
                  <a:lnTo>
                    <a:pt x="176" y="134"/>
                  </a:lnTo>
                  <a:lnTo>
                    <a:pt x="181" y="132"/>
                  </a:lnTo>
                  <a:lnTo>
                    <a:pt x="185" y="131"/>
                  </a:lnTo>
                  <a:lnTo>
                    <a:pt x="186" y="131"/>
                  </a:lnTo>
                  <a:lnTo>
                    <a:pt x="188" y="132"/>
                  </a:lnTo>
                  <a:lnTo>
                    <a:pt x="188" y="132"/>
                  </a:lnTo>
                  <a:lnTo>
                    <a:pt x="185" y="137"/>
                  </a:lnTo>
                  <a:lnTo>
                    <a:pt x="181" y="141"/>
                  </a:lnTo>
                  <a:lnTo>
                    <a:pt x="175" y="144"/>
                  </a:lnTo>
                  <a:lnTo>
                    <a:pt x="172" y="144"/>
                  </a:lnTo>
                  <a:lnTo>
                    <a:pt x="169" y="142"/>
                  </a:lnTo>
                  <a:lnTo>
                    <a:pt x="169" y="142"/>
                  </a:lnTo>
                  <a:lnTo>
                    <a:pt x="169" y="141"/>
                  </a:lnTo>
                  <a:lnTo>
                    <a:pt x="169" y="141"/>
                  </a:lnTo>
                  <a:lnTo>
                    <a:pt x="172" y="140"/>
                  </a:lnTo>
                  <a:lnTo>
                    <a:pt x="174" y="138"/>
                  </a:lnTo>
                  <a:lnTo>
                    <a:pt x="174" y="137"/>
                  </a:lnTo>
                  <a:lnTo>
                    <a:pt x="172" y="135"/>
                  </a:lnTo>
                  <a:lnTo>
                    <a:pt x="172" y="135"/>
                  </a:lnTo>
                  <a:lnTo>
                    <a:pt x="168" y="140"/>
                  </a:lnTo>
                  <a:lnTo>
                    <a:pt x="167" y="142"/>
                  </a:lnTo>
                  <a:lnTo>
                    <a:pt x="168" y="145"/>
                  </a:lnTo>
                  <a:lnTo>
                    <a:pt x="171" y="147"/>
                  </a:lnTo>
                  <a:lnTo>
                    <a:pt x="171" y="147"/>
                  </a:lnTo>
                  <a:lnTo>
                    <a:pt x="182" y="148"/>
                  </a:lnTo>
                  <a:lnTo>
                    <a:pt x="192" y="14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07" name="Freeform 408"/>
            <p:cNvSpPr/>
            <p:nvPr/>
          </p:nvSpPr>
          <p:spPr bwMode="auto">
            <a:xfrm>
              <a:off x="4031773" y="2909883"/>
              <a:ext cx="18433" cy="12287"/>
            </a:xfrm>
            <a:custGeom>
              <a:avLst/>
              <a:gdLst>
                <a:gd name="T0" fmla="*/ 0 w 6"/>
                <a:gd name="T1" fmla="*/ 1 h 4"/>
                <a:gd name="T2" fmla="*/ 0 w 6"/>
                <a:gd name="T3" fmla="*/ 1 h 4"/>
                <a:gd name="T4" fmla="*/ 4 w 6"/>
                <a:gd name="T5" fmla="*/ 0 h 4"/>
                <a:gd name="T6" fmla="*/ 6 w 6"/>
                <a:gd name="T7" fmla="*/ 1 h 4"/>
                <a:gd name="T8" fmla="*/ 4 w 6"/>
                <a:gd name="T9" fmla="*/ 4 h 4"/>
                <a:gd name="T10" fmla="*/ 4 w 6"/>
                <a:gd name="T11" fmla="*/ 4 h 4"/>
                <a:gd name="T12" fmla="*/ 3 w 6"/>
                <a:gd name="T13" fmla="*/ 3 h 4"/>
                <a:gd name="T14" fmla="*/ 0 w 6"/>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0" y="1"/>
                  </a:moveTo>
                  <a:lnTo>
                    <a:pt x="0" y="1"/>
                  </a:lnTo>
                  <a:lnTo>
                    <a:pt x="4" y="0"/>
                  </a:lnTo>
                  <a:lnTo>
                    <a:pt x="6" y="1"/>
                  </a:lnTo>
                  <a:lnTo>
                    <a:pt x="4" y="4"/>
                  </a:lnTo>
                  <a:lnTo>
                    <a:pt x="4" y="4"/>
                  </a:lnTo>
                  <a:lnTo>
                    <a:pt x="3" y="3"/>
                  </a:lnTo>
                  <a:lnTo>
                    <a:pt x="0"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08" name="Freeform 409"/>
            <p:cNvSpPr/>
            <p:nvPr/>
          </p:nvSpPr>
          <p:spPr bwMode="auto">
            <a:xfrm>
              <a:off x="4031773" y="2909883"/>
              <a:ext cx="18433" cy="12287"/>
            </a:xfrm>
            <a:custGeom>
              <a:avLst/>
              <a:gdLst>
                <a:gd name="T0" fmla="*/ 0 w 6"/>
                <a:gd name="T1" fmla="*/ 1 h 4"/>
                <a:gd name="T2" fmla="*/ 0 w 6"/>
                <a:gd name="T3" fmla="*/ 1 h 4"/>
                <a:gd name="T4" fmla="*/ 4 w 6"/>
                <a:gd name="T5" fmla="*/ 0 h 4"/>
                <a:gd name="T6" fmla="*/ 6 w 6"/>
                <a:gd name="T7" fmla="*/ 1 h 4"/>
                <a:gd name="T8" fmla="*/ 4 w 6"/>
                <a:gd name="T9" fmla="*/ 4 h 4"/>
                <a:gd name="T10" fmla="*/ 4 w 6"/>
                <a:gd name="T11" fmla="*/ 4 h 4"/>
                <a:gd name="T12" fmla="*/ 3 w 6"/>
                <a:gd name="T13" fmla="*/ 3 h 4"/>
                <a:gd name="T14" fmla="*/ 0 w 6"/>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0" y="1"/>
                  </a:moveTo>
                  <a:lnTo>
                    <a:pt x="0" y="1"/>
                  </a:lnTo>
                  <a:lnTo>
                    <a:pt x="4" y="0"/>
                  </a:lnTo>
                  <a:lnTo>
                    <a:pt x="6" y="1"/>
                  </a:lnTo>
                  <a:lnTo>
                    <a:pt x="4" y="4"/>
                  </a:lnTo>
                  <a:lnTo>
                    <a:pt x="4" y="4"/>
                  </a:lnTo>
                  <a:lnTo>
                    <a:pt x="3" y="3"/>
                  </a:lnTo>
                  <a:lnTo>
                    <a:pt x="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09" name="Freeform 410"/>
            <p:cNvSpPr/>
            <p:nvPr/>
          </p:nvSpPr>
          <p:spPr bwMode="auto">
            <a:xfrm>
              <a:off x="4326661" y="2879163"/>
              <a:ext cx="24574" cy="24574"/>
            </a:xfrm>
            <a:custGeom>
              <a:avLst/>
              <a:gdLst>
                <a:gd name="T0" fmla="*/ 0 w 7"/>
                <a:gd name="T1" fmla="*/ 2 h 9"/>
                <a:gd name="T2" fmla="*/ 0 w 7"/>
                <a:gd name="T3" fmla="*/ 2 h 9"/>
                <a:gd name="T4" fmla="*/ 4 w 7"/>
                <a:gd name="T5" fmla="*/ 0 h 9"/>
                <a:gd name="T6" fmla="*/ 5 w 7"/>
                <a:gd name="T7" fmla="*/ 0 h 9"/>
                <a:gd name="T8" fmla="*/ 7 w 7"/>
                <a:gd name="T9" fmla="*/ 2 h 9"/>
                <a:gd name="T10" fmla="*/ 7 w 7"/>
                <a:gd name="T11" fmla="*/ 2 h 9"/>
                <a:gd name="T12" fmla="*/ 5 w 7"/>
                <a:gd name="T13" fmla="*/ 3 h 9"/>
                <a:gd name="T14" fmla="*/ 4 w 7"/>
                <a:gd name="T15" fmla="*/ 5 h 9"/>
                <a:gd name="T16" fmla="*/ 4 w 7"/>
                <a:gd name="T17" fmla="*/ 7 h 9"/>
                <a:gd name="T18" fmla="*/ 2 w 7"/>
                <a:gd name="T19" fmla="*/ 9 h 9"/>
                <a:gd name="T20" fmla="*/ 2 w 7"/>
                <a:gd name="T21" fmla="*/ 9 h 9"/>
                <a:gd name="T22" fmla="*/ 2 w 7"/>
                <a:gd name="T23" fmla="*/ 5 h 9"/>
                <a:gd name="T24" fmla="*/ 2 w 7"/>
                <a:gd name="T25" fmla="*/ 2 h 9"/>
                <a:gd name="T26" fmla="*/ 0 w 7"/>
                <a:gd name="T2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9">
                  <a:moveTo>
                    <a:pt x="0" y="2"/>
                  </a:moveTo>
                  <a:lnTo>
                    <a:pt x="0" y="2"/>
                  </a:lnTo>
                  <a:lnTo>
                    <a:pt x="4" y="0"/>
                  </a:lnTo>
                  <a:lnTo>
                    <a:pt x="5" y="0"/>
                  </a:lnTo>
                  <a:lnTo>
                    <a:pt x="7" y="2"/>
                  </a:lnTo>
                  <a:lnTo>
                    <a:pt x="7" y="2"/>
                  </a:lnTo>
                  <a:lnTo>
                    <a:pt x="5" y="3"/>
                  </a:lnTo>
                  <a:lnTo>
                    <a:pt x="4" y="5"/>
                  </a:lnTo>
                  <a:lnTo>
                    <a:pt x="4" y="7"/>
                  </a:lnTo>
                  <a:lnTo>
                    <a:pt x="2" y="9"/>
                  </a:lnTo>
                  <a:lnTo>
                    <a:pt x="2" y="9"/>
                  </a:lnTo>
                  <a:lnTo>
                    <a:pt x="2" y="5"/>
                  </a:lnTo>
                  <a:lnTo>
                    <a:pt x="2" y="2"/>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0" name="Freeform 411"/>
            <p:cNvSpPr/>
            <p:nvPr/>
          </p:nvSpPr>
          <p:spPr bwMode="auto">
            <a:xfrm>
              <a:off x="4326661" y="2879163"/>
              <a:ext cx="24574" cy="24574"/>
            </a:xfrm>
            <a:custGeom>
              <a:avLst/>
              <a:gdLst>
                <a:gd name="T0" fmla="*/ 0 w 7"/>
                <a:gd name="T1" fmla="*/ 2 h 9"/>
                <a:gd name="T2" fmla="*/ 0 w 7"/>
                <a:gd name="T3" fmla="*/ 2 h 9"/>
                <a:gd name="T4" fmla="*/ 4 w 7"/>
                <a:gd name="T5" fmla="*/ 0 h 9"/>
                <a:gd name="T6" fmla="*/ 5 w 7"/>
                <a:gd name="T7" fmla="*/ 0 h 9"/>
                <a:gd name="T8" fmla="*/ 7 w 7"/>
                <a:gd name="T9" fmla="*/ 2 h 9"/>
                <a:gd name="T10" fmla="*/ 7 w 7"/>
                <a:gd name="T11" fmla="*/ 2 h 9"/>
                <a:gd name="T12" fmla="*/ 5 w 7"/>
                <a:gd name="T13" fmla="*/ 3 h 9"/>
                <a:gd name="T14" fmla="*/ 4 w 7"/>
                <a:gd name="T15" fmla="*/ 5 h 9"/>
                <a:gd name="T16" fmla="*/ 4 w 7"/>
                <a:gd name="T17" fmla="*/ 7 h 9"/>
                <a:gd name="T18" fmla="*/ 2 w 7"/>
                <a:gd name="T19" fmla="*/ 9 h 9"/>
                <a:gd name="T20" fmla="*/ 2 w 7"/>
                <a:gd name="T21" fmla="*/ 9 h 9"/>
                <a:gd name="T22" fmla="*/ 2 w 7"/>
                <a:gd name="T23" fmla="*/ 5 h 9"/>
                <a:gd name="T24" fmla="*/ 2 w 7"/>
                <a:gd name="T25" fmla="*/ 2 h 9"/>
                <a:gd name="T26" fmla="*/ 0 w 7"/>
                <a:gd name="T2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9">
                  <a:moveTo>
                    <a:pt x="0" y="2"/>
                  </a:moveTo>
                  <a:lnTo>
                    <a:pt x="0" y="2"/>
                  </a:lnTo>
                  <a:lnTo>
                    <a:pt x="4" y="0"/>
                  </a:lnTo>
                  <a:lnTo>
                    <a:pt x="5" y="0"/>
                  </a:lnTo>
                  <a:lnTo>
                    <a:pt x="7" y="2"/>
                  </a:lnTo>
                  <a:lnTo>
                    <a:pt x="7" y="2"/>
                  </a:lnTo>
                  <a:lnTo>
                    <a:pt x="5" y="3"/>
                  </a:lnTo>
                  <a:lnTo>
                    <a:pt x="4" y="5"/>
                  </a:lnTo>
                  <a:lnTo>
                    <a:pt x="4" y="7"/>
                  </a:lnTo>
                  <a:lnTo>
                    <a:pt x="2" y="9"/>
                  </a:lnTo>
                  <a:lnTo>
                    <a:pt x="2" y="9"/>
                  </a:lnTo>
                  <a:lnTo>
                    <a:pt x="2" y="5"/>
                  </a:lnTo>
                  <a:lnTo>
                    <a:pt x="2" y="2"/>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1" name="Freeform 412"/>
            <p:cNvSpPr/>
            <p:nvPr/>
          </p:nvSpPr>
          <p:spPr bwMode="auto">
            <a:xfrm>
              <a:off x="4639983" y="2811586"/>
              <a:ext cx="18433" cy="24574"/>
            </a:xfrm>
            <a:custGeom>
              <a:avLst/>
              <a:gdLst>
                <a:gd name="T0" fmla="*/ 1 w 7"/>
                <a:gd name="T1" fmla="*/ 8 h 8"/>
                <a:gd name="T2" fmla="*/ 1 w 7"/>
                <a:gd name="T3" fmla="*/ 8 h 8"/>
                <a:gd name="T4" fmla="*/ 0 w 7"/>
                <a:gd name="T5" fmla="*/ 6 h 8"/>
                <a:gd name="T6" fmla="*/ 1 w 7"/>
                <a:gd name="T7" fmla="*/ 4 h 8"/>
                <a:gd name="T8" fmla="*/ 3 w 7"/>
                <a:gd name="T9" fmla="*/ 3 h 8"/>
                <a:gd name="T10" fmla="*/ 1 w 7"/>
                <a:gd name="T11" fmla="*/ 0 h 8"/>
                <a:gd name="T12" fmla="*/ 1 w 7"/>
                <a:gd name="T13" fmla="*/ 0 h 8"/>
                <a:gd name="T14" fmla="*/ 4 w 7"/>
                <a:gd name="T15" fmla="*/ 0 h 8"/>
                <a:gd name="T16" fmla="*/ 4 w 7"/>
                <a:gd name="T17" fmla="*/ 3 h 8"/>
                <a:gd name="T18" fmla="*/ 4 w 7"/>
                <a:gd name="T19" fmla="*/ 4 h 8"/>
                <a:gd name="T20" fmla="*/ 1 w 7"/>
                <a:gd name="T21" fmla="*/ 6 h 8"/>
                <a:gd name="T22" fmla="*/ 1 w 7"/>
                <a:gd name="T23" fmla="*/ 6 h 8"/>
                <a:gd name="T24" fmla="*/ 4 w 7"/>
                <a:gd name="T25" fmla="*/ 7 h 8"/>
                <a:gd name="T26" fmla="*/ 7 w 7"/>
                <a:gd name="T27" fmla="*/ 6 h 8"/>
                <a:gd name="T28" fmla="*/ 7 w 7"/>
                <a:gd name="T29" fmla="*/ 6 h 8"/>
                <a:gd name="T30" fmla="*/ 7 w 7"/>
                <a:gd name="T31" fmla="*/ 8 h 8"/>
                <a:gd name="T32" fmla="*/ 4 w 7"/>
                <a:gd name="T33" fmla="*/ 8 h 8"/>
                <a:gd name="T34" fmla="*/ 1 w 7"/>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8">
                  <a:moveTo>
                    <a:pt x="1" y="8"/>
                  </a:moveTo>
                  <a:lnTo>
                    <a:pt x="1" y="8"/>
                  </a:lnTo>
                  <a:lnTo>
                    <a:pt x="0" y="6"/>
                  </a:lnTo>
                  <a:lnTo>
                    <a:pt x="1" y="4"/>
                  </a:lnTo>
                  <a:lnTo>
                    <a:pt x="3" y="3"/>
                  </a:lnTo>
                  <a:lnTo>
                    <a:pt x="1" y="0"/>
                  </a:lnTo>
                  <a:lnTo>
                    <a:pt x="1" y="0"/>
                  </a:lnTo>
                  <a:lnTo>
                    <a:pt x="4" y="0"/>
                  </a:lnTo>
                  <a:lnTo>
                    <a:pt x="4" y="3"/>
                  </a:lnTo>
                  <a:lnTo>
                    <a:pt x="4" y="4"/>
                  </a:lnTo>
                  <a:lnTo>
                    <a:pt x="1" y="6"/>
                  </a:lnTo>
                  <a:lnTo>
                    <a:pt x="1" y="6"/>
                  </a:lnTo>
                  <a:lnTo>
                    <a:pt x="4" y="7"/>
                  </a:lnTo>
                  <a:lnTo>
                    <a:pt x="7" y="6"/>
                  </a:lnTo>
                  <a:lnTo>
                    <a:pt x="7" y="6"/>
                  </a:lnTo>
                  <a:lnTo>
                    <a:pt x="7" y="8"/>
                  </a:lnTo>
                  <a:lnTo>
                    <a:pt x="4" y="8"/>
                  </a:lnTo>
                  <a:lnTo>
                    <a:pt x="1"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2" name="Freeform 413"/>
            <p:cNvSpPr/>
            <p:nvPr/>
          </p:nvSpPr>
          <p:spPr bwMode="auto">
            <a:xfrm>
              <a:off x="4639983" y="2811586"/>
              <a:ext cx="18433" cy="24574"/>
            </a:xfrm>
            <a:custGeom>
              <a:avLst/>
              <a:gdLst>
                <a:gd name="T0" fmla="*/ 1 w 7"/>
                <a:gd name="T1" fmla="*/ 8 h 8"/>
                <a:gd name="T2" fmla="*/ 1 w 7"/>
                <a:gd name="T3" fmla="*/ 8 h 8"/>
                <a:gd name="T4" fmla="*/ 0 w 7"/>
                <a:gd name="T5" fmla="*/ 6 h 8"/>
                <a:gd name="T6" fmla="*/ 1 w 7"/>
                <a:gd name="T7" fmla="*/ 4 h 8"/>
                <a:gd name="T8" fmla="*/ 3 w 7"/>
                <a:gd name="T9" fmla="*/ 3 h 8"/>
                <a:gd name="T10" fmla="*/ 1 w 7"/>
                <a:gd name="T11" fmla="*/ 0 h 8"/>
                <a:gd name="T12" fmla="*/ 1 w 7"/>
                <a:gd name="T13" fmla="*/ 0 h 8"/>
                <a:gd name="T14" fmla="*/ 4 w 7"/>
                <a:gd name="T15" fmla="*/ 0 h 8"/>
                <a:gd name="T16" fmla="*/ 4 w 7"/>
                <a:gd name="T17" fmla="*/ 3 h 8"/>
                <a:gd name="T18" fmla="*/ 4 w 7"/>
                <a:gd name="T19" fmla="*/ 4 h 8"/>
                <a:gd name="T20" fmla="*/ 1 w 7"/>
                <a:gd name="T21" fmla="*/ 6 h 8"/>
                <a:gd name="T22" fmla="*/ 1 w 7"/>
                <a:gd name="T23" fmla="*/ 6 h 8"/>
                <a:gd name="T24" fmla="*/ 4 w 7"/>
                <a:gd name="T25" fmla="*/ 7 h 8"/>
                <a:gd name="T26" fmla="*/ 7 w 7"/>
                <a:gd name="T27" fmla="*/ 6 h 8"/>
                <a:gd name="T28" fmla="*/ 7 w 7"/>
                <a:gd name="T29" fmla="*/ 6 h 8"/>
                <a:gd name="T30" fmla="*/ 7 w 7"/>
                <a:gd name="T31" fmla="*/ 8 h 8"/>
                <a:gd name="T32" fmla="*/ 4 w 7"/>
                <a:gd name="T33" fmla="*/ 8 h 8"/>
                <a:gd name="T34" fmla="*/ 1 w 7"/>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8">
                  <a:moveTo>
                    <a:pt x="1" y="8"/>
                  </a:moveTo>
                  <a:lnTo>
                    <a:pt x="1" y="8"/>
                  </a:lnTo>
                  <a:lnTo>
                    <a:pt x="0" y="6"/>
                  </a:lnTo>
                  <a:lnTo>
                    <a:pt x="1" y="4"/>
                  </a:lnTo>
                  <a:lnTo>
                    <a:pt x="3" y="3"/>
                  </a:lnTo>
                  <a:lnTo>
                    <a:pt x="1" y="0"/>
                  </a:lnTo>
                  <a:lnTo>
                    <a:pt x="1" y="0"/>
                  </a:lnTo>
                  <a:lnTo>
                    <a:pt x="4" y="0"/>
                  </a:lnTo>
                  <a:lnTo>
                    <a:pt x="4" y="3"/>
                  </a:lnTo>
                  <a:lnTo>
                    <a:pt x="4" y="4"/>
                  </a:lnTo>
                  <a:lnTo>
                    <a:pt x="1" y="6"/>
                  </a:lnTo>
                  <a:lnTo>
                    <a:pt x="1" y="6"/>
                  </a:lnTo>
                  <a:lnTo>
                    <a:pt x="4" y="7"/>
                  </a:lnTo>
                  <a:lnTo>
                    <a:pt x="7" y="6"/>
                  </a:lnTo>
                  <a:lnTo>
                    <a:pt x="7" y="6"/>
                  </a:lnTo>
                  <a:lnTo>
                    <a:pt x="7" y="8"/>
                  </a:lnTo>
                  <a:lnTo>
                    <a:pt x="4" y="8"/>
                  </a:lnTo>
                  <a:lnTo>
                    <a:pt x="1"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3" name="Freeform 414"/>
            <p:cNvSpPr/>
            <p:nvPr/>
          </p:nvSpPr>
          <p:spPr bwMode="auto">
            <a:xfrm>
              <a:off x="5057742" y="3063469"/>
              <a:ext cx="30720" cy="36861"/>
            </a:xfrm>
            <a:custGeom>
              <a:avLst/>
              <a:gdLst>
                <a:gd name="T0" fmla="*/ 0 w 10"/>
                <a:gd name="T1" fmla="*/ 0 h 11"/>
                <a:gd name="T2" fmla="*/ 0 w 10"/>
                <a:gd name="T3" fmla="*/ 0 h 11"/>
                <a:gd name="T4" fmla="*/ 3 w 10"/>
                <a:gd name="T5" fmla="*/ 0 h 11"/>
                <a:gd name="T6" fmla="*/ 6 w 10"/>
                <a:gd name="T7" fmla="*/ 0 h 11"/>
                <a:gd name="T8" fmla="*/ 9 w 10"/>
                <a:gd name="T9" fmla="*/ 2 h 11"/>
                <a:gd name="T10" fmla="*/ 9 w 10"/>
                <a:gd name="T11" fmla="*/ 2 h 11"/>
                <a:gd name="T12" fmla="*/ 10 w 10"/>
                <a:gd name="T13" fmla="*/ 7 h 11"/>
                <a:gd name="T14" fmla="*/ 10 w 10"/>
                <a:gd name="T15" fmla="*/ 7 h 11"/>
                <a:gd name="T16" fmla="*/ 10 w 10"/>
                <a:gd name="T17" fmla="*/ 8 h 11"/>
                <a:gd name="T18" fmla="*/ 10 w 10"/>
                <a:gd name="T19" fmla="*/ 8 h 11"/>
                <a:gd name="T20" fmla="*/ 10 w 10"/>
                <a:gd name="T21" fmla="*/ 11 h 11"/>
                <a:gd name="T22" fmla="*/ 10 w 10"/>
                <a:gd name="T23" fmla="*/ 11 h 11"/>
                <a:gd name="T24" fmla="*/ 9 w 10"/>
                <a:gd name="T25" fmla="*/ 10 h 11"/>
                <a:gd name="T26" fmla="*/ 9 w 10"/>
                <a:gd name="T27" fmla="*/ 10 h 11"/>
                <a:gd name="T28" fmla="*/ 7 w 10"/>
                <a:gd name="T29" fmla="*/ 7 h 11"/>
                <a:gd name="T30" fmla="*/ 7 w 10"/>
                <a:gd name="T31" fmla="*/ 7 h 11"/>
                <a:gd name="T32" fmla="*/ 6 w 10"/>
                <a:gd name="T33" fmla="*/ 4 h 11"/>
                <a:gd name="T34" fmla="*/ 6 w 10"/>
                <a:gd name="T35" fmla="*/ 4 h 11"/>
                <a:gd name="T36" fmla="*/ 3 w 10"/>
                <a:gd name="T37" fmla="*/ 1 h 11"/>
                <a:gd name="T38" fmla="*/ 0 w 10"/>
                <a:gd name="T3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1">
                  <a:moveTo>
                    <a:pt x="0" y="0"/>
                  </a:moveTo>
                  <a:lnTo>
                    <a:pt x="0" y="0"/>
                  </a:lnTo>
                  <a:lnTo>
                    <a:pt x="3" y="0"/>
                  </a:lnTo>
                  <a:lnTo>
                    <a:pt x="6" y="0"/>
                  </a:lnTo>
                  <a:lnTo>
                    <a:pt x="9" y="2"/>
                  </a:lnTo>
                  <a:lnTo>
                    <a:pt x="9" y="2"/>
                  </a:lnTo>
                  <a:lnTo>
                    <a:pt x="10" y="7"/>
                  </a:lnTo>
                  <a:lnTo>
                    <a:pt x="10" y="7"/>
                  </a:lnTo>
                  <a:lnTo>
                    <a:pt x="10" y="8"/>
                  </a:lnTo>
                  <a:lnTo>
                    <a:pt x="10" y="8"/>
                  </a:lnTo>
                  <a:lnTo>
                    <a:pt x="10" y="11"/>
                  </a:lnTo>
                  <a:lnTo>
                    <a:pt x="10" y="11"/>
                  </a:lnTo>
                  <a:lnTo>
                    <a:pt x="9" y="10"/>
                  </a:lnTo>
                  <a:lnTo>
                    <a:pt x="9" y="10"/>
                  </a:lnTo>
                  <a:lnTo>
                    <a:pt x="7" y="7"/>
                  </a:lnTo>
                  <a:lnTo>
                    <a:pt x="7" y="7"/>
                  </a:lnTo>
                  <a:lnTo>
                    <a:pt x="6" y="4"/>
                  </a:lnTo>
                  <a:lnTo>
                    <a:pt x="6" y="4"/>
                  </a:lnTo>
                  <a:lnTo>
                    <a:pt x="3"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4" name="Freeform 415"/>
            <p:cNvSpPr/>
            <p:nvPr/>
          </p:nvSpPr>
          <p:spPr bwMode="auto">
            <a:xfrm>
              <a:off x="5057742" y="3063469"/>
              <a:ext cx="30720" cy="36861"/>
            </a:xfrm>
            <a:custGeom>
              <a:avLst/>
              <a:gdLst>
                <a:gd name="T0" fmla="*/ 0 w 10"/>
                <a:gd name="T1" fmla="*/ 0 h 11"/>
                <a:gd name="T2" fmla="*/ 0 w 10"/>
                <a:gd name="T3" fmla="*/ 0 h 11"/>
                <a:gd name="T4" fmla="*/ 3 w 10"/>
                <a:gd name="T5" fmla="*/ 0 h 11"/>
                <a:gd name="T6" fmla="*/ 6 w 10"/>
                <a:gd name="T7" fmla="*/ 0 h 11"/>
                <a:gd name="T8" fmla="*/ 9 w 10"/>
                <a:gd name="T9" fmla="*/ 2 h 11"/>
                <a:gd name="T10" fmla="*/ 9 w 10"/>
                <a:gd name="T11" fmla="*/ 2 h 11"/>
                <a:gd name="T12" fmla="*/ 10 w 10"/>
                <a:gd name="T13" fmla="*/ 7 h 11"/>
                <a:gd name="T14" fmla="*/ 10 w 10"/>
                <a:gd name="T15" fmla="*/ 7 h 11"/>
                <a:gd name="T16" fmla="*/ 10 w 10"/>
                <a:gd name="T17" fmla="*/ 8 h 11"/>
                <a:gd name="T18" fmla="*/ 10 w 10"/>
                <a:gd name="T19" fmla="*/ 8 h 11"/>
                <a:gd name="T20" fmla="*/ 10 w 10"/>
                <a:gd name="T21" fmla="*/ 11 h 11"/>
                <a:gd name="T22" fmla="*/ 10 w 10"/>
                <a:gd name="T23" fmla="*/ 11 h 11"/>
                <a:gd name="T24" fmla="*/ 9 w 10"/>
                <a:gd name="T25" fmla="*/ 10 h 11"/>
                <a:gd name="T26" fmla="*/ 9 w 10"/>
                <a:gd name="T27" fmla="*/ 10 h 11"/>
                <a:gd name="T28" fmla="*/ 7 w 10"/>
                <a:gd name="T29" fmla="*/ 7 h 11"/>
                <a:gd name="T30" fmla="*/ 7 w 10"/>
                <a:gd name="T31" fmla="*/ 7 h 11"/>
                <a:gd name="T32" fmla="*/ 6 w 10"/>
                <a:gd name="T33" fmla="*/ 4 h 11"/>
                <a:gd name="T34" fmla="*/ 6 w 10"/>
                <a:gd name="T35" fmla="*/ 4 h 11"/>
                <a:gd name="T36" fmla="*/ 3 w 10"/>
                <a:gd name="T37" fmla="*/ 1 h 11"/>
                <a:gd name="T38" fmla="*/ 0 w 10"/>
                <a:gd name="T3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1">
                  <a:moveTo>
                    <a:pt x="0" y="0"/>
                  </a:moveTo>
                  <a:lnTo>
                    <a:pt x="0" y="0"/>
                  </a:lnTo>
                  <a:lnTo>
                    <a:pt x="3" y="0"/>
                  </a:lnTo>
                  <a:lnTo>
                    <a:pt x="6" y="0"/>
                  </a:lnTo>
                  <a:lnTo>
                    <a:pt x="9" y="2"/>
                  </a:lnTo>
                  <a:lnTo>
                    <a:pt x="9" y="2"/>
                  </a:lnTo>
                  <a:lnTo>
                    <a:pt x="10" y="7"/>
                  </a:lnTo>
                  <a:lnTo>
                    <a:pt x="10" y="7"/>
                  </a:lnTo>
                  <a:lnTo>
                    <a:pt x="10" y="8"/>
                  </a:lnTo>
                  <a:lnTo>
                    <a:pt x="10" y="8"/>
                  </a:lnTo>
                  <a:lnTo>
                    <a:pt x="10" y="11"/>
                  </a:lnTo>
                  <a:lnTo>
                    <a:pt x="10" y="11"/>
                  </a:lnTo>
                  <a:lnTo>
                    <a:pt x="9" y="10"/>
                  </a:lnTo>
                  <a:lnTo>
                    <a:pt x="9" y="10"/>
                  </a:lnTo>
                  <a:lnTo>
                    <a:pt x="7" y="7"/>
                  </a:lnTo>
                  <a:lnTo>
                    <a:pt x="7" y="7"/>
                  </a:lnTo>
                  <a:lnTo>
                    <a:pt x="6" y="4"/>
                  </a:lnTo>
                  <a:lnTo>
                    <a:pt x="6" y="4"/>
                  </a:lnTo>
                  <a:lnTo>
                    <a:pt x="3"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5" name="Freeform 416"/>
            <p:cNvSpPr/>
            <p:nvPr/>
          </p:nvSpPr>
          <p:spPr bwMode="auto">
            <a:xfrm>
              <a:off x="5199042" y="3045039"/>
              <a:ext cx="12287" cy="49148"/>
            </a:xfrm>
            <a:custGeom>
              <a:avLst/>
              <a:gdLst>
                <a:gd name="T0" fmla="*/ 0 w 5"/>
                <a:gd name="T1" fmla="*/ 1 h 14"/>
                <a:gd name="T2" fmla="*/ 0 w 5"/>
                <a:gd name="T3" fmla="*/ 1 h 14"/>
                <a:gd name="T4" fmla="*/ 0 w 5"/>
                <a:gd name="T5" fmla="*/ 0 h 14"/>
                <a:gd name="T6" fmla="*/ 2 w 5"/>
                <a:gd name="T7" fmla="*/ 0 h 14"/>
                <a:gd name="T8" fmla="*/ 5 w 5"/>
                <a:gd name="T9" fmla="*/ 0 h 14"/>
                <a:gd name="T10" fmla="*/ 5 w 5"/>
                <a:gd name="T11" fmla="*/ 0 h 14"/>
                <a:gd name="T12" fmla="*/ 5 w 5"/>
                <a:gd name="T13" fmla="*/ 4 h 14"/>
                <a:gd name="T14" fmla="*/ 5 w 5"/>
                <a:gd name="T15" fmla="*/ 4 h 14"/>
                <a:gd name="T16" fmla="*/ 5 w 5"/>
                <a:gd name="T17" fmla="*/ 7 h 14"/>
                <a:gd name="T18" fmla="*/ 5 w 5"/>
                <a:gd name="T19" fmla="*/ 7 h 14"/>
                <a:gd name="T20" fmla="*/ 3 w 5"/>
                <a:gd name="T21" fmla="*/ 14 h 14"/>
                <a:gd name="T22" fmla="*/ 3 w 5"/>
                <a:gd name="T23" fmla="*/ 14 h 14"/>
                <a:gd name="T24" fmla="*/ 2 w 5"/>
                <a:gd name="T25" fmla="*/ 13 h 14"/>
                <a:gd name="T26" fmla="*/ 0 w 5"/>
                <a:gd name="T27" fmla="*/ 11 h 14"/>
                <a:gd name="T28" fmla="*/ 2 w 5"/>
                <a:gd name="T29" fmla="*/ 8 h 14"/>
                <a:gd name="T30" fmla="*/ 2 w 5"/>
                <a:gd name="T31" fmla="*/ 8 h 14"/>
                <a:gd name="T32" fmla="*/ 2 w 5"/>
                <a:gd name="T33" fmla="*/ 4 h 14"/>
                <a:gd name="T34" fmla="*/ 2 w 5"/>
                <a:gd name="T35" fmla="*/ 4 h 14"/>
                <a:gd name="T36" fmla="*/ 2 w 5"/>
                <a:gd name="T37" fmla="*/ 1 h 14"/>
                <a:gd name="T38" fmla="*/ 0 w 5"/>
                <a:gd name="T3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14">
                  <a:moveTo>
                    <a:pt x="0" y="1"/>
                  </a:moveTo>
                  <a:lnTo>
                    <a:pt x="0" y="1"/>
                  </a:lnTo>
                  <a:lnTo>
                    <a:pt x="0" y="0"/>
                  </a:lnTo>
                  <a:lnTo>
                    <a:pt x="2" y="0"/>
                  </a:lnTo>
                  <a:lnTo>
                    <a:pt x="5" y="0"/>
                  </a:lnTo>
                  <a:lnTo>
                    <a:pt x="5" y="0"/>
                  </a:lnTo>
                  <a:lnTo>
                    <a:pt x="5" y="4"/>
                  </a:lnTo>
                  <a:lnTo>
                    <a:pt x="5" y="4"/>
                  </a:lnTo>
                  <a:lnTo>
                    <a:pt x="5" y="7"/>
                  </a:lnTo>
                  <a:lnTo>
                    <a:pt x="5" y="7"/>
                  </a:lnTo>
                  <a:lnTo>
                    <a:pt x="3" y="14"/>
                  </a:lnTo>
                  <a:lnTo>
                    <a:pt x="3" y="14"/>
                  </a:lnTo>
                  <a:lnTo>
                    <a:pt x="2" y="13"/>
                  </a:lnTo>
                  <a:lnTo>
                    <a:pt x="0" y="11"/>
                  </a:lnTo>
                  <a:lnTo>
                    <a:pt x="2" y="8"/>
                  </a:lnTo>
                  <a:lnTo>
                    <a:pt x="2" y="8"/>
                  </a:lnTo>
                  <a:lnTo>
                    <a:pt x="2" y="4"/>
                  </a:lnTo>
                  <a:lnTo>
                    <a:pt x="2" y="4"/>
                  </a:lnTo>
                  <a:lnTo>
                    <a:pt x="2" y="1"/>
                  </a:lnTo>
                  <a:lnTo>
                    <a:pt x="0"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6" name="Freeform 417"/>
            <p:cNvSpPr/>
            <p:nvPr/>
          </p:nvSpPr>
          <p:spPr bwMode="auto">
            <a:xfrm>
              <a:off x="5199042" y="3045039"/>
              <a:ext cx="12287" cy="49148"/>
            </a:xfrm>
            <a:custGeom>
              <a:avLst/>
              <a:gdLst>
                <a:gd name="T0" fmla="*/ 0 w 5"/>
                <a:gd name="T1" fmla="*/ 1 h 14"/>
                <a:gd name="T2" fmla="*/ 0 w 5"/>
                <a:gd name="T3" fmla="*/ 1 h 14"/>
                <a:gd name="T4" fmla="*/ 0 w 5"/>
                <a:gd name="T5" fmla="*/ 0 h 14"/>
                <a:gd name="T6" fmla="*/ 2 w 5"/>
                <a:gd name="T7" fmla="*/ 0 h 14"/>
                <a:gd name="T8" fmla="*/ 5 w 5"/>
                <a:gd name="T9" fmla="*/ 0 h 14"/>
                <a:gd name="T10" fmla="*/ 5 w 5"/>
                <a:gd name="T11" fmla="*/ 0 h 14"/>
                <a:gd name="T12" fmla="*/ 5 w 5"/>
                <a:gd name="T13" fmla="*/ 4 h 14"/>
                <a:gd name="T14" fmla="*/ 5 w 5"/>
                <a:gd name="T15" fmla="*/ 4 h 14"/>
                <a:gd name="T16" fmla="*/ 5 w 5"/>
                <a:gd name="T17" fmla="*/ 7 h 14"/>
                <a:gd name="T18" fmla="*/ 5 w 5"/>
                <a:gd name="T19" fmla="*/ 7 h 14"/>
                <a:gd name="T20" fmla="*/ 3 w 5"/>
                <a:gd name="T21" fmla="*/ 14 h 14"/>
                <a:gd name="T22" fmla="*/ 3 w 5"/>
                <a:gd name="T23" fmla="*/ 14 h 14"/>
                <a:gd name="T24" fmla="*/ 2 w 5"/>
                <a:gd name="T25" fmla="*/ 13 h 14"/>
                <a:gd name="T26" fmla="*/ 0 w 5"/>
                <a:gd name="T27" fmla="*/ 11 h 14"/>
                <a:gd name="T28" fmla="*/ 2 w 5"/>
                <a:gd name="T29" fmla="*/ 8 h 14"/>
                <a:gd name="T30" fmla="*/ 2 w 5"/>
                <a:gd name="T31" fmla="*/ 8 h 14"/>
                <a:gd name="T32" fmla="*/ 2 w 5"/>
                <a:gd name="T33" fmla="*/ 4 h 14"/>
                <a:gd name="T34" fmla="*/ 2 w 5"/>
                <a:gd name="T35" fmla="*/ 4 h 14"/>
                <a:gd name="T36" fmla="*/ 2 w 5"/>
                <a:gd name="T37" fmla="*/ 1 h 14"/>
                <a:gd name="T38" fmla="*/ 0 w 5"/>
                <a:gd name="T3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14">
                  <a:moveTo>
                    <a:pt x="0" y="1"/>
                  </a:moveTo>
                  <a:lnTo>
                    <a:pt x="0" y="1"/>
                  </a:lnTo>
                  <a:lnTo>
                    <a:pt x="0" y="0"/>
                  </a:lnTo>
                  <a:lnTo>
                    <a:pt x="2" y="0"/>
                  </a:lnTo>
                  <a:lnTo>
                    <a:pt x="5" y="0"/>
                  </a:lnTo>
                  <a:lnTo>
                    <a:pt x="5" y="0"/>
                  </a:lnTo>
                  <a:lnTo>
                    <a:pt x="5" y="4"/>
                  </a:lnTo>
                  <a:lnTo>
                    <a:pt x="5" y="4"/>
                  </a:lnTo>
                  <a:lnTo>
                    <a:pt x="5" y="7"/>
                  </a:lnTo>
                  <a:lnTo>
                    <a:pt x="5" y="7"/>
                  </a:lnTo>
                  <a:lnTo>
                    <a:pt x="3" y="14"/>
                  </a:lnTo>
                  <a:lnTo>
                    <a:pt x="3" y="14"/>
                  </a:lnTo>
                  <a:lnTo>
                    <a:pt x="2" y="13"/>
                  </a:lnTo>
                  <a:lnTo>
                    <a:pt x="0" y="11"/>
                  </a:lnTo>
                  <a:lnTo>
                    <a:pt x="2" y="8"/>
                  </a:lnTo>
                  <a:lnTo>
                    <a:pt x="2" y="8"/>
                  </a:lnTo>
                  <a:lnTo>
                    <a:pt x="2" y="4"/>
                  </a:lnTo>
                  <a:lnTo>
                    <a:pt x="2" y="4"/>
                  </a:lnTo>
                  <a:lnTo>
                    <a:pt x="2" y="1"/>
                  </a:lnTo>
                  <a:lnTo>
                    <a:pt x="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7" name="Freeform 418"/>
            <p:cNvSpPr/>
            <p:nvPr/>
          </p:nvSpPr>
          <p:spPr bwMode="auto">
            <a:xfrm>
              <a:off x="6003845" y="2817728"/>
              <a:ext cx="92155" cy="313318"/>
            </a:xfrm>
            <a:custGeom>
              <a:avLst/>
              <a:gdLst>
                <a:gd name="T0" fmla="*/ 16 w 30"/>
                <a:gd name="T1" fmla="*/ 46 h 103"/>
                <a:gd name="T2" fmla="*/ 13 w 30"/>
                <a:gd name="T3" fmla="*/ 44 h 103"/>
                <a:gd name="T4" fmla="*/ 10 w 30"/>
                <a:gd name="T5" fmla="*/ 44 h 103"/>
                <a:gd name="T6" fmla="*/ 10 w 30"/>
                <a:gd name="T7" fmla="*/ 36 h 103"/>
                <a:gd name="T8" fmla="*/ 10 w 30"/>
                <a:gd name="T9" fmla="*/ 27 h 103"/>
                <a:gd name="T10" fmla="*/ 10 w 30"/>
                <a:gd name="T11" fmla="*/ 19 h 103"/>
                <a:gd name="T12" fmla="*/ 10 w 30"/>
                <a:gd name="T13" fmla="*/ 16 h 103"/>
                <a:gd name="T14" fmla="*/ 10 w 30"/>
                <a:gd name="T15" fmla="*/ 15 h 103"/>
                <a:gd name="T16" fmla="*/ 10 w 30"/>
                <a:gd name="T17" fmla="*/ 15 h 103"/>
                <a:gd name="T18" fmla="*/ 7 w 30"/>
                <a:gd name="T19" fmla="*/ 9 h 103"/>
                <a:gd name="T20" fmla="*/ 6 w 30"/>
                <a:gd name="T21" fmla="*/ 12 h 103"/>
                <a:gd name="T22" fmla="*/ 7 w 30"/>
                <a:gd name="T23" fmla="*/ 16 h 103"/>
                <a:gd name="T24" fmla="*/ 7 w 30"/>
                <a:gd name="T25" fmla="*/ 23 h 103"/>
                <a:gd name="T26" fmla="*/ 4 w 30"/>
                <a:gd name="T27" fmla="*/ 19 h 103"/>
                <a:gd name="T28" fmla="*/ 4 w 30"/>
                <a:gd name="T29" fmla="*/ 17 h 103"/>
                <a:gd name="T30" fmla="*/ 4 w 30"/>
                <a:gd name="T31" fmla="*/ 16 h 103"/>
                <a:gd name="T32" fmla="*/ 3 w 30"/>
                <a:gd name="T33" fmla="*/ 10 h 103"/>
                <a:gd name="T34" fmla="*/ 0 w 30"/>
                <a:gd name="T35" fmla="*/ 5 h 103"/>
                <a:gd name="T36" fmla="*/ 8 w 30"/>
                <a:gd name="T37" fmla="*/ 0 h 103"/>
                <a:gd name="T38" fmla="*/ 13 w 30"/>
                <a:gd name="T39" fmla="*/ 12 h 103"/>
                <a:gd name="T40" fmla="*/ 13 w 30"/>
                <a:gd name="T41" fmla="*/ 15 h 103"/>
                <a:gd name="T42" fmla="*/ 14 w 30"/>
                <a:gd name="T43" fmla="*/ 16 h 103"/>
                <a:gd name="T44" fmla="*/ 14 w 30"/>
                <a:gd name="T45" fmla="*/ 19 h 103"/>
                <a:gd name="T46" fmla="*/ 16 w 30"/>
                <a:gd name="T47" fmla="*/ 26 h 103"/>
                <a:gd name="T48" fmla="*/ 18 w 30"/>
                <a:gd name="T49" fmla="*/ 39 h 103"/>
                <a:gd name="T50" fmla="*/ 16 w 30"/>
                <a:gd name="T51" fmla="*/ 39 h 103"/>
                <a:gd name="T52" fmla="*/ 17 w 30"/>
                <a:gd name="T53" fmla="*/ 47 h 103"/>
                <a:gd name="T54" fmla="*/ 16 w 30"/>
                <a:gd name="T55" fmla="*/ 50 h 103"/>
                <a:gd name="T56" fmla="*/ 18 w 30"/>
                <a:gd name="T57" fmla="*/ 50 h 103"/>
                <a:gd name="T58" fmla="*/ 21 w 30"/>
                <a:gd name="T59" fmla="*/ 53 h 103"/>
                <a:gd name="T60" fmla="*/ 18 w 30"/>
                <a:gd name="T61" fmla="*/ 62 h 103"/>
                <a:gd name="T62" fmla="*/ 20 w 30"/>
                <a:gd name="T63" fmla="*/ 63 h 103"/>
                <a:gd name="T64" fmla="*/ 23 w 30"/>
                <a:gd name="T65" fmla="*/ 62 h 103"/>
                <a:gd name="T66" fmla="*/ 25 w 30"/>
                <a:gd name="T67" fmla="*/ 63 h 103"/>
                <a:gd name="T68" fmla="*/ 27 w 30"/>
                <a:gd name="T69" fmla="*/ 77 h 103"/>
                <a:gd name="T70" fmla="*/ 25 w 30"/>
                <a:gd name="T71" fmla="*/ 84 h 103"/>
                <a:gd name="T72" fmla="*/ 24 w 30"/>
                <a:gd name="T73" fmla="*/ 84 h 103"/>
                <a:gd name="T74" fmla="*/ 23 w 30"/>
                <a:gd name="T75" fmla="*/ 89 h 103"/>
                <a:gd name="T76" fmla="*/ 24 w 30"/>
                <a:gd name="T77" fmla="*/ 89 h 103"/>
                <a:gd name="T78" fmla="*/ 27 w 30"/>
                <a:gd name="T79" fmla="*/ 89 h 103"/>
                <a:gd name="T80" fmla="*/ 30 w 30"/>
                <a:gd name="T81" fmla="*/ 93 h 103"/>
                <a:gd name="T82" fmla="*/ 28 w 30"/>
                <a:gd name="T83" fmla="*/ 92 h 103"/>
                <a:gd name="T84" fmla="*/ 25 w 30"/>
                <a:gd name="T85" fmla="*/ 94 h 103"/>
                <a:gd name="T86" fmla="*/ 25 w 30"/>
                <a:gd name="T87" fmla="*/ 103 h 103"/>
                <a:gd name="T88" fmla="*/ 21 w 30"/>
                <a:gd name="T89" fmla="*/ 99 h 103"/>
                <a:gd name="T90" fmla="*/ 16 w 30"/>
                <a:gd name="T91" fmla="*/ 79 h 103"/>
                <a:gd name="T92" fmla="*/ 14 w 30"/>
                <a:gd name="T93" fmla="*/ 64 h 103"/>
                <a:gd name="T94" fmla="*/ 10 w 30"/>
                <a:gd name="T95" fmla="*/ 53 h 103"/>
                <a:gd name="T96" fmla="*/ 13 w 30"/>
                <a:gd name="T97" fmla="*/ 4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103">
                  <a:moveTo>
                    <a:pt x="16" y="46"/>
                  </a:moveTo>
                  <a:lnTo>
                    <a:pt x="16" y="46"/>
                  </a:lnTo>
                  <a:lnTo>
                    <a:pt x="14" y="44"/>
                  </a:lnTo>
                  <a:lnTo>
                    <a:pt x="13" y="44"/>
                  </a:lnTo>
                  <a:lnTo>
                    <a:pt x="10" y="44"/>
                  </a:lnTo>
                  <a:lnTo>
                    <a:pt x="10" y="44"/>
                  </a:lnTo>
                  <a:lnTo>
                    <a:pt x="10" y="40"/>
                  </a:lnTo>
                  <a:lnTo>
                    <a:pt x="10" y="36"/>
                  </a:lnTo>
                  <a:lnTo>
                    <a:pt x="10" y="27"/>
                  </a:lnTo>
                  <a:lnTo>
                    <a:pt x="10" y="27"/>
                  </a:lnTo>
                  <a:lnTo>
                    <a:pt x="10" y="19"/>
                  </a:lnTo>
                  <a:lnTo>
                    <a:pt x="10" y="19"/>
                  </a:lnTo>
                  <a:lnTo>
                    <a:pt x="10" y="16"/>
                  </a:lnTo>
                  <a:lnTo>
                    <a:pt x="10" y="16"/>
                  </a:lnTo>
                  <a:lnTo>
                    <a:pt x="10" y="15"/>
                  </a:lnTo>
                  <a:lnTo>
                    <a:pt x="10" y="15"/>
                  </a:lnTo>
                  <a:lnTo>
                    <a:pt x="10" y="15"/>
                  </a:lnTo>
                  <a:lnTo>
                    <a:pt x="10" y="15"/>
                  </a:lnTo>
                  <a:lnTo>
                    <a:pt x="7" y="9"/>
                  </a:lnTo>
                  <a:lnTo>
                    <a:pt x="7" y="9"/>
                  </a:lnTo>
                  <a:lnTo>
                    <a:pt x="6" y="10"/>
                  </a:lnTo>
                  <a:lnTo>
                    <a:pt x="6" y="12"/>
                  </a:lnTo>
                  <a:lnTo>
                    <a:pt x="7" y="16"/>
                  </a:lnTo>
                  <a:lnTo>
                    <a:pt x="7" y="16"/>
                  </a:lnTo>
                  <a:lnTo>
                    <a:pt x="7" y="20"/>
                  </a:lnTo>
                  <a:lnTo>
                    <a:pt x="7" y="23"/>
                  </a:lnTo>
                  <a:lnTo>
                    <a:pt x="7" y="23"/>
                  </a:lnTo>
                  <a:lnTo>
                    <a:pt x="4" y="19"/>
                  </a:lnTo>
                  <a:lnTo>
                    <a:pt x="4" y="19"/>
                  </a:lnTo>
                  <a:lnTo>
                    <a:pt x="4" y="17"/>
                  </a:lnTo>
                  <a:lnTo>
                    <a:pt x="4" y="17"/>
                  </a:lnTo>
                  <a:lnTo>
                    <a:pt x="4" y="16"/>
                  </a:lnTo>
                  <a:lnTo>
                    <a:pt x="4" y="16"/>
                  </a:lnTo>
                  <a:lnTo>
                    <a:pt x="3" y="10"/>
                  </a:lnTo>
                  <a:lnTo>
                    <a:pt x="0" y="5"/>
                  </a:lnTo>
                  <a:lnTo>
                    <a:pt x="0" y="5"/>
                  </a:lnTo>
                  <a:lnTo>
                    <a:pt x="4" y="3"/>
                  </a:lnTo>
                  <a:lnTo>
                    <a:pt x="8" y="0"/>
                  </a:lnTo>
                  <a:lnTo>
                    <a:pt x="8" y="0"/>
                  </a:lnTo>
                  <a:lnTo>
                    <a:pt x="13" y="12"/>
                  </a:lnTo>
                  <a:lnTo>
                    <a:pt x="13" y="12"/>
                  </a:lnTo>
                  <a:lnTo>
                    <a:pt x="13" y="15"/>
                  </a:lnTo>
                  <a:lnTo>
                    <a:pt x="13" y="15"/>
                  </a:lnTo>
                  <a:lnTo>
                    <a:pt x="14" y="16"/>
                  </a:lnTo>
                  <a:lnTo>
                    <a:pt x="14" y="16"/>
                  </a:lnTo>
                  <a:lnTo>
                    <a:pt x="14" y="19"/>
                  </a:lnTo>
                  <a:lnTo>
                    <a:pt x="14" y="19"/>
                  </a:lnTo>
                  <a:lnTo>
                    <a:pt x="16" y="26"/>
                  </a:lnTo>
                  <a:lnTo>
                    <a:pt x="18" y="39"/>
                  </a:lnTo>
                  <a:lnTo>
                    <a:pt x="18" y="39"/>
                  </a:lnTo>
                  <a:lnTo>
                    <a:pt x="17" y="37"/>
                  </a:lnTo>
                  <a:lnTo>
                    <a:pt x="16" y="39"/>
                  </a:lnTo>
                  <a:lnTo>
                    <a:pt x="16" y="43"/>
                  </a:lnTo>
                  <a:lnTo>
                    <a:pt x="17" y="47"/>
                  </a:lnTo>
                  <a:lnTo>
                    <a:pt x="17" y="49"/>
                  </a:lnTo>
                  <a:lnTo>
                    <a:pt x="16" y="50"/>
                  </a:lnTo>
                  <a:lnTo>
                    <a:pt x="16" y="50"/>
                  </a:lnTo>
                  <a:lnTo>
                    <a:pt x="18" y="50"/>
                  </a:lnTo>
                  <a:lnTo>
                    <a:pt x="20" y="50"/>
                  </a:lnTo>
                  <a:lnTo>
                    <a:pt x="21" y="53"/>
                  </a:lnTo>
                  <a:lnTo>
                    <a:pt x="21" y="57"/>
                  </a:lnTo>
                  <a:lnTo>
                    <a:pt x="18" y="62"/>
                  </a:lnTo>
                  <a:lnTo>
                    <a:pt x="18" y="62"/>
                  </a:lnTo>
                  <a:lnTo>
                    <a:pt x="20" y="63"/>
                  </a:lnTo>
                  <a:lnTo>
                    <a:pt x="21" y="63"/>
                  </a:lnTo>
                  <a:lnTo>
                    <a:pt x="23" y="62"/>
                  </a:lnTo>
                  <a:lnTo>
                    <a:pt x="25" y="63"/>
                  </a:lnTo>
                  <a:lnTo>
                    <a:pt x="25" y="63"/>
                  </a:lnTo>
                  <a:lnTo>
                    <a:pt x="25" y="70"/>
                  </a:lnTo>
                  <a:lnTo>
                    <a:pt x="27" y="77"/>
                  </a:lnTo>
                  <a:lnTo>
                    <a:pt x="27" y="83"/>
                  </a:lnTo>
                  <a:lnTo>
                    <a:pt x="25" y="84"/>
                  </a:lnTo>
                  <a:lnTo>
                    <a:pt x="24" y="84"/>
                  </a:lnTo>
                  <a:lnTo>
                    <a:pt x="24" y="84"/>
                  </a:lnTo>
                  <a:lnTo>
                    <a:pt x="24" y="87"/>
                  </a:lnTo>
                  <a:lnTo>
                    <a:pt x="23" y="89"/>
                  </a:lnTo>
                  <a:lnTo>
                    <a:pt x="23" y="89"/>
                  </a:lnTo>
                  <a:lnTo>
                    <a:pt x="24" y="89"/>
                  </a:lnTo>
                  <a:lnTo>
                    <a:pt x="25" y="90"/>
                  </a:lnTo>
                  <a:lnTo>
                    <a:pt x="27" y="89"/>
                  </a:lnTo>
                  <a:lnTo>
                    <a:pt x="28" y="89"/>
                  </a:lnTo>
                  <a:lnTo>
                    <a:pt x="30" y="93"/>
                  </a:lnTo>
                  <a:lnTo>
                    <a:pt x="30" y="93"/>
                  </a:lnTo>
                  <a:lnTo>
                    <a:pt x="28" y="92"/>
                  </a:lnTo>
                  <a:lnTo>
                    <a:pt x="27" y="92"/>
                  </a:lnTo>
                  <a:lnTo>
                    <a:pt x="25" y="94"/>
                  </a:lnTo>
                  <a:lnTo>
                    <a:pt x="25" y="99"/>
                  </a:lnTo>
                  <a:lnTo>
                    <a:pt x="25" y="103"/>
                  </a:lnTo>
                  <a:lnTo>
                    <a:pt x="25" y="103"/>
                  </a:lnTo>
                  <a:lnTo>
                    <a:pt x="21" y="99"/>
                  </a:lnTo>
                  <a:lnTo>
                    <a:pt x="20" y="93"/>
                  </a:lnTo>
                  <a:lnTo>
                    <a:pt x="16" y="79"/>
                  </a:lnTo>
                  <a:lnTo>
                    <a:pt x="16" y="79"/>
                  </a:lnTo>
                  <a:lnTo>
                    <a:pt x="14" y="64"/>
                  </a:lnTo>
                  <a:lnTo>
                    <a:pt x="13" y="59"/>
                  </a:lnTo>
                  <a:lnTo>
                    <a:pt x="10" y="53"/>
                  </a:lnTo>
                  <a:lnTo>
                    <a:pt x="10" y="53"/>
                  </a:lnTo>
                  <a:lnTo>
                    <a:pt x="13" y="49"/>
                  </a:lnTo>
                  <a:lnTo>
                    <a:pt x="16" y="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8" name="Freeform 419"/>
            <p:cNvSpPr/>
            <p:nvPr/>
          </p:nvSpPr>
          <p:spPr bwMode="auto">
            <a:xfrm>
              <a:off x="6003845" y="2817728"/>
              <a:ext cx="92155" cy="313318"/>
            </a:xfrm>
            <a:custGeom>
              <a:avLst/>
              <a:gdLst>
                <a:gd name="T0" fmla="*/ 16 w 30"/>
                <a:gd name="T1" fmla="*/ 46 h 103"/>
                <a:gd name="T2" fmla="*/ 13 w 30"/>
                <a:gd name="T3" fmla="*/ 44 h 103"/>
                <a:gd name="T4" fmla="*/ 10 w 30"/>
                <a:gd name="T5" fmla="*/ 44 h 103"/>
                <a:gd name="T6" fmla="*/ 10 w 30"/>
                <a:gd name="T7" fmla="*/ 36 h 103"/>
                <a:gd name="T8" fmla="*/ 10 w 30"/>
                <a:gd name="T9" fmla="*/ 27 h 103"/>
                <a:gd name="T10" fmla="*/ 10 w 30"/>
                <a:gd name="T11" fmla="*/ 19 h 103"/>
                <a:gd name="T12" fmla="*/ 10 w 30"/>
                <a:gd name="T13" fmla="*/ 16 h 103"/>
                <a:gd name="T14" fmla="*/ 10 w 30"/>
                <a:gd name="T15" fmla="*/ 15 h 103"/>
                <a:gd name="T16" fmla="*/ 10 w 30"/>
                <a:gd name="T17" fmla="*/ 15 h 103"/>
                <a:gd name="T18" fmla="*/ 7 w 30"/>
                <a:gd name="T19" fmla="*/ 9 h 103"/>
                <a:gd name="T20" fmla="*/ 6 w 30"/>
                <a:gd name="T21" fmla="*/ 12 h 103"/>
                <a:gd name="T22" fmla="*/ 7 w 30"/>
                <a:gd name="T23" fmla="*/ 16 h 103"/>
                <a:gd name="T24" fmla="*/ 7 w 30"/>
                <a:gd name="T25" fmla="*/ 23 h 103"/>
                <a:gd name="T26" fmla="*/ 4 w 30"/>
                <a:gd name="T27" fmla="*/ 19 h 103"/>
                <a:gd name="T28" fmla="*/ 4 w 30"/>
                <a:gd name="T29" fmla="*/ 17 h 103"/>
                <a:gd name="T30" fmla="*/ 4 w 30"/>
                <a:gd name="T31" fmla="*/ 16 h 103"/>
                <a:gd name="T32" fmla="*/ 3 w 30"/>
                <a:gd name="T33" fmla="*/ 10 h 103"/>
                <a:gd name="T34" fmla="*/ 0 w 30"/>
                <a:gd name="T35" fmla="*/ 5 h 103"/>
                <a:gd name="T36" fmla="*/ 8 w 30"/>
                <a:gd name="T37" fmla="*/ 0 h 103"/>
                <a:gd name="T38" fmla="*/ 13 w 30"/>
                <a:gd name="T39" fmla="*/ 12 h 103"/>
                <a:gd name="T40" fmla="*/ 13 w 30"/>
                <a:gd name="T41" fmla="*/ 15 h 103"/>
                <a:gd name="T42" fmla="*/ 14 w 30"/>
                <a:gd name="T43" fmla="*/ 16 h 103"/>
                <a:gd name="T44" fmla="*/ 14 w 30"/>
                <a:gd name="T45" fmla="*/ 19 h 103"/>
                <a:gd name="T46" fmla="*/ 16 w 30"/>
                <a:gd name="T47" fmla="*/ 26 h 103"/>
                <a:gd name="T48" fmla="*/ 18 w 30"/>
                <a:gd name="T49" fmla="*/ 39 h 103"/>
                <a:gd name="T50" fmla="*/ 16 w 30"/>
                <a:gd name="T51" fmla="*/ 39 h 103"/>
                <a:gd name="T52" fmla="*/ 17 w 30"/>
                <a:gd name="T53" fmla="*/ 47 h 103"/>
                <a:gd name="T54" fmla="*/ 16 w 30"/>
                <a:gd name="T55" fmla="*/ 50 h 103"/>
                <a:gd name="T56" fmla="*/ 18 w 30"/>
                <a:gd name="T57" fmla="*/ 50 h 103"/>
                <a:gd name="T58" fmla="*/ 21 w 30"/>
                <a:gd name="T59" fmla="*/ 53 h 103"/>
                <a:gd name="T60" fmla="*/ 18 w 30"/>
                <a:gd name="T61" fmla="*/ 62 h 103"/>
                <a:gd name="T62" fmla="*/ 20 w 30"/>
                <a:gd name="T63" fmla="*/ 63 h 103"/>
                <a:gd name="T64" fmla="*/ 23 w 30"/>
                <a:gd name="T65" fmla="*/ 62 h 103"/>
                <a:gd name="T66" fmla="*/ 25 w 30"/>
                <a:gd name="T67" fmla="*/ 63 h 103"/>
                <a:gd name="T68" fmla="*/ 27 w 30"/>
                <a:gd name="T69" fmla="*/ 77 h 103"/>
                <a:gd name="T70" fmla="*/ 25 w 30"/>
                <a:gd name="T71" fmla="*/ 84 h 103"/>
                <a:gd name="T72" fmla="*/ 24 w 30"/>
                <a:gd name="T73" fmla="*/ 84 h 103"/>
                <a:gd name="T74" fmla="*/ 23 w 30"/>
                <a:gd name="T75" fmla="*/ 89 h 103"/>
                <a:gd name="T76" fmla="*/ 24 w 30"/>
                <a:gd name="T77" fmla="*/ 89 h 103"/>
                <a:gd name="T78" fmla="*/ 27 w 30"/>
                <a:gd name="T79" fmla="*/ 89 h 103"/>
                <a:gd name="T80" fmla="*/ 30 w 30"/>
                <a:gd name="T81" fmla="*/ 93 h 103"/>
                <a:gd name="T82" fmla="*/ 28 w 30"/>
                <a:gd name="T83" fmla="*/ 92 h 103"/>
                <a:gd name="T84" fmla="*/ 25 w 30"/>
                <a:gd name="T85" fmla="*/ 94 h 103"/>
                <a:gd name="T86" fmla="*/ 25 w 30"/>
                <a:gd name="T87" fmla="*/ 103 h 103"/>
                <a:gd name="T88" fmla="*/ 21 w 30"/>
                <a:gd name="T89" fmla="*/ 99 h 103"/>
                <a:gd name="T90" fmla="*/ 16 w 30"/>
                <a:gd name="T91" fmla="*/ 79 h 103"/>
                <a:gd name="T92" fmla="*/ 14 w 30"/>
                <a:gd name="T93" fmla="*/ 64 h 103"/>
                <a:gd name="T94" fmla="*/ 10 w 30"/>
                <a:gd name="T95" fmla="*/ 53 h 103"/>
                <a:gd name="T96" fmla="*/ 13 w 30"/>
                <a:gd name="T97" fmla="*/ 4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103">
                  <a:moveTo>
                    <a:pt x="16" y="46"/>
                  </a:moveTo>
                  <a:lnTo>
                    <a:pt x="16" y="46"/>
                  </a:lnTo>
                  <a:lnTo>
                    <a:pt x="14" y="44"/>
                  </a:lnTo>
                  <a:lnTo>
                    <a:pt x="13" y="44"/>
                  </a:lnTo>
                  <a:lnTo>
                    <a:pt x="10" y="44"/>
                  </a:lnTo>
                  <a:lnTo>
                    <a:pt x="10" y="44"/>
                  </a:lnTo>
                  <a:lnTo>
                    <a:pt x="10" y="40"/>
                  </a:lnTo>
                  <a:lnTo>
                    <a:pt x="10" y="36"/>
                  </a:lnTo>
                  <a:lnTo>
                    <a:pt x="10" y="27"/>
                  </a:lnTo>
                  <a:lnTo>
                    <a:pt x="10" y="27"/>
                  </a:lnTo>
                  <a:lnTo>
                    <a:pt x="10" y="19"/>
                  </a:lnTo>
                  <a:lnTo>
                    <a:pt x="10" y="19"/>
                  </a:lnTo>
                  <a:lnTo>
                    <a:pt x="10" y="16"/>
                  </a:lnTo>
                  <a:lnTo>
                    <a:pt x="10" y="16"/>
                  </a:lnTo>
                  <a:lnTo>
                    <a:pt x="10" y="15"/>
                  </a:lnTo>
                  <a:lnTo>
                    <a:pt x="10" y="15"/>
                  </a:lnTo>
                  <a:lnTo>
                    <a:pt x="10" y="15"/>
                  </a:lnTo>
                  <a:lnTo>
                    <a:pt x="10" y="15"/>
                  </a:lnTo>
                  <a:lnTo>
                    <a:pt x="7" y="9"/>
                  </a:lnTo>
                  <a:lnTo>
                    <a:pt x="7" y="9"/>
                  </a:lnTo>
                  <a:lnTo>
                    <a:pt x="6" y="10"/>
                  </a:lnTo>
                  <a:lnTo>
                    <a:pt x="6" y="12"/>
                  </a:lnTo>
                  <a:lnTo>
                    <a:pt x="7" y="16"/>
                  </a:lnTo>
                  <a:lnTo>
                    <a:pt x="7" y="16"/>
                  </a:lnTo>
                  <a:lnTo>
                    <a:pt x="7" y="20"/>
                  </a:lnTo>
                  <a:lnTo>
                    <a:pt x="7" y="23"/>
                  </a:lnTo>
                  <a:lnTo>
                    <a:pt x="7" y="23"/>
                  </a:lnTo>
                  <a:lnTo>
                    <a:pt x="4" y="19"/>
                  </a:lnTo>
                  <a:lnTo>
                    <a:pt x="4" y="19"/>
                  </a:lnTo>
                  <a:lnTo>
                    <a:pt x="4" y="17"/>
                  </a:lnTo>
                  <a:lnTo>
                    <a:pt x="4" y="17"/>
                  </a:lnTo>
                  <a:lnTo>
                    <a:pt x="4" y="16"/>
                  </a:lnTo>
                  <a:lnTo>
                    <a:pt x="4" y="16"/>
                  </a:lnTo>
                  <a:lnTo>
                    <a:pt x="3" y="10"/>
                  </a:lnTo>
                  <a:lnTo>
                    <a:pt x="0" y="5"/>
                  </a:lnTo>
                  <a:lnTo>
                    <a:pt x="0" y="5"/>
                  </a:lnTo>
                  <a:lnTo>
                    <a:pt x="4" y="3"/>
                  </a:lnTo>
                  <a:lnTo>
                    <a:pt x="8" y="0"/>
                  </a:lnTo>
                  <a:lnTo>
                    <a:pt x="8" y="0"/>
                  </a:lnTo>
                  <a:lnTo>
                    <a:pt x="13" y="12"/>
                  </a:lnTo>
                  <a:lnTo>
                    <a:pt x="13" y="12"/>
                  </a:lnTo>
                  <a:lnTo>
                    <a:pt x="13" y="15"/>
                  </a:lnTo>
                  <a:lnTo>
                    <a:pt x="13" y="15"/>
                  </a:lnTo>
                  <a:lnTo>
                    <a:pt x="14" y="16"/>
                  </a:lnTo>
                  <a:lnTo>
                    <a:pt x="14" y="16"/>
                  </a:lnTo>
                  <a:lnTo>
                    <a:pt x="14" y="19"/>
                  </a:lnTo>
                  <a:lnTo>
                    <a:pt x="14" y="19"/>
                  </a:lnTo>
                  <a:lnTo>
                    <a:pt x="16" y="26"/>
                  </a:lnTo>
                  <a:lnTo>
                    <a:pt x="18" y="39"/>
                  </a:lnTo>
                  <a:lnTo>
                    <a:pt x="18" y="39"/>
                  </a:lnTo>
                  <a:lnTo>
                    <a:pt x="17" y="37"/>
                  </a:lnTo>
                  <a:lnTo>
                    <a:pt x="16" y="39"/>
                  </a:lnTo>
                  <a:lnTo>
                    <a:pt x="16" y="43"/>
                  </a:lnTo>
                  <a:lnTo>
                    <a:pt x="17" y="47"/>
                  </a:lnTo>
                  <a:lnTo>
                    <a:pt x="17" y="49"/>
                  </a:lnTo>
                  <a:lnTo>
                    <a:pt x="16" y="50"/>
                  </a:lnTo>
                  <a:lnTo>
                    <a:pt x="16" y="50"/>
                  </a:lnTo>
                  <a:lnTo>
                    <a:pt x="18" y="50"/>
                  </a:lnTo>
                  <a:lnTo>
                    <a:pt x="20" y="50"/>
                  </a:lnTo>
                  <a:lnTo>
                    <a:pt x="21" y="53"/>
                  </a:lnTo>
                  <a:lnTo>
                    <a:pt x="21" y="57"/>
                  </a:lnTo>
                  <a:lnTo>
                    <a:pt x="18" y="62"/>
                  </a:lnTo>
                  <a:lnTo>
                    <a:pt x="18" y="62"/>
                  </a:lnTo>
                  <a:lnTo>
                    <a:pt x="20" y="63"/>
                  </a:lnTo>
                  <a:lnTo>
                    <a:pt x="21" y="63"/>
                  </a:lnTo>
                  <a:lnTo>
                    <a:pt x="23" y="62"/>
                  </a:lnTo>
                  <a:lnTo>
                    <a:pt x="25" y="63"/>
                  </a:lnTo>
                  <a:lnTo>
                    <a:pt x="25" y="63"/>
                  </a:lnTo>
                  <a:lnTo>
                    <a:pt x="25" y="70"/>
                  </a:lnTo>
                  <a:lnTo>
                    <a:pt x="27" y="77"/>
                  </a:lnTo>
                  <a:lnTo>
                    <a:pt x="27" y="83"/>
                  </a:lnTo>
                  <a:lnTo>
                    <a:pt x="25" y="84"/>
                  </a:lnTo>
                  <a:lnTo>
                    <a:pt x="24" y="84"/>
                  </a:lnTo>
                  <a:lnTo>
                    <a:pt x="24" y="84"/>
                  </a:lnTo>
                  <a:lnTo>
                    <a:pt x="24" y="87"/>
                  </a:lnTo>
                  <a:lnTo>
                    <a:pt x="23" y="89"/>
                  </a:lnTo>
                  <a:lnTo>
                    <a:pt x="23" y="89"/>
                  </a:lnTo>
                  <a:lnTo>
                    <a:pt x="24" y="89"/>
                  </a:lnTo>
                  <a:lnTo>
                    <a:pt x="25" y="90"/>
                  </a:lnTo>
                  <a:lnTo>
                    <a:pt x="27" y="89"/>
                  </a:lnTo>
                  <a:lnTo>
                    <a:pt x="28" y="89"/>
                  </a:lnTo>
                  <a:lnTo>
                    <a:pt x="30" y="93"/>
                  </a:lnTo>
                  <a:lnTo>
                    <a:pt x="30" y="93"/>
                  </a:lnTo>
                  <a:lnTo>
                    <a:pt x="28" y="92"/>
                  </a:lnTo>
                  <a:lnTo>
                    <a:pt x="27" y="92"/>
                  </a:lnTo>
                  <a:lnTo>
                    <a:pt x="25" y="94"/>
                  </a:lnTo>
                  <a:lnTo>
                    <a:pt x="25" y="99"/>
                  </a:lnTo>
                  <a:lnTo>
                    <a:pt x="25" y="103"/>
                  </a:lnTo>
                  <a:lnTo>
                    <a:pt x="25" y="103"/>
                  </a:lnTo>
                  <a:lnTo>
                    <a:pt x="21" y="99"/>
                  </a:lnTo>
                  <a:lnTo>
                    <a:pt x="20" y="93"/>
                  </a:lnTo>
                  <a:lnTo>
                    <a:pt x="16" y="79"/>
                  </a:lnTo>
                  <a:lnTo>
                    <a:pt x="16" y="79"/>
                  </a:lnTo>
                  <a:lnTo>
                    <a:pt x="14" y="64"/>
                  </a:lnTo>
                  <a:lnTo>
                    <a:pt x="13" y="59"/>
                  </a:lnTo>
                  <a:lnTo>
                    <a:pt x="10" y="53"/>
                  </a:lnTo>
                  <a:lnTo>
                    <a:pt x="10" y="53"/>
                  </a:lnTo>
                  <a:lnTo>
                    <a:pt x="13" y="49"/>
                  </a:lnTo>
                  <a:lnTo>
                    <a:pt x="16" y="4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9" name="Freeform 420"/>
            <p:cNvSpPr/>
            <p:nvPr/>
          </p:nvSpPr>
          <p:spPr bwMode="auto">
            <a:xfrm>
              <a:off x="5487789" y="2977460"/>
              <a:ext cx="12287" cy="55290"/>
            </a:xfrm>
            <a:custGeom>
              <a:avLst/>
              <a:gdLst>
                <a:gd name="T0" fmla="*/ 1 w 4"/>
                <a:gd name="T1" fmla="*/ 0 h 19"/>
                <a:gd name="T2" fmla="*/ 1 w 4"/>
                <a:gd name="T3" fmla="*/ 0 h 19"/>
                <a:gd name="T4" fmla="*/ 1 w 4"/>
                <a:gd name="T5" fmla="*/ 0 h 19"/>
                <a:gd name="T6" fmla="*/ 2 w 4"/>
                <a:gd name="T7" fmla="*/ 1 h 19"/>
                <a:gd name="T8" fmla="*/ 2 w 4"/>
                <a:gd name="T9" fmla="*/ 1 h 19"/>
                <a:gd name="T10" fmla="*/ 2 w 4"/>
                <a:gd name="T11" fmla="*/ 4 h 19"/>
                <a:gd name="T12" fmla="*/ 2 w 4"/>
                <a:gd name="T13" fmla="*/ 4 h 19"/>
                <a:gd name="T14" fmla="*/ 2 w 4"/>
                <a:gd name="T15" fmla="*/ 7 h 19"/>
                <a:gd name="T16" fmla="*/ 2 w 4"/>
                <a:gd name="T17" fmla="*/ 7 h 19"/>
                <a:gd name="T18" fmla="*/ 2 w 4"/>
                <a:gd name="T19" fmla="*/ 13 h 19"/>
                <a:gd name="T20" fmla="*/ 4 w 4"/>
                <a:gd name="T21" fmla="*/ 19 h 19"/>
                <a:gd name="T22" fmla="*/ 4 w 4"/>
                <a:gd name="T23" fmla="*/ 19 h 19"/>
                <a:gd name="T24" fmla="*/ 1 w 4"/>
                <a:gd name="T25" fmla="*/ 17 h 19"/>
                <a:gd name="T26" fmla="*/ 1 w 4"/>
                <a:gd name="T27" fmla="*/ 14 h 19"/>
                <a:gd name="T28" fmla="*/ 0 w 4"/>
                <a:gd name="T29" fmla="*/ 10 h 19"/>
                <a:gd name="T30" fmla="*/ 0 w 4"/>
                <a:gd name="T31" fmla="*/ 10 h 19"/>
                <a:gd name="T32" fmla="*/ 1 w 4"/>
                <a:gd name="T33" fmla="*/ 6 h 19"/>
                <a:gd name="T34" fmla="*/ 1 w 4"/>
                <a:gd name="T35" fmla="*/ 6 h 19"/>
                <a:gd name="T36" fmla="*/ 1 w 4"/>
                <a:gd name="T37" fmla="*/ 3 h 19"/>
                <a:gd name="T38" fmla="*/ 1 w 4"/>
                <a:gd name="T39" fmla="*/ 3 h 19"/>
                <a:gd name="T40" fmla="*/ 1 w 4"/>
                <a:gd name="T4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9">
                  <a:moveTo>
                    <a:pt x="1" y="0"/>
                  </a:moveTo>
                  <a:lnTo>
                    <a:pt x="1" y="0"/>
                  </a:lnTo>
                  <a:lnTo>
                    <a:pt x="1" y="0"/>
                  </a:lnTo>
                  <a:lnTo>
                    <a:pt x="2" y="1"/>
                  </a:lnTo>
                  <a:lnTo>
                    <a:pt x="2" y="1"/>
                  </a:lnTo>
                  <a:lnTo>
                    <a:pt x="2" y="4"/>
                  </a:lnTo>
                  <a:lnTo>
                    <a:pt x="2" y="4"/>
                  </a:lnTo>
                  <a:lnTo>
                    <a:pt x="2" y="7"/>
                  </a:lnTo>
                  <a:lnTo>
                    <a:pt x="2" y="7"/>
                  </a:lnTo>
                  <a:lnTo>
                    <a:pt x="2" y="13"/>
                  </a:lnTo>
                  <a:lnTo>
                    <a:pt x="4" y="19"/>
                  </a:lnTo>
                  <a:lnTo>
                    <a:pt x="4" y="19"/>
                  </a:lnTo>
                  <a:lnTo>
                    <a:pt x="1" y="17"/>
                  </a:lnTo>
                  <a:lnTo>
                    <a:pt x="1" y="14"/>
                  </a:lnTo>
                  <a:lnTo>
                    <a:pt x="0" y="10"/>
                  </a:lnTo>
                  <a:lnTo>
                    <a:pt x="0" y="10"/>
                  </a:lnTo>
                  <a:lnTo>
                    <a:pt x="1" y="6"/>
                  </a:lnTo>
                  <a:lnTo>
                    <a:pt x="1" y="6"/>
                  </a:lnTo>
                  <a:lnTo>
                    <a:pt x="1" y="3"/>
                  </a:lnTo>
                  <a:lnTo>
                    <a:pt x="1" y="3"/>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0" name="Freeform 421"/>
            <p:cNvSpPr/>
            <p:nvPr/>
          </p:nvSpPr>
          <p:spPr bwMode="auto">
            <a:xfrm>
              <a:off x="5487789" y="2977460"/>
              <a:ext cx="12287" cy="55290"/>
            </a:xfrm>
            <a:custGeom>
              <a:avLst/>
              <a:gdLst>
                <a:gd name="T0" fmla="*/ 1 w 4"/>
                <a:gd name="T1" fmla="*/ 0 h 19"/>
                <a:gd name="T2" fmla="*/ 1 w 4"/>
                <a:gd name="T3" fmla="*/ 0 h 19"/>
                <a:gd name="T4" fmla="*/ 1 w 4"/>
                <a:gd name="T5" fmla="*/ 0 h 19"/>
                <a:gd name="T6" fmla="*/ 2 w 4"/>
                <a:gd name="T7" fmla="*/ 1 h 19"/>
                <a:gd name="T8" fmla="*/ 2 w 4"/>
                <a:gd name="T9" fmla="*/ 1 h 19"/>
                <a:gd name="T10" fmla="*/ 2 w 4"/>
                <a:gd name="T11" fmla="*/ 4 h 19"/>
                <a:gd name="T12" fmla="*/ 2 w 4"/>
                <a:gd name="T13" fmla="*/ 4 h 19"/>
                <a:gd name="T14" fmla="*/ 2 w 4"/>
                <a:gd name="T15" fmla="*/ 7 h 19"/>
                <a:gd name="T16" fmla="*/ 2 w 4"/>
                <a:gd name="T17" fmla="*/ 7 h 19"/>
                <a:gd name="T18" fmla="*/ 2 w 4"/>
                <a:gd name="T19" fmla="*/ 13 h 19"/>
                <a:gd name="T20" fmla="*/ 4 w 4"/>
                <a:gd name="T21" fmla="*/ 19 h 19"/>
                <a:gd name="T22" fmla="*/ 4 w 4"/>
                <a:gd name="T23" fmla="*/ 19 h 19"/>
                <a:gd name="T24" fmla="*/ 1 w 4"/>
                <a:gd name="T25" fmla="*/ 17 h 19"/>
                <a:gd name="T26" fmla="*/ 1 w 4"/>
                <a:gd name="T27" fmla="*/ 14 h 19"/>
                <a:gd name="T28" fmla="*/ 0 w 4"/>
                <a:gd name="T29" fmla="*/ 10 h 19"/>
                <a:gd name="T30" fmla="*/ 0 w 4"/>
                <a:gd name="T31" fmla="*/ 10 h 19"/>
                <a:gd name="T32" fmla="*/ 1 w 4"/>
                <a:gd name="T33" fmla="*/ 6 h 19"/>
                <a:gd name="T34" fmla="*/ 1 w 4"/>
                <a:gd name="T35" fmla="*/ 6 h 19"/>
                <a:gd name="T36" fmla="*/ 1 w 4"/>
                <a:gd name="T37" fmla="*/ 3 h 19"/>
                <a:gd name="T38" fmla="*/ 1 w 4"/>
                <a:gd name="T39" fmla="*/ 3 h 19"/>
                <a:gd name="T40" fmla="*/ 1 w 4"/>
                <a:gd name="T4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9">
                  <a:moveTo>
                    <a:pt x="1" y="0"/>
                  </a:moveTo>
                  <a:lnTo>
                    <a:pt x="1" y="0"/>
                  </a:lnTo>
                  <a:lnTo>
                    <a:pt x="1" y="0"/>
                  </a:lnTo>
                  <a:lnTo>
                    <a:pt x="2" y="1"/>
                  </a:lnTo>
                  <a:lnTo>
                    <a:pt x="2" y="1"/>
                  </a:lnTo>
                  <a:lnTo>
                    <a:pt x="2" y="4"/>
                  </a:lnTo>
                  <a:lnTo>
                    <a:pt x="2" y="4"/>
                  </a:lnTo>
                  <a:lnTo>
                    <a:pt x="2" y="7"/>
                  </a:lnTo>
                  <a:lnTo>
                    <a:pt x="2" y="7"/>
                  </a:lnTo>
                  <a:lnTo>
                    <a:pt x="2" y="13"/>
                  </a:lnTo>
                  <a:lnTo>
                    <a:pt x="4" y="19"/>
                  </a:lnTo>
                  <a:lnTo>
                    <a:pt x="4" y="19"/>
                  </a:lnTo>
                  <a:lnTo>
                    <a:pt x="1" y="17"/>
                  </a:lnTo>
                  <a:lnTo>
                    <a:pt x="1" y="14"/>
                  </a:lnTo>
                  <a:lnTo>
                    <a:pt x="0" y="10"/>
                  </a:lnTo>
                  <a:lnTo>
                    <a:pt x="0" y="10"/>
                  </a:lnTo>
                  <a:lnTo>
                    <a:pt x="1" y="6"/>
                  </a:lnTo>
                  <a:lnTo>
                    <a:pt x="1" y="6"/>
                  </a:lnTo>
                  <a:lnTo>
                    <a:pt x="1" y="3"/>
                  </a:lnTo>
                  <a:lnTo>
                    <a:pt x="1" y="3"/>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1" name="Freeform 422"/>
            <p:cNvSpPr/>
            <p:nvPr/>
          </p:nvSpPr>
          <p:spPr bwMode="auto">
            <a:xfrm>
              <a:off x="5162181" y="3124904"/>
              <a:ext cx="18433" cy="30716"/>
            </a:xfrm>
            <a:custGeom>
              <a:avLst/>
              <a:gdLst>
                <a:gd name="T0" fmla="*/ 3 w 4"/>
                <a:gd name="T1" fmla="*/ 0 h 12"/>
                <a:gd name="T2" fmla="*/ 3 w 4"/>
                <a:gd name="T3" fmla="*/ 0 h 12"/>
                <a:gd name="T4" fmla="*/ 4 w 4"/>
                <a:gd name="T5" fmla="*/ 2 h 12"/>
                <a:gd name="T6" fmla="*/ 4 w 4"/>
                <a:gd name="T7" fmla="*/ 4 h 12"/>
                <a:gd name="T8" fmla="*/ 4 w 4"/>
                <a:gd name="T9" fmla="*/ 9 h 12"/>
                <a:gd name="T10" fmla="*/ 4 w 4"/>
                <a:gd name="T11" fmla="*/ 12 h 12"/>
                <a:gd name="T12" fmla="*/ 4 w 4"/>
                <a:gd name="T13" fmla="*/ 12 h 12"/>
                <a:gd name="T14" fmla="*/ 3 w 4"/>
                <a:gd name="T15" fmla="*/ 12 h 12"/>
                <a:gd name="T16" fmla="*/ 3 w 4"/>
                <a:gd name="T17" fmla="*/ 12 h 12"/>
                <a:gd name="T18" fmla="*/ 1 w 4"/>
                <a:gd name="T19" fmla="*/ 9 h 12"/>
                <a:gd name="T20" fmla="*/ 1 w 4"/>
                <a:gd name="T21" fmla="*/ 6 h 12"/>
                <a:gd name="T22" fmla="*/ 1 w 4"/>
                <a:gd name="T23" fmla="*/ 6 h 12"/>
                <a:gd name="T24" fmla="*/ 0 w 4"/>
                <a:gd name="T25" fmla="*/ 6 h 12"/>
                <a:gd name="T26" fmla="*/ 0 w 4"/>
                <a:gd name="T27" fmla="*/ 6 h 12"/>
                <a:gd name="T28" fmla="*/ 1 w 4"/>
                <a:gd name="T29" fmla="*/ 3 h 12"/>
                <a:gd name="T30" fmla="*/ 3 w 4"/>
                <a:gd name="T3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12">
                  <a:moveTo>
                    <a:pt x="3" y="0"/>
                  </a:moveTo>
                  <a:lnTo>
                    <a:pt x="3" y="0"/>
                  </a:lnTo>
                  <a:lnTo>
                    <a:pt x="4" y="2"/>
                  </a:lnTo>
                  <a:lnTo>
                    <a:pt x="4" y="4"/>
                  </a:lnTo>
                  <a:lnTo>
                    <a:pt x="4" y="9"/>
                  </a:lnTo>
                  <a:lnTo>
                    <a:pt x="4" y="12"/>
                  </a:lnTo>
                  <a:lnTo>
                    <a:pt x="4" y="12"/>
                  </a:lnTo>
                  <a:lnTo>
                    <a:pt x="3" y="12"/>
                  </a:lnTo>
                  <a:lnTo>
                    <a:pt x="3" y="12"/>
                  </a:lnTo>
                  <a:lnTo>
                    <a:pt x="1" y="9"/>
                  </a:lnTo>
                  <a:lnTo>
                    <a:pt x="1" y="6"/>
                  </a:lnTo>
                  <a:lnTo>
                    <a:pt x="1" y="6"/>
                  </a:lnTo>
                  <a:lnTo>
                    <a:pt x="0" y="6"/>
                  </a:lnTo>
                  <a:lnTo>
                    <a:pt x="0" y="6"/>
                  </a:lnTo>
                  <a:lnTo>
                    <a:pt x="1" y="3"/>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2" name="Freeform 423"/>
            <p:cNvSpPr/>
            <p:nvPr/>
          </p:nvSpPr>
          <p:spPr bwMode="auto">
            <a:xfrm>
              <a:off x="5162181" y="3124904"/>
              <a:ext cx="18433" cy="30716"/>
            </a:xfrm>
            <a:custGeom>
              <a:avLst/>
              <a:gdLst>
                <a:gd name="T0" fmla="*/ 3 w 4"/>
                <a:gd name="T1" fmla="*/ 0 h 12"/>
                <a:gd name="T2" fmla="*/ 3 w 4"/>
                <a:gd name="T3" fmla="*/ 0 h 12"/>
                <a:gd name="T4" fmla="*/ 4 w 4"/>
                <a:gd name="T5" fmla="*/ 2 h 12"/>
                <a:gd name="T6" fmla="*/ 4 w 4"/>
                <a:gd name="T7" fmla="*/ 4 h 12"/>
                <a:gd name="T8" fmla="*/ 4 w 4"/>
                <a:gd name="T9" fmla="*/ 9 h 12"/>
                <a:gd name="T10" fmla="*/ 4 w 4"/>
                <a:gd name="T11" fmla="*/ 12 h 12"/>
                <a:gd name="T12" fmla="*/ 4 w 4"/>
                <a:gd name="T13" fmla="*/ 12 h 12"/>
                <a:gd name="T14" fmla="*/ 3 w 4"/>
                <a:gd name="T15" fmla="*/ 12 h 12"/>
                <a:gd name="T16" fmla="*/ 3 w 4"/>
                <a:gd name="T17" fmla="*/ 12 h 12"/>
                <a:gd name="T18" fmla="*/ 1 w 4"/>
                <a:gd name="T19" fmla="*/ 9 h 12"/>
                <a:gd name="T20" fmla="*/ 1 w 4"/>
                <a:gd name="T21" fmla="*/ 6 h 12"/>
                <a:gd name="T22" fmla="*/ 1 w 4"/>
                <a:gd name="T23" fmla="*/ 6 h 12"/>
                <a:gd name="T24" fmla="*/ 0 w 4"/>
                <a:gd name="T25" fmla="*/ 6 h 12"/>
                <a:gd name="T26" fmla="*/ 0 w 4"/>
                <a:gd name="T27" fmla="*/ 6 h 12"/>
                <a:gd name="T28" fmla="*/ 1 w 4"/>
                <a:gd name="T29" fmla="*/ 3 h 12"/>
                <a:gd name="T30" fmla="*/ 3 w 4"/>
                <a:gd name="T3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12">
                  <a:moveTo>
                    <a:pt x="3" y="0"/>
                  </a:moveTo>
                  <a:lnTo>
                    <a:pt x="3" y="0"/>
                  </a:lnTo>
                  <a:lnTo>
                    <a:pt x="4" y="2"/>
                  </a:lnTo>
                  <a:lnTo>
                    <a:pt x="4" y="4"/>
                  </a:lnTo>
                  <a:lnTo>
                    <a:pt x="4" y="9"/>
                  </a:lnTo>
                  <a:lnTo>
                    <a:pt x="4" y="12"/>
                  </a:lnTo>
                  <a:lnTo>
                    <a:pt x="4" y="12"/>
                  </a:lnTo>
                  <a:lnTo>
                    <a:pt x="3" y="12"/>
                  </a:lnTo>
                  <a:lnTo>
                    <a:pt x="3" y="12"/>
                  </a:lnTo>
                  <a:lnTo>
                    <a:pt x="1" y="9"/>
                  </a:lnTo>
                  <a:lnTo>
                    <a:pt x="1" y="6"/>
                  </a:lnTo>
                  <a:lnTo>
                    <a:pt x="1" y="6"/>
                  </a:lnTo>
                  <a:lnTo>
                    <a:pt x="0" y="6"/>
                  </a:lnTo>
                  <a:lnTo>
                    <a:pt x="0" y="6"/>
                  </a:lnTo>
                  <a:lnTo>
                    <a:pt x="1" y="3"/>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3" name="Freeform 424"/>
            <p:cNvSpPr/>
            <p:nvPr/>
          </p:nvSpPr>
          <p:spPr bwMode="auto">
            <a:xfrm>
              <a:off x="5002450" y="3462800"/>
              <a:ext cx="6145" cy="43003"/>
            </a:xfrm>
            <a:custGeom>
              <a:avLst/>
              <a:gdLst>
                <a:gd name="T0" fmla="*/ 0 w 2"/>
                <a:gd name="T1" fmla="*/ 0 h 13"/>
                <a:gd name="T2" fmla="*/ 0 w 2"/>
                <a:gd name="T3" fmla="*/ 0 h 13"/>
                <a:gd name="T4" fmla="*/ 2 w 2"/>
                <a:gd name="T5" fmla="*/ 6 h 13"/>
                <a:gd name="T6" fmla="*/ 0 w 2"/>
                <a:gd name="T7" fmla="*/ 13 h 13"/>
                <a:gd name="T8" fmla="*/ 0 w 2"/>
                <a:gd name="T9" fmla="*/ 13 h 13"/>
                <a:gd name="T10" fmla="*/ 0 w 2"/>
                <a:gd name="T11" fmla="*/ 8 h 13"/>
                <a:gd name="T12" fmla="*/ 0 w 2"/>
                <a:gd name="T13" fmla="*/ 3 h 13"/>
                <a:gd name="T14" fmla="*/ 0 w 2"/>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3">
                  <a:moveTo>
                    <a:pt x="0" y="0"/>
                  </a:moveTo>
                  <a:lnTo>
                    <a:pt x="0" y="0"/>
                  </a:lnTo>
                  <a:lnTo>
                    <a:pt x="2" y="6"/>
                  </a:lnTo>
                  <a:lnTo>
                    <a:pt x="0" y="13"/>
                  </a:lnTo>
                  <a:lnTo>
                    <a:pt x="0" y="13"/>
                  </a:lnTo>
                  <a:lnTo>
                    <a:pt x="0" y="8"/>
                  </a:lnTo>
                  <a:lnTo>
                    <a:pt x="0" y="3"/>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4" name="Freeform 425"/>
            <p:cNvSpPr/>
            <p:nvPr/>
          </p:nvSpPr>
          <p:spPr bwMode="auto">
            <a:xfrm>
              <a:off x="5002450" y="3462800"/>
              <a:ext cx="6145" cy="43003"/>
            </a:xfrm>
            <a:custGeom>
              <a:avLst/>
              <a:gdLst>
                <a:gd name="T0" fmla="*/ 0 w 2"/>
                <a:gd name="T1" fmla="*/ 0 h 13"/>
                <a:gd name="T2" fmla="*/ 0 w 2"/>
                <a:gd name="T3" fmla="*/ 0 h 13"/>
                <a:gd name="T4" fmla="*/ 2 w 2"/>
                <a:gd name="T5" fmla="*/ 6 h 13"/>
                <a:gd name="T6" fmla="*/ 0 w 2"/>
                <a:gd name="T7" fmla="*/ 13 h 13"/>
                <a:gd name="T8" fmla="*/ 0 w 2"/>
                <a:gd name="T9" fmla="*/ 13 h 13"/>
                <a:gd name="T10" fmla="*/ 0 w 2"/>
                <a:gd name="T11" fmla="*/ 8 h 13"/>
                <a:gd name="T12" fmla="*/ 0 w 2"/>
                <a:gd name="T13" fmla="*/ 3 h 13"/>
                <a:gd name="T14" fmla="*/ 0 w 2"/>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3">
                  <a:moveTo>
                    <a:pt x="0" y="0"/>
                  </a:moveTo>
                  <a:lnTo>
                    <a:pt x="0" y="0"/>
                  </a:lnTo>
                  <a:lnTo>
                    <a:pt x="2" y="6"/>
                  </a:lnTo>
                  <a:lnTo>
                    <a:pt x="0" y="13"/>
                  </a:lnTo>
                  <a:lnTo>
                    <a:pt x="0" y="13"/>
                  </a:lnTo>
                  <a:lnTo>
                    <a:pt x="0" y="8"/>
                  </a:lnTo>
                  <a:lnTo>
                    <a:pt x="0"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5" name="Freeform 426"/>
            <p:cNvSpPr/>
            <p:nvPr/>
          </p:nvSpPr>
          <p:spPr bwMode="auto">
            <a:xfrm>
              <a:off x="5665949" y="3702396"/>
              <a:ext cx="0" cy="49148"/>
            </a:xfrm>
            <a:custGeom>
              <a:avLst/>
              <a:gdLst>
                <a:gd name="T0" fmla="*/ 0 w 1"/>
                <a:gd name="T1" fmla="*/ 0 h 15"/>
                <a:gd name="T2" fmla="*/ 0 w 1"/>
                <a:gd name="T3" fmla="*/ 0 h 15"/>
                <a:gd name="T4" fmla="*/ 1 w 1"/>
                <a:gd name="T5" fmla="*/ 2 h 15"/>
                <a:gd name="T6" fmla="*/ 1 w 1"/>
                <a:gd name="T7" fmla="*/ 7 h 15"/>
                <a:gd name="T8" fmla="*/ 1 w 1"/>
                <a:gd name="T9" fmla="*/ 15 h 15"/>
                <a:gd name="T10" fmla="*/ 1 w 1"/>
                <a:gd name="T11" fmla="*/ 15 h 15"/>
                <a:gd name="T12" fmla="*/ 0 w 1"/>
                <a:gd name="T13" fmla="*/ 11 h 15"/>
                <a:gd name="T14" fmla="*/ 0 w 1"/>
                <a:gd name="T15" fmla="*/ 7 h 15"/>
                <a:gd name="T16" fmla="*/ 0 w 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5">
                  <a:moveTo>
                    <a:pt x="0" y="0"/>
                  </a:moveTo>
                  <a:lnTo>
                    <a:pt x="0" y="0"/>
                  </a:lnTo>
                  <a:lnTo>
                    <a:pt x="1" y="2"/>
                  </a:lnTo>
                  <a:lnTo>
                    <a:pt x="1" y="7"/>
                  </a:lnTo>
                  <a:lnTo>
                    <a:pt x="1" y="15"/>
                  </a:lnTo>
                  <a:lnTo>
                    <a:pt x="1" y="15"/>
                  </a:lnTo>
                  <a:lnTo>
                    <a:pt x="0" y="11"/>
                  </a:lnTo>
                  <a:lnTo>
                    <a:pt x="0" y="7"/>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6" name="Freeform 427"/>
            <p:cNvSpPr/>
            <p:nvPr/>
          </p:nvSpPr>
          <p:spPr bwMode="auto">
            <a:xfrm>
              <a:off x="5665949" y="3702396"/>
              <a:ext cx="0" cy="49148"/>
            </a:xfrm>
            <a:custGeom>
              <a:avLst/>
              <a:gdLst>
                <a:gd name="T0" fmla="*/ 0 w 1"/>
                <a:gd name="T1" fmla="*/ 0 h 15"/>
                <a:gd name="T2" fmla="*/ 0 w 1"/>
                <a:gd name="T3" fmla="*/ 0 h 15"/>
                <a:gd name="T4" fmla="*/ 1 w 1"/>
                <a:gd name="T5" fmla="*/ 2 h 15"/>
                <a:gd name="T6" fmla="*/ 1 w 1"/>
                <a:gd name="T7" fmla="*/ 7 h 15"/>
                <a:gd name="T8" fmla="*/ 1 w 1"/>
                <a:gd name="T9" fmla="*/ 15 h 15"/>
                <a:gd name="T10" fmla="*/ 1 w 1"/>
                <a:gd name="T11" fmla="*/ 15 h 15"/>
                <a:gd name="T12" fmla="*/ 0 w 1"/>
                <a:gd name="T13" fmla="*/ 11 h 15"/>
                <a:gd name="T14" fmla="*/ 0 w 1"/>
                <a:gd name="T15" fmla="*/ 7 h 15"/>
                <a:gd name="T16" fmla="*/ 0 w 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5">
                  <a:moveTo>
                    <a:pt x="0" y="0"/>
                  </a:moveTo>
                  <a:lnTo>
                    <a:pt x="0" y="0"/>
                  </a:lnTo>
                  <a:lnTo>
                    <a:pt x="1" y="2"/>
                  </a:lnTo>
                  <a:lnTo>
                    <a:pt x="1" y="7"/>
                  </a:lnTo>
                  <a:lnTo>
                    <a:pt x="1" y="15"/>
                  </a:lnTo>
                  <a:lnTo>
                    <a:pt x="1" y="15"/>
                  </a:lnTo>
                  <a:lnTo>
                    <a:pt x="0" y="11"/>
                  </a:lnTo>
                  <a:lnTo>
                    <a:pt x="0" y="7"/>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7" name="Freeform 428"/>
            <p:cNvSpPr/>
            <p:nvPr/>
          </p:nvSpPr>
          <p:spPr bwMode="auto">
            <a:xfrm>
              <a:off x="5764247" y="3874415"/>
              <a:ext cx="18433" cy="49148"/>
            </a:xfrm>
            <a:custGeom>
              <a:avLst/>
              <a:gdLst>
                <a:gd name="T0" fmla="*/ 2 w 6"/>
                <a:gd name="T1" fmla="*/ 0 h 15"/>
                <a:gd name="T2" fmla="*/ 2 w 6"/>
                <a:gd name="T3" fmla="*/ 0 h 15"/>
                <a:gd name="T4" fmla="*/ 3 w 6"/>
                <a:gd name="T5" fmla="*/ 4 h 15"/>
                <a:gd name="T6" fmla="*/ 3 w 6"/>
                <a:gd name="T7" fmla="*/ 8 h 15"/>
                <a:gd name="T8" fmla="*/ 3 w 6"/>
                <a:gd name="T9" fmla="*/ 11 h 15"/>
                <a:gd name="T10" fmla="*/ 5 w 6"/>
                <a:gd name="T11" fmla="*/ 12 h 15"/>
                <a:gd name="T12" fmla="*/ 6 w 6"/>
                <a:gd name="T13" fmla="*/ 14 h 15"/>
                <a:gd name="T14" fmla="*/ 6 w 6"/>
                <a:gd name="T15" fmla="*/ 14 h 15"/>
                <a:gd name="T16" fmla="*/ 5 w 6"/>
                <a:gd name="T17" fmla="*/ 15 h 15"/>
                <a:gd name="T18" fmla="*/ 3 w 6"/>
                <a:gd name="T19" fmla="*/ 14 h 15"/>
                <a:gd name="T20" fmla="*/ 0 w 6"/>
                <a:gd name="T21" fmla="*/ 10 h 15"/>
                <a:gd name="T22" fmla="*/ 0 w 6"/>
                <a:gd name="T23" fmla="*/ 4 h 15"/>
                <a:gd name="T24" fmla="*/ 0 w 6"/>
                <a:gd name="T25" fmla="*/ 1 h 15"/>
                <a:gd name="T26" fmla="*/ 2 w 6"/>
                <a:gd name="T2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5">
                  <a:moveTo>
                    <a:pt x="2" y="0"/>
                  </a:moveTo>
                  <a:lnTo>
                    <a:pt x="2" y="0"/>
                  </a:lnTo>
                  <a:lnTo>
                    <a:pt x="3" y="4"/>
                  </a:lnTo>
                  <a:lnTo>
                    <a:pt x="3" y="8"/>
                  </a:lnTo>
                  <a:lnTo>
                    <a:pt x="3" y="11"/>
                  </a:lnTo>
                  <a:lnTo>
                    <a:pt x="5" y="12"/>
                  </a:lnTo>
                  <a:lnTo>
                    <a:pt x="6" y="14"/>
                  </a:lnTo>
                  <a:lnTo>
                    <a:pt x="6" y="14"/>
                  </a:lnTo>
                  <a:lnTo>
                    <a:pt x="5" y="15"/>
                  </a:lnTo>
                  <a:lnTo>
                    <a:pt x="3" y="14"/>
                  </a:lnTo>
                  <a:lnTo>
                    <a:pt x="0" y="10"/>
                  </a:lnTo>
                  <a:lnTo>
                    <a:pt x="0" y="4"/>
                  </a:lnTo>
                  <a:lnTo>
                    <a:pt x="0" y="1"/>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8" name="Freeform 429"/>
            <p:cNvSpPr/>
            <p:nvPr/>
          </p:nvSpPr>
          <p:spPr bwMode="auto">
            <a:xfrm>
              <a:off x="5764247" y="3874415"/>
              <a:ext cx="18433" cy="49148"/>
            </a:xfrm>
            <a:custGeom>
              <a:avLst/>
              <a:gdLst>
                <a:gd name="T0" fmla="*/ 2 w 6"/>
                <a:gd name="T1" fmla="*/ 0 h 15"/>
                <a:gd name="T2" fmla="*/ 2 w 6"/>
                <a:gd name="T3" fmla="*/ 0 h 15"/>
                <a:gd name="T4" fmla="*/ 3 w 6"/>
                <a:gd name="T5" fmla="*/ 4 h 15"/>
                <a:gd name="T6" fmla="*/ 3 w 6"/>
                <a:gd name="T7" fmla="*/ 8 h 15"/>
                <a:gd name="T8" fmla="*/ 3 w 6"/>
                <a:gd name="T9" fmla="*/ 11 h 15"/>
                <a:gd name="T10" fmla="*/ 5 w 6"/>
                <a:gd name="T11" fmla="*/ 12 h 15"/>
                <a:gd name="T12" fmla="*/ 6 w 6"/>
                <a:gd name="T13" fmla="*/ 14 h 15"/>
                <a:gd name="T14" fmla="*/ 6 w 6"/>
                <a:gd name="T15" fmla="*/ 14 h 15"/>
                <a:gd name="T16" fmla="*/ 5 w 6"/>
                <a:gd name="T17" fmla="*/ 15 h 15"/>
                <a:gd name="T18" fmla="*/ 3 w 6"/>
                <a:gd name="T19" fmla="*/ 14 h 15"/>
                <a:gd name="T20" fmla="*/ 0 w 6"/>
                <a:gd name="T21" fmla="*/ 10 h 15"/>
                <a:gd name="T22" fmla="*/ 0 w 6"/>
                <a:gd name="T23" fmla="*/ 4 h 15"/>
                <a:gd name="T24" fmla="*/ 0 w 6"/>
                <a:gd name="T25" fmla="*/ 1 h 15"/>
                <a:gd name="T26" fmla="*/ 2 w 6"/>
                <a:gd name="T2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5">
                  <a:moveTo>
                    <a:pt x="2" y="0"/>
                  </a:moveTo>
                  <a:lnTo>
                    <a:pt x="2" y="0"/>
                  </a:lnTo>
                  <a:lnTo>
                    <a:pt x="3" y="4"/>
                  </a:lnTo>
                  <a:lnTo>
                    <a:pt x="3" y="8"/>
                  </a:lnTo>
                  <a:lnTo>
                    <a:pt x="3" y="11"/>
                  </a:lnTo>
                  <a:lnTo>
                    <a:pt x="5" y="12"/>
                  </a:lnTo>
                  <a:lnTo>
                    <a:pt x="6" y="14"/>
                  </a:lnTo>
                  <a:lnTo>
                    <a:pt x="6" y="14"/>
                  </a:lnTo>
                  <a:lnTo>
                    <a:pt x="5" y="15"/>
                  </a:lnTo>
                  <a:lnTo>
                    <a:pt x="3" y="14"/>
                  </a:lnTo>
                  <a:lnTo>
                    <a:pt x="0" y="10"/>
                  </a:lnTo>
                  <a:lnTo>
                    <a:pt x="0" y="4"/>
                  </a:lnTo>
                  <a:lnTo>
                    <a:pt x="0" y="1"/>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9" name="Freeform 430"/>
            <p:cNvSpPr/>
            <p:nvPr/>
          </p:nvSpPr>
          <p:spPr bwMode="auto">
            <a:xfrm>
              <a:off x="6009988" y="4009572"/>
              <a:ext cx="43007" cy="110582"/>
            </a:xfrm>
            <a:custGeom>
              <a:avLst/>
              <a:gdLst>
                <a:gd name="T0" fmla="*/ 0 w 13"/>
                <a:gd name="T1" fmla="*/ 16 h 34"/>
                <a:gd name="T2" fmla="*/ 0 w 13"/>
                <a:gd name="T3" fmla="*/ 16 h 34"/>
                <a:gd name="T4" fmla="*/ 3 w 13"/>
                <a:gd name="T5" fmla="*/ 16 h 34"/>
                <a:gd name="T6" fmla="*/ 5 w 13"/>
                <a:gd name="T7" fmla="*/ 16 h 34"/>
                <a:gd name="T8" fmla="*/ 9 w 13"/>
                <a:gd name="T9" fmla="*/ 13 h 34"/>
                <a:gd name="T10" fmla="*/ 12 w 13"/>
                <a:gd name="T11" fmla="*/ 7 h 34"/>
                <a:gd name="T12" fmla="*/ 10 w 13"/>
                <a:gd name="T13" fmla="*/ 0 h 34"/>
                <a:gd name="T14" fmla="*/ 10 w 13"/>
                <a:gd name="T15" fmla="*/ 0 h 34"/>
                <a:gd name="T16" fmla="*/ 12 w 13"/>
                <a:gd name="T17" fmla="*/ 3 h 34"/>
                <a:gd name="T18" fmla="*/ 13 w 13"/>
                <a:gd name="T19" fmla="*/ 6 h 34"/>
                <a:gd name="T20" fmla="*/ 13 w 13"/>
                <a:gd name="T21" fmla="*/ 16 h 34"/>
                <a:gd name="T22" fmla="*/ 12 w 13"/>
                <a:gd name="T23" fmla="*/ 26 h 34"/>
                <a:gd name="T24" fmla="*/ 13 w 13"/>
                <a:gd name="T25" fmla="*/ 34 h 34"/>
                <a:gd name="T26" fmla="*/ 13 w 13"/>
                <a:gd name="T27" fmla="*/ 34 h 34"/>
                <a:gd name="T28" fmla="*/ 12 w 13"/>
                <a:gd name="T29" fmla="*/ 30 h 34"/>
                <a:gd name="T30" fmla="*/ 9 w 13"/>
                <a:gd name="T31" fmla="*/ 26 h 34"/>
                <a:gd name="T32" fmla="*/ 9 w 13"/>
                <a:gd name="T33" fmla="*/ 24 h 34"/>
                <a:gd name="T34" fmla="*/ 9 w 13"/>
                <a:gd name="T35" fmla="*/ 21 h 34"/>
                <a:gd name="T36" fmla="*/ 9 w 13"/>
                <a:gd name="T37" fmla="*/ 21 h 34"/>
                <a:gd name="T38" fmla="*/ 9 w 13"/>
                <a:gd name="T39" fmla="*/ 18 h 34"/>
                <a:gd name="T40" fmla="*/ 6 w 13"/>
                <a:gd name="T41" fmla="*/ 18 h 34"/>
                <a:gd name="T42" fmla="*/ 3 w 13"/>
                <a:gd name="T43" fmla="*/ 20 h 34"/>
                <a:gd name="T44" fmla="*/ 3 w 13"/>
                <a:gd name="T45" fmla="*/ 21 h 34"/>
                <a:gd name="T46" fmla="*/ 3 w 13"/>
                <a:gd name="T47" fmla="*/ 21 h 34"/>
                <a:gd name="T48" fmla="*/ 2 w 13"/>
                <a:gd name="T49" fmla="*/ 20 h 34"/>
                <a:gd name="T50" fmla="*/ 2 w 13"/>
                <a:gd name="T51" fmla="*/ 18 h 34"/>
                <a:gd name="T52" fmla="*/ 2 w 13"/>
                <a:gd name="T53" fmla="*/ 16 h 34"/>
                <a:gd name="T54" fmla="*/ 0 w 13"/>
                <a:gd name="T55"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34">
                  <a:moveTo>
                    <a:pt x="0" y="16"/>
                  </a:moveTo>
                  <a:lnTo>
                    <a:pt x="0" y="16"/>
                  </a:lnTo>
                  <a:lnTo>
                    <a:pt x="3" y="16"/>
                  </a:lnTo>
                  <a:lnTo>
                    <a:pt x="5" y="16"/>
                  </a:lnTo>
                  <a:lnTo>
                    <a:pt x="9" y="13"/>
                  </a:lnTo>
                  <a:lnTo>
                    <a:pt x="12" y="7"/>
                  </a:lnTo>
                  <a:lnTo>
                    <a:pt x="10" y="0"/>
                  </a:lnTo>
                  <a:lnTo>
                    <a:pt x="10" y="0"/>
                  </a:lnTo>
                  <a:lnTo>
                    <a:pt x="12" y="3"/>
                  </a:lnTo>
                  <a:lnTo>
                    <a:pt x="13" y="6"/>
                  </a:lnTo>
                  <a:lnTo>
                    <a:pt x="13" y="16"/>
                  </a:lnTo>
                  <a:lnTo>
                    <a:pt x="12" y="26"/>
                  </a:lnTo>
                  <a:lnTo>
                    <a:pt x="13" y="34"/>
                  </a:lnTo>
                  <a:lnTo>
                    <a:pt x="13" y="34"/>
                  </a:lnTo>
                  <a:lnTo>
                    <a:pt x="12" y="30"/>
                  </a:lnTo>
                  <a:lnTo>
                    <a:pt x="9" y="26"/>
                  </a:lnTo>
                  <a:lnTo>
                    <a:pt x="9" y="24"/>
                  </a:lnTo>
                  <a:lnTo>
                    <a:pt x="9" y="21"/>
                  </a:lnTo>
                  <a:lnTo>
                    <a:pt x="9" y="21"/>
                  </a:lnTo>
                  <a:lnTo>
                    <a:pt x="9" y="18"/>
                  </a:lnTo>
                  <a:lnTo>
                    <a:pt x="6" y="18"/>
                  </a:lnTo>
                  <a:lnTo>
                    <a:pt x="3" y="20"/>
                  </a:lnTo>
                  <a:lnTo>
                    <a:pt x="3" y="21"/>
                  </a:lnTo>
                  <a:lnTo>
                    <a:pt x="3" y="21"/>
                  </a:lnTo>
                  <a:lnTo>
                    <a:pt x="2" y="20"/>
                  </a:lnTo>
                  <a:lnTo>
                    <a:pt x="2" y="18"/>
                  </a:lnTo>
                  <a:lnTo>
                    <a:pt x="2" y="16"/>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0" name="Freeform 431"/>
            <p:cNvSpPr/>
            <p:nvPr/>
          </p:nvSpPr>
          <p:spPr bwMode="auto">
            <a:xfrm>
              <a:off x="6009987" y="4009572"/>
              <a:ext cx="43007" cy="110582"/>
            </a:xfrm>
            <a:custGeom>
              <a:avLst/>
              <a:gdLst>
                <a:gd name="T0" fmla="*/ 0 w 13"/>
                <a:gd name="T1" fmla="*/ 16 h 34"/>
                <a:gd name="T2" fmla="*/ 0 w 13"/>
                <a:gd name="T3" fmla="*/ 16 h 34"/>
                <a:gd name="T4" fmla="*/ 3 w 13"/>
                <a:gd name="T5" fmla="*/ 16 h 34"/>
                <a:gd name="T6" fmla="*/ 5 w 13"/>
                <a:gd name="T7" fmla="*/ 16 h 34"/>
                <a:gd name="T8" fmla="*/ 9 w 13"/>
                <a:gd name="T9" fmla="*/ 13 h 34"/>
                <a:gd name="T10" fmla="*/ 12 w 13"/>
                <a:gd name="T11" fmla="*/ 7 h 34"/>
                <a:gd name="T12" fmla="*/ 10 w 13"/>
                <a:gd name="T13" fmla="*/ 0 h 34"/>
                <a:gd name="T14" fmla="*/ 10 w 13"/>
                <a:gd name="T15" fmla="*/ 0 h 34"/>
                <a:gd name="T16" fmla="*/ 12 w 13"/>
                <a:gd name="T17" fmla="*/ 3 h 34"/>
                <a:gd name="T18" fmla="*/ 13 w 13"/>
                <a:gd name="T19" fmla="*/ 6 h 34"/>
                <a:gd name="T20" fmla="*/ 13 w 13"/>
                <a:gd name="T21" fmla="*/ 16 h 34"/>
                <a:gd name="T22" fmla="*/ 12 w 13"/>
                <a:gd name="T23" fmla="*/ 26 h 34"/>
                <a:gd name="T24" fmla="*/ 13 w 13"/>
                <a:gd name="T25" fmla="*/ 34 h 34"/>
                <a:gd name="T26" fmla="*/ 13 w 13"/>
                <a:gd name="T27" fmla="*/ 34 h 34"/>
                <a:gd name="T28" fmla="*/ 12 w 13"/>
                <a:gd name="T29" fmla="*/ 30 h 34"/>
                <a:gd name="T30" fmla="*/ 9 w 13"/>
                <a:gd name="T31" fmla="*/ 26 h 34"/>
                <a:gd name="T32" fmla="*/ 9 w 13"/>
                <a:gd name="T33" fmla="*/ 24 h 34"/>
                <a:gd name="T34" fmla="*/ 9 w 13"/>
                <a:gd name="T35" fmla="*/ 21 h 34"/>
                <a:gd name="T36" fmla="*/ 9 w 13"/>
                <a:gd name="T37" fmla="*/ 21 h 34"/>
                <a:gd name="T38" fmla="*/ 9 w 13"/>
                <a:gd name="T39" fmla="*/ 18 h 34"/>
                <a:gd name="T40" fmla="*/ 6 w 13"/>
                <a:gd name="T41" fmla="*/ 18 h 34"/>
                <a:gd name="T42" fmla="*/ 3 w 13"/>
                <a:gd name="T43" fmla="*/ 20 h 34"/>
                <a:gd name="T44" fmla="*/ 3 w 13"/>
                <a:gd name="T45" fmla="*/ 21 h 34"/>
                <a:gd name="T46" fmla="*/ 3 w 13"/>
                <a:gd name="T47" fmla="*/ 21 h 34"/>
                <a:gd name="T48" fmla="*/ 2 w 13"/>
                <a:gd name="T49" fmla="*/ 20 h 34"/>
                <a:gd name="T50" fmla="*/ 2 w 13"/>
                <a:gd name="T51" fmla="*/ 18 h 34"/>
                <a:gd name="T52" fmla="*/ 2 w 13"/>
                <a:gd name="T53" fmla="*/ 16 h 34"/>
                <a:gd name="T54" fmla="*/ 0 w 13"/>
                <a:gd name="T55"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34">
                  <a:moveTo>
                    <a:pt x="0" y="16"/>
                  </a:moveTo>
                  <a:lnTo>
                    <a:pt x="0" y="16"/>
                  </a:lnTo>
                  <a:lnTo>
                    <a:pt x="3" y="16"/>
                  </a:lnTo>
                  <a:lnTo>
                    <a:pt x="5" y="16"/>
                  </a:lnTo>
                  <a:lnTo>
                    <a:pt x="9" y="13"/>
                  </a:lnTo>
                  <a:lnTo>
                    <a:pt x="12" y="7"/>
                  </a:lnTo>
                  <a:lnTo>
                    <a:pt x="10" y="0"/>
                  </a:lnTo>
                  <a:lnTo>
                    <a:pt x="10" y="0"/>
                  </a:lnTo>
                  <a:lnTo>
                    <a:pt x="12" y="3"/>
                  </a:lnTo>
                  <a:lnTo>
                    <a:pt x="13" y="6"/>
                  </a:lnTo>
                  <a:lnTo>
                    <a:pt x="13" y="16"/>
                  </a:lnTo>
                  <a:lnTo>
                    <a:pt x="12" y="26"/>
                  </a:lnTo>
                  <a:lnTo>
                    <a:pt x="13" y="34"/>
                  </a:lnTo>
                  <a:lnTo>
                    <a:pt x="13" y="34"/>
                  </a:lnTo>
                  <a:lnTo>
                    <a:pt x="12" y="30"/>
                  </a:lnTo>
                  <a:lnTo>
                    <a:pt x="9" y="26"/>
                  </a:lnTo>
                  <a:lnTo>
                    <a:pt x="9" y="24"/>
                  </a:lnTo>
                  <a:lnTo>
                    <a:pt x="9" y="21"/>
                  </a:lnTo>
                  <a:lnTo>
                    <a:pt x="9" y="21"/>
                  </a:lnTo>
                  <a:lnTo>
                    <a:pt x="9" y="18"/>
                  </a:lnTo>
                  <a:lnTo>
                    <a:pt x="6" y="18"/>
                  </a:lnTo>
                  <a:lnTo>
                    <a:pt x="3" y="20"/>
                  </a:lnTo>
                  <a:lnTo>
                    <a:pt x="3" y="21"/>
                  </a:lnTo>
                  <a:lnTo>
                    <a:pt x="3" y="21"/>
                  </a:lnTo>
                  <a:lnTo>
                    <a:pt x="2" y="20"/>
                  </a:lnTo>
                  <a:lnTo>
                    <a:pt x="2" y="18"/>
                  </a:lnTo>
                  <a:lnTo>
                    <a:pt x="2" y="16"/>
                  </a:lnTo>
                  <a:lnTo>
                    <a:pt x="0" y="1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1" name="Freeform 432"/>
            <p:cNvSpPr/>
            <p:nvPr/>
          </p:nvSpPr>
          <p:spPr bwMode="auto">
            <a:xfrm>
              <a:off x="3736883" y="3524235"/>
              <a:ext cx="24574" cy="24574"/>
            </a:xfrm>
            <a:custGeom>
              <a:avLst/>
              <a:gdLst>
                <a:gd name="T0" fmla="*/ 3 w 9"/>
                <a:gd name="T1" fmla="*/ 0 h 9"/>
                <a:gd name="T2" fmla="*/ 3 w 9"/>
                <a:gd name="T3" fmla="*/ 0 h 9"/>
                <a:gd name="T4" fmla="*/ 4 w 9"/>
                <a:gd name="T5" fmla="*/ 1 h 9"/>
                <a:gd name="T6" fmla="*/ 4 w 9"/>
                <a:gd name="T7" fmla="*/ 3 h 9"/>
                <a:gd name="T8" fmla="*/ 4 w 9"/>
                <a:gd name="T9" fmla="*/ 3 h 9"/>
                <a:gd name="T10" fmla="*/ 4 w 9"/>
                <a:gd name="T11" fmla="*/ 4 h 9"/>
                <a:gd name="T12" fmla="*/ 9 w 9"/>
                <a:gd name="T13" fmla="*/ 9 h 9"/>
                <a:gd name="T14" fmla="*/ 9 w 9"/>
                <a:gd name="T15" fmla="*/ 9 h 9"/>
                <a:gd name="T16" fmla="*/ 6 w 9"/>
                <a:gd name="T17" fmla="*/ 7 h 9"/>
                <a:gd name="T18" fmla="*/ 1 w 9"/>
                <a:gd name="T19" fmla="*/ 6 h 9"/>
                <a:gd name="T20" fmla="*/ 1 w 9"/>
                <a:gd name="T21" fmla="*/ 6 h 9"/>
                <a:gd name="T22" fmla="*/ 3 w 9"/>
                <a:gd name="T23" fmla="*/ 6 h 9"/>
                <a:gd name="T24" fmla="*/ 3 w 9"/>
                <a:gd name="T25" fmla="*/ 6 h 9"/>
                <a:gd name="T26" fmla="*/ 1 w 9"/>
                <a:gd name="T27" fmla="*/ 4 h 9"/>
                <a:gd name="T28" fmla="*/ 1 w 9"/>
                <a:gd name="T29" fmla="*/ 4 h 9"/>
                <a:gd name="T30" fmla="*/ 1 w 9"/>
                <a:gd name="T31" fmla="*/ 3 h 9"/>
                <a:gd name="T32" fmla="*/ 3 w 9"/>
                <a:gd name="T33" fmla="*/ 3 h 9"/>
                <a:gd name="T34" fmla="*/ 3 w 9"/>
                <a:gd name="T35" fmla="*/ 3 h 9"/>
                <a:gd name="T36" fmla="*/ 1 w 9"/>
                <a:gd name="T37" fmla="*/ 1 h 9"/>
                <a:gd name="T38" fmla="*/ 0 w 9"/>
                <a:gd name="T39" fmla="*/ 0 h 9"/>
                <a:gd name="T40" fmla="*/ 3 w 9"/>
                <a:gd name="T4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9">
                  <a:moveTo>
                    <a:pt x="3" y="0"/>
                  </a:moveTo>
                  <a:lnTo>
                    <a:pt x="3" y="0"/>
                  </a:lnTo>
                  <a:lnTo>
                    <a:pt x="4" y="1"/>
                  </a:lnTo>
                  <a:lnTo>
                    <a:pt x="4" y="3"/>
                  </a:lnTo>
                  <a:lnTo>
                    <a:pt x="4" y="3"/>
                  </a:lnTo>
                  <a:lnTo>
                    <a:pt x="4" y="4"/>
                  </a:lnTo>
                  <a:lnTo>
                    <a:pt x="9" y="9"/>
                  </a:lnTo>
                  <a:lnTo>
                    <a:pt x="9" y="9"/>
                  </a:lnTo>
                  <a:lnTo>
                    <a:pt x="6" y="7"/>
                  </a:lnTo>
                  <a:lnTo>
                    <a:pt x="1" y="6"/>
                  </a:lnTo>
                  <a:lnTo>
                    <a:pt x="1" y="6"/>
                  </a:lnTo>
                  <a:lnTo>
                    <a:pt x="3" y="6"/>
                  </a:lnTo>
                  <a:lnTo>
                    <a:pt x="3" y="6"/>
                  </a:lnTo>
                  <a:lnTo>
                    <a:pt x="1" y="4"/>
                  </a:lnTo>
                  <a:lnTo>
                    <a:pt x="1" y="4"/>
                  </a:lnTo>
                  <a:lnTo>
                    <a:pt x="1" y="3"/>
                  </a:lnTo>
                  <a:lnTo>
                    <a:pt x="3" y="3"/>
                  </a:lnTo>
                  <a:lnTo>
                    <a:pt x="3" y="3"/>
                  </a:lnTo>
                  <a:lnTo>
                    <a:pt x="1" y="1"/>
                  </a:lnTo>
                  <a:lnTo>
                    <a:pt x="0" y="0"/>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2" name="Freeform 433"/>
            <p:cNvSpPr/>
            <p:nvPr/>
          </p:nvSpPr>
          <p:spPr bwMode="auto">
            <a:xfrm>
              <a:off x="3736883" y="3524235"/>
              <a:ext cx="24574" cy="24574"/>
            </a:xfrm>
            <a:custGeom>
              <a:avLst/>
              <a:gdLst>
                <a:gd name="T0" fmla="*/ 3 w 9"/>
                <a:gd name="T1" fmla="*/ 0 h 9"/>
                <a:gd name="T2" fmla="*/ 3 w 9"/>
                <a:gd name="T3" fmla="*/ 0 h 9"/>
                <a:gd name="T4" fmla="*/ 4 w 9"/>
                <a:gd name="T5" fmla="*/ 1 h 9"/>
                <a:gd name="T6" fmla="*/ 4 w 9"/>
                <a:gd name="T7" fmla="*/ 3 h 9"/>
                <a:gd name="T8" fmla="*/ 4 w 9"/>
                <a:gd name="T9" fmla="*/ 3 h 9"/>
                <a:gd name="T10" fmla="*/ 4 w 9"/>
                <a:gd name="T11" fmla="*/ 4 h 9"/>
                <a:gd name="T12" fmla="*/ 9 w 9"/>
                <a:gd name="T13" fmla="*/ 9 h 9"/>
                <a:gd name="T14" fmla="*/ 9 w 9"/>
                <a:gd name="T15" fmla="*/ 9 h 9"/>
                <a:gd name="T16" fmla="*/ 6 w 9"/>
                <a:gd name="T17" fmla="*/ 7 h 9"/>
                <a:gd name="T18" fmla="*/ 1 w 9"/>
                <a:gd name="T19" fmla="*/ 6 h 9"/>
                <a:gd name="T20" fmla="*/ 1 w 9"/>
                <a:gd name="T21" fmla="*/ 6 h 9"/>
                <a:gd name="T22" fmla="*/ 3 w 9"/>
                <a:gd name="T23" fmla="*/ 6 h 9"/>
                <a:gd name="T24" fmla="*/ 3 w 9"/>
                <a:gd name="T25" fmla="*/ 6 h 9"/>
                <a:gd name="T26" fmla="*/ 1 w 9"/>
                <a:gd name="T27" fmla="*/ 4 h 9"/>
                <a:gd name="T28" fmla="*/ 1 w 9"/>
                <a:gd name="T29" fmla="*/ 4 h 9"/>
                <a:gd name="T30" fmla="*/ 1 w 9"/>
                <a:gd name="T31" fmla="*/ 3 h 9"/>
                <a:gd name="T32" fmla="*/ 3 w 9"/>
                <a:gd name="T33" fmla="*/ 3 h 9"/>
                <a:gd name="T34" fmla="*/ 3 w 9"/>
                <a:gd name="T35" fmla="*/ 3 h 9"/>
                <a:gd name="T36" fmla="*/ 1 w 9"/>
                <a:gd name="T37" fmla="*/ 1 h 9"/>
                <a:gd name="T38" fmla="*/ 0 w 9"/>
                <a:gd name="T39" fmla="*/ 0 h 9"/>
                <a:gd name="T40" fmla="*/ 3 w 9"/>
                <a:gd name="T4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9">
                  <a:moveTo>
                    <a:pt x="3" y="0"/>
                  </a:moveTo>
                  <a:lnTo>
                    <a:pt x="3" y="0"/>
                  </a:lnTo>
                  <a:lnTo>
                    <a:pt x="4" y="1"/>
                  </a:lnTo>
                  <a:lnTo>
                    <a:pt x="4" y="3"/>
                  </a:lnTo>
                  <a:lnTo>
                    <a:pt x="4" y="3"/>
                  </a:lnTo>
                  <a:lnTo>
                    <a:pt x="4" y="4"/>
                  </a:lnTo>
                  <a:lnTo>
                    <a:pt x="9" y="9"/>
                  </a:lnTo>
                  <a:lnTo>
                    <a:pt x="9" y="9"/>
                  </a:lnTo>
                  <a:lnTo>
                    <a:pt x="6" y="7"/>
                  </a:lnTo>
                  <a:lnTo>
                    <a:pt x="1" y="6"/>
                  </a:lnTo>
                  <a:lnTo>
                    <a:pt x="1" y="6"/>
                  </a:lnTo>
                  <a:lnTo>
                    <a:pt x="3" y="6"/>
                  </a:lnTo>
                  <a:lnTo>
                    <a:pt x="3" y="6"/>
                  </a:lnTo>
                  <a:lnTo>
                    <a:pt x="1" y="4"/>
                  </a:lnTo>
                  <a:lnTo>
                    <a:pt x="1" y="4"/>
                  </a:lnTo>
                  <a:lnTo>
                    <a:pt x="1" y="3"/>
                  </a:lnTo>
                  <a:lnTo>
                    <a:pt x="3" y="3"/>
                  </a:lnTo>
                  <a:lnTo>
                    <a:pt x="3" y="3"/>
                  </a:lnTo>
                  <a:lnTo>
                    <a:pt x="1" y="1"/>
                  </a:lnTo>
                  <a:lnTo>
                    <a:pt x="0" y="0"/>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3" name="Freeform 434"/>
            <p:cNvSpPr/>
            <p:nvPr/>
          </p:nvSpPr>
          <p:spPr bwMode="auto">
            <a:xfrm>
              <a:off x="5573798" y="4132442"/>
              <a:ext cx="24574" cy="36861"/>
            </a:xfrm>
            <a:custGeom>
              <a:avLst/>
              <a:gdLst>
                <a:gd name="T0" fmla="*/ 7 w 8"/>
                <a:gd name="T1" fmla="*/ 6 h 13"/>
                <a:gd name="T2" fmla="*/ 7 w 8"/>
                <a:gd name="T3" fmla="*/ 6 h 13"/>
                <a:gd name="T4" fmla="*/ 4 w 8"/>
                <a:gd name="T5" fmla="*/ 6 h 13"/>
                <a:gd name="T6" fmla="*/ 2 w 8"/>
                <a:gd name="T7" fmla="*/ 8 h 13"/>
                <a:gd name="T8" fmla="*/ 2 w 8"/>
                <a:gd name="T9" fmla="*/ 12 h 13"/>
                <a:gd name="T10" fmla="*/ 2 w 8"/>
                <a:gd name="T11" fmla="*/ 12 h 13"/>
                <a:gd name="T12" fmla="*/ 1 w 8"/>
                <a:gd name="T13" fmla="*/ 13 h 13"/>
                <a:gd name="T14" fmla="*/ 1 w 8"/>
                <a:gd name="T15" fmla="*/ 10 h 13"/>
                <a:gd name="T16" fmla="*/ 1 w 8"/>
                <a:gd name="T17" fmla="*/ 8 h 13"/>
                <a:gd name="T18" fmla="*/ 1 w 8"/>
                <a:gd name="T19" fmla="*/ 8 h 13"/>
                <a:gd name="T20" fmla="*/ 0 w 8"/>
                <a:gd name="T21" fmla="*/ 8 h 13"/>
                <a:gd name="T22" fmla="*/ 0 w 8"/>
                <a:gd name="T23" fmla="*/ 8 h 13"/>
                <a:gd name="T24" fmla="*/ 1 w 8"/>
                <a:gd name="T25" fmla="*/ 2 h 13"/>
                <a:gd name="T26" fmla="*/ 4 w 8"/>
                <a:gd name="T27" fmla="*/ 0 h 13"/>
                <a:gd name="T28" fmla="*/ 7 w 8"/>
                <a:gd name="T29" fmla="*/ 0 h 13"/>
                <a:gd name="T30" fmla="*/ 7 w 8"/>
                <a:gd name="T31" fmla="*/ 0 h 13"/>
                <a:gd name="T32" fmla="*/ 5 w 8"/>
                <a:gd name="T33" fmla="*/ 2 h 13"/>
                <a:gd name="T34" fmla="*/ 4 w 8"/>
                <a:gd name="T35" fmla="*/ 2 h 13"/>
                <a:gd name="T36" fmla="*/ 4 w 8"/>
                <a:gd name="T37" fmla="*/ 2 h 13"/>
                <a:gd name="T38" fmla="*/ 5 w 8"/>
                <a:gd name="T39" fmla="*/ 5 h 13"/>
                <a:gd name="T40" fmla="*/ 8 w 8"/>
                <a:gd name="T41" fmla="*/ 6 h 13"/>
                <a:gd name="T42" fmla="*/ 8 w 8"/>
                <a:gd name="T43" fmla="*/ 6 h 13"/>
                <a:gd name="T44" fmla="*/ 7 w 8"/>
                <a:gd name="T45" fmla="*/ 8 h 13"/>
                <a:gd name="T46" fmla="*/ 7 w 8"/>
                <a:gd name="T4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3">
                  <a:moveTo>
                    <a:pt x="7" y="6"/>
                  </a:moveTo>
                  <a:lnTo>
                    <a:pt x="7" y="6"/>
                  </a:lnTo>
                  <a:lnTo>
                    <a:pt x="4" y="6"/>
                  </a:lnTo>
                  <a:lnTo>
                    <a:pt x="2" y="8"/>
                  </a:lnTo>
                  <a:lnTo>
                    <a:pt x="2" y="12"/>
                  </a:lnTo>
                  <a:lnTo>
                    <a:pt x="2" y="12"/>
                  </a:lnTo>
                  <a:lnTo>
                    <a:pt x="1" y="13"/>
                  </a:lnTo>
                  <a:lnTo>
                    <a:pt x="1" y="10"/>
                  </a:lnTo>
                  <a:lnTo>
                    <a:pt x="1" y="8"/>
                  </a:lnTo>
                  <a:lnTo>
                    <a:pt x="1" y="8"/>
                  </a:lnTo>
                  <a:lnTo>
                    <a:pt x="0" y="8"/>
                  </a:lnTo>
                  <a:lnTo>
                    <a:pt x="0" y="8"/>
                  </a:lnTo>
                  <a:lnTo>
                    <a:pt x="1" y="2"/>
                  </a:lnTo>
                  <a:lnTo>
                    <a:pt x="4" y="0"/>
                  </a:lnTo>
                  <a:lnTo>
                    <a:pt x="7" y="0"/>
                  </a:lnTo>
                  <a:lnTo>
                    <a:pt x="7" y="0"/>
                  </a:lnTo>
                  <a:lnTo>
                    <a:pt x="5" y="2"/>
                  </a:lnTo>
                  <a:lnTo>
                    <a:pt x="4" y="2"/>
                  </a:lnTo>
                  <a:lnTo>
                    <a:pt x="4" y="2"/>
                  </a:lnTo>
                  <a:lnTo>
                    <a:pt x="5" y="5"/>
                  </a:lnTo>
                  <a:lnTo>
                    <a:pt x="8" y="6"/>
                  </a:lnTo>
                  <a:lnTo>
                    <a:pt x="8" y="6"/>
                  </a:lnTo>
                  <a:lnTo>
                    <a:pt x="7" y="8"/>
                  </a:lnTo>
                  <a:lnTo>
                    <a:pt x="7"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4" name="Freeform 435"/>
            <p:cNvSpPr/>
            <p:nvPr/>
          </p:nvSpPr>
          <p:spPr bwMode="auto">
            <a:xfrm>
              <a:off x="5573798" y="4132442"/>
              <a:ext cx="24574" cy="36861"/>
            </a:xfrm>
            <a:custGeom>
              <a:avLst/>
              <a:gdLst>
                <a:gd name="T0" fmla="*/ 7 w 8"/>
                <a:gd name="T1" fmla="*/ 6 h 13"/>
                <a:gd name="T2" fmla="*/ 7 w 8"/>
                <a:gd name="T3" fmla="*/ 6 h 13"/>
                <a:gd name="T4" fmla="*/ 4 w 8"/>
                <a:gd name="T5" fmla="*/ 6 h 13"/>
                <a:gd name="T6" fmla="*/ 2 w 8"/>
                <a:gd name="T7" fmla="*/ 8 h 13"/>
                <a:gd name="T8" fmla="*/ 2 w 8"/>
                <a:gd name="T9" fmla="*/ 12 h 13"/>
                <a:gd name="T10" fmla="*/ 2 w 8"/>
                <a:gd name="T11" fmla="*/ 12 h 13"/>
                <a:gd name="T12" fmla="*/ 1 w 8"/>
                <a:gd name="T13" fmla="*/ 13 h 13"/>
                <a:gd name="T14" fmla="*/ 1 w 8"/>
                <a:gd name="T15" fmla="*/ 10 h 13"/>
                <a:gd name="T16" fmla="*/ 1 w 8"/>
                <a:gd name="T17" fmla="*/ 8 h 13"/>
                <a:gd name="T18" fmla="*/ 1 w 8"/>
                <a:gd name="T19" fmla="*/ 8 h 13"/>
                <a:gd name="T20" fmla="*/ 0 w 8"/>
                <a:gd name="T21" fmla="*/ 8 h 13"/>
                <a:gd name="T22" fmla="*/ 0 w 8"/>
                <a:gd name="T23" fmla="*/ 8 h 13"/>
                <a:gd name="T24" fmla="*/ 1 w 8"/>
                <a:gd name="T25" fmla="*/ 2 h 13"/>
                <a:gd name="T26" fmla="*/ 4 w 8"/>
                <a:gd name="T27" fmla="*/ 0 h 13"/>
                <a:gd name="T28" fmla="*/ 7 w 8"/>
                <a:gd name="T29" fmla="*/ 0 h 13"/>
                <a:gd name="T30" fmla="*/ 7 w 8"/>
                <a:gd name="T31" fmla="*/ 0 h 13"/>
                <a:gd name="T32" fmla="*/ 5 w 8"/>
                <a:gd name="T33" fmla="*/ 2 h 13"/>
                <a:gd name="T34" fmla="*/ 4 w 8"/>
                <a:gd name="T35" fmla="*/ 2 h 13"/>
                <a:gd name="T36" fmla="*/ 4 w 8"/>
                <a:gd name="T37" fmla="*/ 2 h 13"/>
                <a:gd name="T38" fmla="*/ 5 w 8"/>
                <a:gd name="T39" fmla="*/ 5 h 13"/>
                <a:gd name="T40" fmla="*/ 8 w 8"/>
                <a:gd name="T41" fmla="*/ 6 h 13"/>
                <a:gd name="T42" fmla="*/ 8 w 8"/>
                <a:gd name="T43" fmla="*/ 6 h 13"/>
                <a:gd name="T44" fmla="*/ 7 w 8"/>
                <a:gd name="T45" fmla="*/ 8 h 13"/>
                <a:gd name="T46" fmla="*/ 7 w 8"/>
                <a:gd name="T4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3">
                  <a:moveTo>
                    <a:pt x="7" y="6"/>
                  </a:moveTo>
                  <a:lnTo>
                    <a:pt x="7" y="6"/>
                  </a:lnTo>
                  <a:lnTo>
                    <a:pt x="4" y="6"/>
                  </a:lnTo>
                  <a:lnTo>
                    <a:pt x="2" y="8"/>
                  </a:lnTo>
                  <a:lnTo>
                    <a:pt x="2" y="12"/>
                  </a:lnTo>
                  <a:lnTo>
                    <a:pt x="2" y="12"/>
                  </a:lnTo>
                  <a:lnTo>
                    <a:pt x="1" y="13"/>
                  </a:lnTo>
                  <a:lnTo>
                    <a:pt x="1" y="10"/>
                  </a:lnTo>
                  <a:lnTo>
                    <a:pt x="1" y="8"/>
                  </a:lnTo>
                  <a:lnTo>
                    <a:pt x="1" y="8"/>
                  </a:lnTo>
                  <a:lnTo>
                    <a:pt x="0" y="8"/>
                  </a:lnTo>
                  <a:lnTo>
                    <a:pt x="0" y="8"/>
                  </a:lnTo>
                  <a:lnTo>
                    <a:pt x="1" y="2"/>
                  </a:lnTo>
                  <a:lnTo>
                    <a:pt x="4" y="0"/>
                  </a:lnTo>
                  <a:lnTo>
                    <a:pt x="7" y="0"/>
                  </a:lnTo>
                  <a:lnTo>
                    <a:pt x="7" y="0"/>
                  </a:lnTo>
                  <a:lnTo>
                    <a:pt x="5" y="2"/>
                  </a:lnTo>
                  <a:lnTo>
                    <a:pt x="4" y="2"/>
                  </a:lnTo>
                  <a:lnTo>
                    <a:pt x="4" y="2"/>
                  </a:lnTo>
                  <a:lnTo>
                    <a:pt x="5" y="5"/>
                  </a:lnTo>
                  <a:lnTo>
                    <a:pt x="8" y="6"/>
                  </a:lnTo>
                  <a:lnTo>
                    <a:pt x="8" y="6"/>
                  </a:lnTo>
                  <a:lnTo>
                    <a:pt x="7" y="8"/>
                  </a:lnTo>
                  <a:lnTo>
                    <a:pt x="7"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5" name="Freeform 436"/>
            <p:cNvSpPr/>
            <p:nvPr/>
          </p:nvSpPr>
          <p:spPr bwMode="auto">
            <a:xfrm>
              <a:off x="5518504" y="4181590"/>
              <a:ext cx="61435" cy="135159"/>
            </a:xfrm>
            <a:custGeom>
              <a:avLst/>
              <a:gdLst>
                <a:gd name="T0" fmla="*/ 9 w 21"/>
                <a:gd name="T1" fmla="*/ 42 h 46"/>
                <a:gd name="T2" fmla="*/ 9 w 21"/>
                <a:gd name="T3" fmla="*/ 42 h 46"/>
                <a:gd name="T4" fmla="*/ 6 w 21"/>
                <a:gd name="T5" fmla="*/ 46 h 46"/>
                <a:gd name="T6" fmla="*/ 4 w 21"/>
                <a:gd name="T7" fmla="*/ 46 h 46"/>
                <a:gd name="T8" fmla="*/ 1 w 21"/>
                <a:gd name="T9" fmla="*/ 46 h 46"/>
                <a:gd name="T10" fmla="*/ 1 w 21"/>
                <a:gd name="T11" fmla="*/ 46 h 46"/>
                <a:gd name="T12" fmla="*/ 3 w 21"/>
                <a:gd name="T13" fmla="*/ 42 h 46"/>
                <a:gd name="T14" fmla="*/ 4 w 21"/>
                <a:gd name="T15" fmla="*/ 39 h 46"/>
                <a:gd name="T16" fmla="*/ 3 w 21"/>
                <a:gd name="T17" fmla="*/ 34 h 46"/>
                <a:gd name="T18" fmla="*/ 3 w 21"/>
                <a:gd name="T19" fmla="*/ 32 h 46"/>
                <a:gd name="T20" fmla="*/ 3 w 21"/>
                <a:gd name="T21" fmla="*/ 32 h 46"/>
                <a:gd name="T22" fmla="*/ 1 w 21"/>
                <a:gd name="T23" fmla="*/ 33 h 46"/>
                <a:gd name="T24" fmla="*/ 1 w 21"/>
                <a:gd name="T25" fmla="*/ 34 h 46"/>
                <a:gd name="T26" fmla="*/ 1 w 21"/>
                <a:gd name="T27" fmla="*/ 34 h 46"/>
                <a:gd name="T28" fmla="*/ 0 w 21"/>
                <a:gd name="T29" fmla="*/ 30 h 46"/>
                <a:gd name="T30" fmla="*/ 0 w 21"/>
                <a:gd name="T31" fmla="*/ 26 h 46"/>
                <a:gd name="T32" fmla="*/ 1 w 21"/>
                <a:gd name="T33" fmla="*/ 22 h 46"/>
                <a:gd name="T34" fmla="*/ 4 w 21"/>
                <a:gd name="T35" fmla="*/ 17 h 46"/>
                <a:gd name="T36" fmla="*/ 4 w 21"/>
                <a:gd name="T37" fmla="*/ 17 h 46"/>
                <a:gd name="T38" fmla="*/ 10 w 21"/>
                <a:gd name="T39" fmla="*/ 7 h 46"/>
                <a:gd name="T40" fmla="*/ 10 w 21"/>
                <a:gd name="T41" fmla="*/ 7 h 46"/>
                <a:gd name="T42" fmla="*/ 17 w 21"/>
                <a:gd name="T43" fmla="*/ 0 h 46"/>
                <a:gd name="T44" fmla="*/ 17 w 21"/>
                <a:gd name="T45" fmla="*/ 0 h 46"/>
                <a:gd name="T46" fmla="*/ 19 w 21"/>
                <a:gd name="T47" fmla="*/ 2 h 46"/>
                <a:gd name="T48" fmla="*/ 20 w 21"/>
                <a:gd name="T49" fmla="*/ 3 h 46"/>
                <a:gd name="T50" fmla="*/ 21 w 21"/>
                <a:gd name="T51" fmla="*/ 7 h 46"/>
                <a:gd name="T52" fmla="*/ 21 w 21"/>
                <a:gd name="T53" fmla="*/ 7 h 46"/>
                <a:gd name="T54" fmla="*/ 19 w 21"/>
                <a:gd name="T55" fmla="*/ 7 h 46"/>
                <a:gd name="T56" fmla="*/ 16 w 21"/>
                <a:gd name="T57" fmla="*/ 10 h 46"/>
                <a:gd name="T58" fmla="*/ 13 w 21"/>
                <a:gd name="T59" fmla="*/ 14 h 46"/>
                <a:gd name="T60" fmla="*/ 11 w 21"/>
                <a:gd name="T61" fmla="*/ 20 h 46"/>
                <a:gd name="T62" fmla="*/ 9 w 21"/>
                <a:gd name="T63" fmla="*/ 33 h 46"/>
                <a:gd name="T64" fmla="*/ 9 w 21"/>
                <a:gd name="T65"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46">
                  <a:moveTo>
                    <a:pt x="9" y="42"/>
                  </a:moveTo>
                  <a:lnTo>
                    <a:pt x="9" y="42"/>
                  </a:lnTo>
                  <a:lnTo>
                    <a:pt x="6" y="46"/>
                  </a:lnTo>
                  <a:lnTo>
                    <a:pt x="4" y="46"/>
                  </a:lnTo>
                  <a:lnTo>
                    <a:pt x="1" y="46"/>
                  </a:lnTo>
                  <a:lnTo>
                    <a:pt x="1" y="46"/>
                  </a:lnTo>
                  <a:lnTo>
                    <a:pt x="3" y="42"/>
                  </a:lnTo>
                  <a:lnTo>
                    <a:pt x="4" y="39"/>
                  </a:lnTo>
                  <a:lnTo>
                    <a:pt x="3" y="34"/>
                  </a:lnTo>
                  <a:lnTo>
                    <a:pt x="3" y="32"/>
                  </a:lnTo>
                  <a:lnTo>
                    <a:pt x="3" y="32"/>
                  </a:lnTo>
                  <a:lnTo>
                    <a:pt x="1" y="33"/>
                  </a:lnTo>
                  <a:lnTo>
                    <a:pt x="1" y="34"/>
                  </a:lnTo>
                  <a:lnTo>
                    <a:pt x="1" y="34"/>
                  </a:lnTo>
                  <a:lnTo>
                    <a:pt x="0" y="30"/>
                  </a:lnTo>
                  <a:lnTo>
                    <a:pt x="0" y="26"/>
                  </a:lnTo>
                  <a:lnTo>
                    <a:pt x="1" y="22"/>
                  </a:lnTo>
                  <a:lnTo>
                    <a:pt x="4" y="17"/>
                  </a:lnTo>
                  <a:lnTo>
                    <a:pt x="4" y="17"/>
                  </a:lnTo>
                  <a:lnTo>
                    <a:pt x="10" y="7"/>
                  </a:lnTo>
                  <a:lnTo>
                    <a:pt x="10" y="7"/>
                  </a:lnTo>
                  <a:lnTo>
                    <a:pt x="17" y="0"/>
                  </a:lnTo>
                  <a:lnTo>
                    <a:pt x="17" y="0"/>
                  </a:lnTo>
                  <a:lnTo>
                    <a:pt x="19" y="2"/>
                  </a:lnTo>
                  <a:lnTo>
                    <a:pt x="20" y="3"/>
                  </a:lnTo>
                  <a:lnTo>
                    <a:pt x="21" y="7"/>
                  </a:lnTo>
                  <a:lnTo>
                    <a:pt x="21" y="7"/>
                  </a:lnTo>
                  <a:lnTo>
                    <a:pt x="19" y="7"/>
                  </a:lnTo>
                  <a:lnTo>
                    <a:pt x="16" y="10"/>
                  </a:lnTo>
                  <a:lnTo>
                    <a:pt x="13" y="14"/>
                  </a:lnTo>
                  <a:lnTo>
                    <a:pt x="11" y="20"/>
                  </a:lnTo>
                  <a:lnTo>
                    <a:pt x="9" y="33"/>
                  </a:lnTo>
                  <a:lnTo>
                    <a:pt x="9"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6" name="Freeform 437"/>
            <p:cNvSpPr/>
            <p:nvPr/>
          </p:nvSpPr>
          <p:spPr bwMode="auto">
            <a:xfrm>
              <a:off x="5518504" y="4181590"/>
              <a:ext cx="61435" cy="135159"/>
            </a:xfrm>
            <a:custGeom>
              <a:avLst/>
              <a:gdLst>
                <a:gd name="T0" fmla="*/ 9 w 21"/>
                <a:gd name="T1" fmla="*/ 42 h 46"/>
                <a:gd name="T2" fmla="*/ 9 w 21"/>
                <a:gd name="T3" fmla="*/ 42 h 46"/>
                <a:gd name="T4" fmla="*/ 6 w 21"/>
                <a:gd name="T5" fmla="*/ 46 h 46"/>
                <a:gd name="T6" fmla="*/ 4 w 21"/>
                <a:gd name="T7" fmla="*/ 46 h 46"/>
                <a:gd name="T8" fmla="*/ 1 w 21"/>
                <a:gd name="T9" fmla="*/ 46 h 46"/>
                <a:gd name="T10" fmla="*/ 1 w 21"/>
                <a:gd name="T11" fmla="*/ 46 h 46"/>
                <a:gd name="T12" fmla="*/ 3 w 21"/>
                <a:gd name="T13" fmla="*/ 42 h 46"/>
                <a:gd name="T14" fmla="*/ 4 w 21"/>
                <a:gd name="T15" fmla="*/ 39 h 46"/>
                <a:gd name="T16" fmla="*/ 3 w 21"/>
                <a:gd name="T17" fmla="*/ 34 h 46"/>
                <a:gd name="T18" fmla="*/ 3 w 21"/>
                <a:gd name="T19" fmla="*/ 32 h 46"/>
                <a:gd name="T20" fmla="*/ 3 w 21"/>
                <a:gd name="T21" fmla="*/ 32 h 46"/>
                <a:gd name="T22" fmla="*/ 1 w 21"/>
                <a:gd name="T23" fmla="*/ 33 h 46"/>
                <a:gd name="T24" fmla="*/ 1 w 21"/>
                <a:gd name="T25" fmla="*/ 34 h 46"/>
                <a:gd name="T26" fmla="*/ 1 w 21"/>
                <a:gd name="T27" fmla="*/ 34 h 46"/>
                <a:gd name="T28" fmla="*/ 0 w 21"/>
                <a:gd name="T29" fmla="*/ 30 h 46"/>
                <a:gd name="T30" fmla="*/ 0 w 21"/>
                <a:gd name="T31" fmla="*/ 26 h 46"/>
                <a:gd name="T32" fmla="*/ 1 w 21"/>
                <a:gd name="T33" fmla="*/ 22 h 46"/>
                <a:gd name="T34" fmla="*/ 4 w 21"/>
                <a:gd name="T35" fmla="*/ 17 h 46"/>
                <a:gd name="T36" fmla="*/ 4 w 21"/>
                <a:gd name="T37" fmla="*/ 17 h 46"/>
                <a:gd name="T38" fmla="*/ 10 w 21"/>
                <a:gd name="T39" fmla="*/ 7 h 46"/>
                <a:gd name="T40" fmla="*/ 10 w 21"/>
                <a:gd name="T41" fmla="*/ 7 h 46"/>
                <a:gd name="T42" fmla="*/ 17 w 21"/>
                <a:gd name="T43" fmla="*/ 0 h 46"/>
                <a:gd name="T44" fmla="*/ 17 w 21"/>
                <a:gd name="T45" fmla="*/ 0 h 46"/>
                <a:gd name="T46" fmla="*/ 19 w 21"/>
                <a:gd name="T47" fmla="*/ 2 h 46"/>
                <a:gd name="T48" fmla="*/ 20 w 21"/>
                <a:gd name="T49" fmla="*/ 3 h 46"/>
                <a:gd name="T50" fmla="*/ 21 w 21"/>
                <a:gd name="T51" fmla="*/ 7 h 46"/>
                <a:gd name="T52" fmla="*/ 21 w 21"/>
                <a:gd name="T53" fmla="*/ 7 h 46"/>
                <a:gd name="T54" fmla="*/ 19 w 21"/>
                <a:gd name="T55" fmla="*/ 7 h 46"/>
                <a:gd name="T56" fmla="*/ 16 w 21"/>
                <a:gd name="T57" fmla="*/ 10 h 46"/>
                <a:gd name="T58" fmla="*/ 13 w 21"/>
                <a:gd name="T59" fmla="*/ 14 h 46"/>
                <a:gd name="T60" fmla="*/ 11 w 21"/>
                <a:gd name="T61" fmla="*/ 20 h 46"/>
                <a:gd name="T62" fmla="*/ 9 w 21"/>
                <a:gd name="T63" fmla="*/ 33 h 46"/>
                <a:gd name="T64" fmla="*/ 9 w 21"/>
                <a:gd name="T65"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46">
                  <a:moveTo>
                    <a:pt x="9" y="42"/>
                  </a:moveTo>
                  <a:lnTo>
                    <a:pt x="9" y="42"/>
                  </a:lnTo>
                  <a:lnTo>
                    <a:pt x="6" y="46"/>
                  </a:lnTo>
                  <a:lnTo>
                    <a:pt x="4" y="46"/>
                  </a:lnTo>
                  <a:lnTo>
                    <a:pt x="1" y="46"/>
                  </a:lnTo>
                  <a:lnTo>
                    <a:pt x="1" y="46"/>
                  </a:lnTo>
                  <a:lnTo>
                    <a:pt x="3" y="42"/>
                  </a:lnTo>
                  <a:lnTo>
                    <a:pt x="4" y="39"/>
                  </a:lnTo>
                  <a:lnTo>
                    <a:pt x="3" y="34"/>
                  </a:lnTo>
                  <a:lnTo>
                    <a:pt x="3" y="32"/>
                  </a:lnTo>
                  <a:lnTo>
                    <a:pt x="3" y="32"/>
                  </a:lnTo>
                  <a:lnTo>
                    <a:pt x="1" y="33"/>
                  </a:lnTo>
                  <a:lnTo>
                    <a:pt x="1" y="34"/>
                  </a:lnTo>
                  <a:lnTo>
                    <a:pt x="1" y="34"/>
                  </a:lnTo>
                  <a:lnTo>
                    <a:pt x="0" y="30"/>
                  </a:lnTo>
                  <a:lnTo>
                    <a:pt x="0" y="26"/>
                  </a:lnTo>
                  <a:lnTo>
                    <a:pt x="1" y="22"/>
                  </a:lnTo>
                  <a:lnTo>
                    <a:pt x="4" y="17"/>
                  </a:lnTo>
                  <a:lnTo>
                    <a:pt x="4" y="17"/>
                  </a:lnTo>
                  <a:lnTo>
                    <a:pt x="10" y="7"/>
                  </a:lnTo>
                  <a:lnTo>
                    <a:pt x="10" y="7"/>
                  </a:lnTo>
                  <a:lnTo>
                    <a:pt x="17" y="0"/>
                  </a:lnTo>
                  <a:lnTo>
                    <a:pt x="17" y="0"/>
                  </a:lnTo>
                  <a:lnTo>
                    <a:pt x="19" y="2"/>
                  </a:lnTo>
                  <a:lnTo>
                    <a:pt x="20" y="3"/>
                  </a:lnTo>
                  <a:lnTo>
                    <a:pt x="21" y="7"/>
                  </a:lnTo>
                  <a:lnTo>
                    <a:pt x="21" y="7"/>
                  </a:lnTo>
                  <a:lnTo>
                    <a:pt x="19" y="7"/>
                  </a:lnTo>
                  <a:lnTo>
                    <a:pt x="16" y="10"/>
                  </a:lnTo>
                  <a:lnTo>
                    <a:pt x="13" y="14"/>
                  </a:lnTo>
                  <a:lnTo>
                    <a:pt x="11" y="20"/>
                  </a:lnTo>
                  <a:lnTo>
                    <a:pt x="9" y="33"/>
                  </a:lnTo>
                  <a:lnTo>
                    <a:pt x="9" y="4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7" name="Freeform 438"/>
            <p:cNvSpPr>
              <a:spLocks noEditPoints="1"/>
            </p:cNvSpPr>
            <p:nvPr/>
          </p:nvSpPr>
          <p:spPr bwMode="auto">
            <a:xfrm>
              <a:off x="5579940" y="4390470"/>
              <a:ext cx="270315" cy="528342"/>
            </a:xfrm>
            <a:custGeom>
              <a:avLst/>
              <a:gdLst>
                <a:gd name="T0" fmla="*/ 71 w 90"/>
                <a:gd name="T1" fmla="*/ 35 h 172"/>
                <a:gd name="T2" fmla="*/ 70 w 90"/>
                <a:gd name="T3" fmla="*/ 41 h 172"/>
                <a:gd name="T4" fmla="*/ 61 w 90"/>
                <a:gd name="T5" fmla="*/ 47 h 172"/>
                <a:gd name="T6" fmla="*/ 57 w 90"/>
                <a:gd name="T7" fmla="*/ 58 h 172"/>
                <a:gd name="T8" fmla="*/ 34 w 90"/>
                <a:gd name="T9" fmla="*/ 94 h 172"/>
                <a:gd name="T10" fmla="*/ 26 w 90"/>
                <a:gd name="T11" fmla="*/ 112 h 172"/>
                <a:gd name="T12" fmla="*/ 23 w 90"/>
                <a:gd name="T13" fmla="*/ 118 h 172"/>
                <a:gd name="T14" fmla="*/ 14 w 90"/>
                <a:gd name="T15" fmla="*/ 132 h 172"/>
                <a:gd name="T16" fmla="*/ 9 w 90"/>
                <a:gd name="T17" fmla="*/ 144 h 172"/>
                <a:gd name="T18" fmla="*/ 0 w 90"/>
                <a:gd name="T19" fmla="*/ 154 h 172"/>
                <a:gd name="T20" fmla="*/ 7 w 90"/>
                <a:gd name="T21" fmla="*/ 158 h 172"/>
                <a:gd name="T22" fmla="*/ 11 w 90"/>
                <a:gd name="T23" fmla="*/ 148 h 172"/>
                <a:gd name="T24" fmla="*/ 19 w 90"/>
                <a:gd name="T25" fmla="*/ 138 h 172"/>
                <a:gd name="T26" fmla="*/ 30 w 90"/>
                <a:gd name="T27" fmla="*/ 132 h 172"/>
                <a:gd name="T28" fmla="*/ 31 w 90"/>
                <a:gd name="T29" fmla="*/ 132 h 172"/>
                <a:gd name="T30" fmla="*/ 33 w 90"/>
                <a:gd name="T31" fmla="*/ 140 h 172"/>
                <a:gd name="T32" fmla="*/ 29 w 90"/>
                <a:gd name="T33" fmla="*/ 142 h 172"/>
                <a:gd name="T34" fmla="*/ 36 w 90"/>
                <a:gd name="T35" fmla="*/ 144 h 172"/>
                <a:gd name="T36" fmla="*/ 23 w 90"/>
                <a:gd name="T37" fmla="*/ 150 h 172"/>
                <a:gd name="T38" fmla="*/ 19 w 90"/>
                <a:gd name="T39" fmla="*/ 161 h 172"/>
                <a:gd name="T40" fmla="*/ 14 w 90"/>
                <a:gd name="T41" fmla="*/ 159 h 172"/>
                <a:gd name="T42" fmla="*/ 16 w 90"/>
                <a:gd name="T43" fmla="*/ 162 h 172"/>
                <a:gd name="T44" fmla="*/ 7 w 90"/>
                <a:gd name="T45" fmla="*/ 172 h 172"/>
                <a:gd name="T46" fmla="*/ 17 w 90"/>
                <a:gd name="T47" fmla="*/ 168 h 172"/>
                <a:gd name="T48" fmla="*/ 26 w 90"/>
                <a:gd name="T49" fmla="*/ 164 h 172"/>
                <a:gd name="T50" fmla="*/ 29 w 90"/>
                <a:gd name="T51" fmla="*/ 158 h 172"/>
                <a:gd name="T52" fmla="*/ 33 w 90"/>
                <a:gd name="T53" fmla="*/ 157 h 172"/>
                <a:gd name="T54" fmla="*/ 36 w 90"/>
                <a:gd name="T55" fmla="*/ 155 h 172"/>
                <a:gd name="T56" fmla="*/ 41 w 90"/>
                <a:gd name="T57" fmla="*/ 147 h 172"/>
                <a:gd name="T58" fmla="*/ 40 w 90"/>
                <a:gd name="T59" fmla="*/ 144 h 172"/>
                <a:gd name="T60" fmla="*/ 37 w 90"/>
                <a:gd name="T61" fmla="*/ 142 h 172"/>
                <a:gd name="T62" fmla="*/ 46 w 90"/>
                <a:gd name="T63" fmla="*/ 128 h 172"/>
                <a:gd name="T64" fmla="*/ 54 w 90"/>
                <a:gd name="T65" fmla="*/ 118 h 172"/>
                <a:gd name="T66" fmla="*/ 56 w 90"/>
                <a:gd name="T67" fmla="*/ 114 h 172"/>
                <a:gd name="T68" fmla="*/ 63 w 90"/>
                <a:gd name="T69" fmla="*/ 101 h 172"/>
                <a:gd name="T70" fmla="*/ 59 w 90"/>
                <a:gd name="T71" fmla="*/ 97 h 172"/>
                <a:gd name="T72" fmla="*/ 60 w 90"/>
                <a:gd name="T73" fmla="*/ 94 h 172"/>
                <a:gd name="T74" fmla="*/ 67 w 90"/>
                <a:gd name="T75" fmla="*/ 94 h 172"/>
                <a:gd name="T76" fmla="*/ 66 w 90"/>
                <a:gd name="T77" fmla="*/ 102 h 172"/>
                <a:gd name="T78" fmla="*/ 67 w 90"/>
                <a:gd name="T79" fmla="*/ 100 h 172"/>
                <a:gd name="T80" fmla="*/ 70 w 90"/>
                <a:gd name="T81" fmla="*/ 94 h 172"/>
                <a:gd name="T82" fmla="*/ 71 w 90"/>
                <a:gd name="T83" fmla="*/ 87 h 172"/>
                <a:gd name="T84" fmla="*/ 68 w 90"/>
                <a:gd name="T85" fmla="*/ 91 h 172"/>
                <a:gd name="T86" fmla="*/ 64 w 90"/>
                <a:gd name="T87" fmla="*/ 90 h 172"/>
                <a:gd name="T88" fmla="*/ 67 w 90"/>
                <a:gd name="T89" fmla="*/ 82 h 172"/>
                <a:gd name="T90" fmla="*/ 64 w 90"/>
                <a:gd name="T91" fmla="*/ 75 h 172"/>
                <a:gd name="T92" fmla="*/ 61 w 90"/>
                <a:gd name="T93" fmla="*/ 70 h 172"/>
                <a:gd name="T94" fmla="*/ 66 w 90"/>
                <a:gd name="T95" fmla="*/ 64 h 172"/>
                <a:gd name="T96" fmla="*/ 66 w 90"/>
                <a:gd name="T97" fmla="*/ 52 h 172"/>
                <a:gd name="T98" fmla="*/ 84 w 90"/>
                <a:gd name="T99" fmla="*/ 48 h 172"/>
                <a:gd name="T100" fmla="*/ 87 w 90"/>
                <a:gd name="T101" fmla="*/ 38 h 172"/>
                <a:gd name="T102" fmla="*/ 83 w 90"/>
                <a:gd name="T103" fmla="*/ 40 h 172"/>
                <a:gd name="T104" fmla="*/ 80 w 90"/>
                <a:gd name="T105" fmla="*/ 32 h 172"/>
                <a:gd name="T106" fmla="*/ 90 w 90"/>
                <a:gd name="T107" fmla="*/ 12 h 172"/>
                <a:gd name="T108" fmla="*/ 88 w 90"/>
                <a:gd name="T109" fmla="*/ 4 h 172"/>
                <a:gd name="T110" fmla="*/ 88 w 90"/>
                <a:gd name="T111" fmla="*/ 2 h 172"/>
                <a:gd name="T112" fmla="*/ 83 w 90"/>
                <a:gd name="T113" fmla="*/ 15 h 172"/>
                <a:gd name="T114" fmla="*/ 73 w 90"/>
                <a:gd name="T115" fmla="*/ 30 h 172"/>
                <a:gd name="T116" fmla="*/ 43 w 90"/>
                <a:gd name="T117" fmla="*/ 100 h 172"/>
                <a:gd name="T118" fmla="*/ 46 w 90"/>
                <a:gd name="T119" fmla="*/ 101 h 172"/>
                <a:gd name="T120" fmla="*/ 43 w 90"/>
                <a:gd name="T121" fmla="*/ 110 h 172"/>
                <a:gd name="T122" fmla="*/ 41 w 90"/>
                <a:gd name="T123" fmla="*/ 105 h 172"/>
                <a:gd name="T124" fmla="*/ 41 w 90"/>
                <a:gd name="T125" fmla="*/ 10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72">
                  <a:moveTo>
                    <a:pt x="73" y="30"/>
                  </a:moveTo>
                  <a:lnTo>
                    <a:pt x="73" y="30"/>
                  </a:lnTo>
                  <a:lnTo>
                    <a:pt x="71" y="35"/>
                  </a:lnTo>
                  <a:lnTo>
                    <a:pt x="71" y="38"/>
                  </a:lnTo>
                  <a:lnTo>
                    <a:pt x="70" y="41"/>
                  </a:lnTo>
                  <a:lnTo>
                    <a:pt x="70" y="41"/>
                  </a:lnTo>
                  <a:lnTo>
                    <a:pt x="66" y="35"/>
                  </a:lnTo>
                  <a:lnTo>
                    <a:pt x="66" y="35"/>
                  </a:lnTo>
                  <a:lnTo>
                    <a:pt x="61" y="47"/>
                  </a:lnTo>
                  <a:lnTo>
                    <a:pt x="61" y="47"/>
                  </a:lnTo>
                  <a:lnTo>
                    <a:pt x="57" y="58"/>
                  </a:lnTo>
                  <a:lnTo>
                    <a:pt x="57" y="58"/>
                  </a:lnTo>
                  <a:lnTo>
                    <a:pt x="43" y="82"/>
                  </a:lnTo>
                  <a:lnTo>
                    <a:pt x="43" y="82"/>
                  </a:lnTo>
                  <a:lnTo>
                    <a:pt x="34" y="94"/>
                  </a:lnTo>
                  <a:lnTo>
                    <a:pt x="29" y="107"/>
                  </a:lnTo>
                  <a:lnTo>
                    <a:pt x="29" y="107"/>
                  </a:lnTo>
                  <a:lnTo>
                    <a:pt x="26" y="112"/>
                  </a:lnTo>
                  <a:lnTo>
                    <a:pt x="26" y="112"/>
                  </a:lnTo>
                  <a:lnTo>
                    <a:pt x="23" y="118"/>
                  </a:lnTo>
                  <a:lnTo>
                    <a:pt x="23" y="118"/>
                  </a:lnTo>
                  <a:lnTo>
                    <a:pt x="19" y="131"/>
                  </a:lnTo>
                  <a:lnTo>
                    <a:pt x="19" y="131"/>
                  </a:lnTo>
                  <a:lnTo>
                    <a:pt x="14" y="132"/>
                  </a:lnTo>
                  <a:lnTo>
                    <a:pt x="11" y="137"/>
                  </a:lnTo>
                  <a:lnTo>
                    <a:pt x="9" y="144"/>
                  </a:lnTo>
                  <a:lnTo>
                    <a:pt x="9" y="144"/>
                  </a:lnTo>
                  <a:lnTo>
                    <a:pt x="7" y="151"/>
                  </a:lnTo>
                  <a:lnTo>
                    <a:pt x="4" y="154"/>
                  </a:lnTo>
                  <a:lnTo>
                    <a:pt x="0" y="154"/>
                  </a:lnTo>
                  <a:lnTo>
                    <a:pt x="0" y="154"/>
                  </a:lnTo>
                  <a:lnTo>
                    <a:pt x="4" y="155"/>
                  </a:lnTo>
                  <a:lnTo>
                    <a:pt x="7" y="158"/>
                  </a:lnTo>
                  <a:lnTo>
                    <a:pt x="7" y="158"/>
                  </a:lnTo>
                  <a:lnTo>
                    <a:pt x="9" y="154"/>
                  </a:lnTo>
                  <a:lnTo>
                    <a:pt x="11" y="148"/>
                  </a:lnTo>
                  <a:lnTo>
                    <a:pt x="11" y="148"/>
                  </a:lnTo>
                  <a:lnTo>
                    <a:pt x="19" y="138"/>
                  </a:lnTo>
                  <a:lnTo>
                    <a:pt x="19" y="138"/>
                  </a:lnTo>
                  <a:lnTo>
                    <a:pt x="21" y="135"/>
                  </a:lnTo>
                  <a:lnTo>
                    <a:pt x="26" y="132"/>
                  </a:lnTo>
                  <a:lnTo>
                    <a:pt x="30" y="132"/>
                  </a:lnTo>
                  <a:lnTo>
                    <a:pt x="33" y="132"/>
                  </a:lnTo>
                  <a:lnTo>
                    <a:pt x="33" y="132"/>
                  </a:lnTo>
                  <a:lnTo>
                    <a:pt x="31" y="132"/>
                  </a:lnTo>
                  <a:lnTo>
                    <a:pt x="30" y="132"/>
                  </a:lnTo>
                  <a:lnTo>
                    <a:pt x="31" y="135"/>
                  </a:lnTo>
                  <a:lnTo>
                    <a:pt x="33" y="140"/>
                  </a:lnTo>
                  <a:lnTo>
                    <a:pt x="31" y="141"/>
                  </a:lnTo>
                  <a:lnTo>
                    <a:pt x="29" y="142"/>
                  </a:lnTo>
                  <a:lnTo>
                    <a:pt x="29" y="142"/>
                  </a:lnTo>
                  <a:lnTo>
                    <a:pt x="31" y="144"/>
                  </a:lnTo>
                  <a:lnTo>
                    <a:pt x="33" y="144"/>
                  </a:lnTo>
                  <a:lnTo>
                    <a:pt x="36" y="144"/>
                  </a:lnTo>
                  <a:lnTo>
                    <a:pt x="34" y="145"/>
                  </a:lnTo>
                  <a:lnTo>
                    <a:pt x="34" y="145"/>
                  </a:lnTo>
                  <a:lnTo>
                    <a:pt x="23" y="150"/>
                  </a:lnTo>
                  <a:lnTo>
                    <a:pt x="23" y="150"/>
                  </a:lnTo>
                  <a:lnTo>
                    <a:pt x="20" y="155"/>
                  </a:lnTo>
                  <a:lnTo>
                    <a:pt x="19" y="161"/>
                  </a:lnTo>
                  <a:lnTo>
                    <a:pt x="19" y="161"/>
                  </a:lnTo>
                  <a:lnTo>
                    <a:pt x="16" y="159"/>
                  </a:lnTo>
                  <a:lnTo>
                    <a:pt x="14" y="159"/>
                  </a:lnTo>
                  <a:lnTo>
                    <a:pt x="13" y="161"/>
                  </a:lnTo>
                  <a:lnTo>
                    <a:pt x="13" y="161"/>
                  </a:lnTo>
                  <a:lnTo>
                    <a:pt x="16" y="162"/>
                  </a:lnTo>
                  <a:lnTo>
                    <a:pt x="16" y="164"/>
                  </a:lnTo>
                  <a:lnTo>
                    <a:pt x="14" y="167"/>
                  </a:lnTo>
                  <a:lnTo>
                    <a:pt x="7" y="172"/>
                  </a:lnTo>
                  <a:lnTo>
                    <a:pt x="7" y="172"/>
                  </a:lnTo>
                  <a:lnTo>
                    <a:pt x="11" y="171"/>
                  </a:lnTo>
                  <a:lnTo>
                    <a:pt x="17" y="168"/>
                  </a:lnTo>
                  <a:lnTo>
                    <a:pt x="21" y="165"/>
                  </a:lnTo>
                  <a:lnTo>
                    <a:pt x="26" y="164"/>
                  </a:lnTo>
                  <a:lnTo>
                    <a:pt x="26" y="164"/>
                  </a:lnTo>
                  <a:lnTo>
                    <a:pt x="26" y="161"/>
                  </a:lnTo>
                  <a:lnTo>
                    <a:pt x="26" y="159"/>
                  </a:lnTo>
                  <a:lnTo>
                    <a:pt x="29" y="158"/>
                  </a:lnTo>
                  <a:lnTo>
                    <a:pt x="30" y="155"/>
                  </a:lnTo>
                  <a:lnTo>
                    <a:pt x="30" y="155"/>
                  </a:lnTo>
                  <a:lnTo>
                    <a:pt x="33" y="157"/>
                  </a:lnTo>
                  <a:lnTo>
                    <a:pt x="34" y="157"/>
                  </a:lnTo>
                  <a:lnTo>
                    <a:pt x="36" y="155"/>
                  </a:lnTo>
                  <a:lnTo>
                    <a:pt x="36" y="155"/>
                  </a:lnTo>
                  <a:lnTo>
                    <a:pt x="37" y="154"/>
                  </a:lnTo>
                  <a:lnTo>
                    <a:pt x="39" y="151"/>
                  </a:lnTo>
                  <a:lnTo>
                    <a:pt x="41" y="147"/>
                  </a:lnTo>
                  <a:lnTo>
                    <a:pt x="41" y="142"/>
                  </a:lnTo>
                  <a:lnTo>
                    <a:pt x="41" y="142"/>
                  </a:lnTo>
                  <a:lnTo>
                    <a:pt x="40" y="144"/>
                  </a:lnTo>
                  <a:lnTo>
                    <a:pt x="39" y="144"/>
                  </a:lnTo>
                  <a:lnTo>
                    <a:pt x="37" y="144"/>
                  </a:lnTo>
                  <a:lnTo>
                    <a:pt x="37" y="142"/>
                  </a:lnTo>
                  <a:lnTo>
                    <a:pt x="37" y="142"/>
                  </a:lnTo>
                  <a:lnTo>
                    <a:pt x="41" y="135"/>
                  </a:lnTo>
                  <a:lnTo>
                    <a:pt x="46" y="128"/>
                  </a:lnTo>
                  <a:lnTo>
                    <a:pt x="46" y="128"/>
                  </a:lnTo>
                  <a:lnTo>
                    <a:pt x="50" y="121"/>
                  </a:lnTo>
                  <a:lnTo>
                    <a:pt x="54" y="118"/>
                  </a:lnTo>
                  <a:lnTo>
                    <a:pt x="57" y="117"/>
                  </a:lnTo>
                  <a:lnTo>
                    <a:pt x="57" y="117"/>
                  </a:lnTo>
                  <a:lnTo>
                    <a:pt x="56" y="114"/>
                  </a:lnTo>
                  <a:lnTo>
                    <a:pt x="54" y="112"/>
                  </a:lnTo>
                  <a:lnTo>
                    <a:pt x="56" y="108"/>
                  </a:lnTo>
                  <a:lnTo>
                    <a:pt x="63" y="101"/>
                  </a:lnTo>
                  <a:lnTo>
                    <a:pt x="63" y="101"/>
                  </a:lnTo>
                  <a:lnTo>
                    <a:pt x="60" y="98"/>
                  </a:lnTo>
                  <a:lnTo>
                    <a:pt x="59" y="97"/>
                  </a:lnTo>
                  <a:lnTo>
                    <a:pt x="59" y="95"/>
                  </a:lnTo>
                  <a:lnTo>
                    <a:pt x="59" y="95"/>
                  </a:lnTo>
                  <a:lnTo>
                    <a:pt x="60" y="94"/>
                  </a:lnTo>
                  <a:lnTo>
                    <a:pt x="63" y="94"/>
                  </a:lnTo>
                  <a:lnTo>
                    <a:pt x="67" y="94"/>
                  </a:lnTo>
                  <a:lnTo>
                    <a:pt x="67" y="94"/>
                  </a:lnTo>
                  <a:lnTo>
                    <a:pt x="66" y="97"/>
                  </a:lnTo>
                  <a:lnTo>
                    <a:pt x="64" y="100"/>
                  </a:lnTo>
                  <a:lnTo>
                    <a:pt x="66" y="102"/>
                  </a:lnTo>
                  <a:lnTo>
                    <a:pt x="68" y="101"/>
                  </a:lnTo>
                  <a:lnTo>
                    <a:pt x="68" y="101"/>
                  </a:lnTo>
                  <a:lnTo>
                    <a:pt x="67" y="100"/>
                  </a:lnTo>
                  <a:lnTo>
                    <a:pt x="67" y="98"/>
                  </a:lnTo>
                  <a:lnTo>
                    <a:pt x="70" y="94"/>
                  </a:lnTo>
                  <a:lnTo>
                    <a:pt x="70" y="94"/>
                  </a:lnTo>
                  <a:lnTo>
                    <a:pt x="73" y="90"/>
                  </a:lnTo>
                  <a:lnTo>
                    <a:pt x="73" y="88"/>
                  </a:lnTo>
                  <a:lnTo>
                    <a:pt x="71" y="87"/>
                  </a:lnTo>
                  <a:lnTo>
                    <a:pt x="71" y="87"/>
                  </a:lnTo>
                  <a:lnTo>
                    <a:pt x="70" y="90"/>
                  </a:lnTo>
                  <a:lnTo>
                    <a:pt x="68" y="91"/>
                  </a:lnTo>
                  <a:lnTo>
                    <a:pt x="67" y="91"/>
                  </a:lnTo>
                  <a:lnTo>
                    <a:pt x="64" y="90"/>
                  </a:lnTo>
                  <a:lnTo>
                    <a:pt x="64" y="90"/>
                  </a:lnTo>
                  <a:lnTo>
                    <a:pt x="67" y="88"/>
                  </a:lnTo>
                  <a:lnTo>
                    <a:pt x="67" y="85"/>
                  </a:lnTo>
                  <a:lnTo>
                    <a:pt x="67" y="82"/>
                  </a:lnTo>
                  <a:lnTo>
                    <a:pt x="68" y="78"/>
                  </a:lnTo>
                  <a:lnTo>
                    <a:pt x="68" y="78"/>
                  </a:lnTo>
                  <a:lnTo>
                    <a:pt x="64" y="75"/>
                  </a:lnTo>
                  <a:lnTo>
                    <a:pt x="61" y="72"/>
                  </a:lnTo>
                  <a:lnTo>
                    <a:pt x="61" y="70"/>
                  </a:lnTo>
                  <a:lnTo>
                    <a:pt x="61" y="70"/>
                  </a:lnTo>
                  <a:lnTo>
                    <a:pt x="63" y="70"/>
                  </a:lnTo>
                  <a:lnTo>
                    <a:pt x="66" y="68"/>
                  </a:lnTo>
                  <a:lnTo>
                    <a:pt x="66" y="64"/>
                  </a:lnTo>
                  <a:lnTo>
                    <a:pt x="66" y="58"/>
                  </a:lnTo>
                  <a:lnTo>
                    <a:pt x="66" y="52"/>
                  </a:lnTo>
                  <a:lnTo>
                    <a:pt x="66" y="52"/>
                  </a:lnTo>
                  <a:lnTo>
                    <a:pt x="74" y="48"/>
                  </a:lnTo>
                  <a:lnTo>
                    <a:pt x="78" y="47"/>
                  </a:lnTo>
                  <a:lnTo>
                    <a:pt x="84" y="48"/>
                  </a:lnTo>
                  <a:lnTo>
                    <a:pt x="84" y="48"/>
                  </a:lnTo>
                  <a:lnTo>
                    <a:pt x="86" y="41"/>
                  </a:lnTo>
                  <a:lnTo>
                    <a:pt x="87" y="38"/>
                  </a:lnTo>
                  <a:lnTo>
                    <a:pt x="87" y="38"/>
                  </a:lnTo>
                  <a:lnTo>
                    <a:pt x="84" y="40"/>
                  </a:lnTo>
                  <a:lnTo>
                    <a:pt x="83" y="40"/>
                  </a:lnTo>
                  <a:lnTo>
                    <a:pt x="78" y="41"/>
                  </a:lnTo>
                  <a:lnTo>
                    <a:pt x="78" y="41"/>
                  </a:lnTo>
                  <a:lnTo>
                    <a:pt x="80" y="32"/>
                  </a:lnTo>
                  <a:lnTo>
                    <a:pt x="83" y="27"/>
                  </a:lnTo>
                  <a:lnTo>
                    <a:pt x="90" y="12"/>
                  </a:lnTo>
                  <a:lnTo>
                    <a:pt x="90" y="12"/>
                  </a:lnTo>
                  <a:lnTo>
                    <a:pt x="88" y="10"/>
                  </a:lnTo>
                  <a:lnTo>
                    <a:pt x="87" y="7"/>
                  </a:lnTo>
                  <a:lnTo>
                    <a:pt x="88" y="4"/>
                  </a:lnTo>
                  <a:lnTo>
                    <a:pt x="90" y="0"/>
                  </a:lnTo>
                  <a:lnTo>
                    <a:pt x="90" y="0"/>
                  </a:lnTo>
                  <a:lnTo>
                    <a:pt x="88" y="2"/>
                  </a:lnTo>
                  <a:lnTo>
                    <a:pt x="86" y="7"/>
                  </a:lnTo>
                  <a:lnTo>
                    <a:pt x="83" y="15"/>
                  </a:lnTo>
                  <a:lnTo>
                    <a:pt x="83" y="15"/>
                  </a:lnTo>
                  <a:lnTo>
                    <a:pt x="78" y="25"/>
                  </a:lnTo>
                  <a:lnTo>
                    <a:pt x="76" y="28"/>
                  </a:lnTo>
                  <a:lnTo>
                    <a:pt x="73" y="30"/>
                  </a:lnTo>
                  <a:close/>
                  <a:moveTo>
                    <a:pt x="41" y="100"/>
                  </a:moveTo>
                  <a:lnTo>
                    <a:pt x="41" y="100"/>
                  </a:lnTo>
                  <a:lnTo>
                    <a:pt x="43" y="100"/>
                  </a:lnTo>
                  <a:lnTo>
                    <a:pt x="43" y="100"/>
                  </a:lnTo>
                  <a:lnTo>
                    <a:pt x="46" y="101"/>
                  </a:lnTo>
                  <a:lnTo>
                    <a:pt x="46" y="101"/>
                  </a:lnTo>
                  <a:lnTo>
                    <a:pt x="46" y="105"/>
                  </a:lnTo>
                  <a:lnTo>
                    <a:pt x="43" y="110"/>
                  </a:lnTo>
                  <a:lnTo>
                    <a:pt x="43" y="110"/>
                  </a:lnTo>
                  <a:lnTo>
                    <a:pt x="41" y="110"/>
                  </a:lnTo>
                  <a:lnTo>
                    <a:pt x="40" y="108"/>
                  </a:lnTo>
                  <a:lnTo>
                    <a:pt x="41" y="105"/>
                  </a:lnTo>
                  <a:lnTo>
                    <a:pt x="43" y="102"/>
                  </a:lnTo>
                  <a:lnTo>
                    <a:pt x="43" y="101"/>
                  </a:lnTo>
                  <a:lnTo>
                    <a:pt x="41" y="10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8" name="Freeform 439"/>
            <p:cNvSpPr/>
            <p:nvPr/>
          </p:nvSpPr>
          <p:spPr bwMode="auto">
            <a:xfrm>
              <a:off x="5579940" y="4390470"/>
              <a:ext cx="270315" cy="528342"/>
            </a:xfrm>
            <a:custGeom>
              <a:avLst/>
              <a:gdLst>
                <a:gd name="T0" fmla="*/ 71 w 90"/>
                <a:gd name="T1" fmla="*/ 35 h 172"/>
                <a:gd name="T2" fmla="*/ 70 w 90"/>
                <a:gd name="T3" fmla="*/ 41 h 172"/>
                <a:gd name="T4" fmla="*/ 61 w 90"/>
                <a:gd name="T5" fmla="*/ 47 h 172"/>
                <a:gd name="T6" fmla="*/ 57 w 90"/>
                <a:gd name="T7" fmla="*/ 58 h 172"/>
                <a:gd name="T8" fmla="*/ 34 w 90"/>
                <a:gd name="T9" fmla="*/ 94 h 172"/>
                <a:gd name="T10" fmla="*/ 26 w 90"/>
                <a:gd name="T11" fmla="*/ 112 h 172"/>
                <a:gd name="T12" fmla="*/ 23 w 90"/>
                <a:gd name="T13" fmla="*/ 118 h 172"/>
                <a:gd name="T14" fmla="*/ 14 w 90"/>
                <a:gd name="T15" fmla="*/ 132 h 172"/>
                <a:gd name="T16" fmla="*/ 9 w 90"/>
                <a:gd name="T17" fmla="*/ 144 h 172"/>
                <a:gd name="T18" fmla="*/ 0 w 90"/>
                <a:gd name="T19" fmla="*/ 154 h 172"/>
                <a:gd name="T20" fmla="*/ 7 w 90"/>
                <a:gd name="T21" fmla="*/ 158 h 172"/>
                <a:gd name="T22" fmla="*/ 11 w 90"/>
                <a:gd name="T23" fmla="*/ 148 h 172"/>
                <a:gd name="T24" fmla="*/ 19 w 90"/>
                <a:gd name="T25" fmla="*/ 138 h 172"/>
                <a:gd name="T26" fmla="*/ 30 w 90"/>
                <a:gd name="T27" fmla="*/ 132 h 172"/>
                <a:gd name="T28" fmla="*/ 31 w 90"/>
                <a:gd name="T29" fmla="*/ 132 h 172"/>
                <a:gd name="T30" fmla="*/ 33 w 90"/>
                <a:gd name="T31" fmla="*/ 140 h 172"/>
                <a:gd name="T32" fmla="*/ 29 w 90"/>
                <a:gd name="T33" fmla="*/ 142 h 172"/>
                <a:gd name="T34" fmla="*/ 36 w 90"/>
                <a:gd name="T35" fmla="*/ 144 h 172"/>
                <a:gd name="T36" fmla="*/ 23 w 90"/>
                <a:gd name="T37" fmla="*/ 150 h 172"/>
                <a:gd name="T38" fmla="*/ 19 w 90"/>
                <a:gd name="T39" fmla="*/ 161 h 172"/>
                <a:gd name="T40" fmla="*/ 14 w 90"/>
                <a:gd name="T41" fmla="*/ 159 h 172"/>
                <a:gd name="T42" fmla="*/ 16 w 90"/>
                <a:gd name="T43" fmla="*/ 162 h 172"/>
                <a:gd name="T44" fmla="*/ 7 w 90"/>
                <a:gd name="T45" fmla="*/ 172 h 172"/>
                <a:gd name="T46" fmla="*/ 17 w 90"/>
                <a:gd name="T47" fmla="*/ 168 h 172"/>
                <a:gd name="T48" fmla="*/ 26 w 90"/>
                <a:gd name="T49" fmla="*/ 164 h 172"/>
                <a:gd name="T50" fmla="*/ 29 w 90"/>
                <a:gd name="T51" fmla="*/ 158 h 172"/>
                <a:gd name="T52" fmla="*/ 33 w 90"/>
                <a:gd name="T53" fmla="*/ 157 h 172"/>
                <a:gd name="T54" fmla="*/ 36 w 90"/>
                <a:gd name="T55" fmla="*/ 155 h 172"/>
                <a:gd name="T56" fmla="*/ 41 w 90"/>
                <a:gd name="T57" fmla="*/ 147 h 172"/>
                <a:gd name="T58" fmla="*/ 40 w 90"/>
                <a:gd name="T59" fmla="*/ 144 h 172"/>
                <a:gd name="T60" fmla="*/ 37 w 90"/>
                <a:gd name="T61" fmla="*/ 142 h 172"/>
                <a:gd name="T62" fmla="*/ 46 w 90"/>
                <a:gd name="T63" fmla="*/ 128 h 172"/>
                <a:gd name="T64" fmla="*/ 54 w 90"/>
                <a:gd name="T65" fmla="*/ 118 h 172"/>
                <a:gd name="T66" fmla="*/ 56 w 90"/>
                <a:gd name="T67" fmla="*/ 114 h 172"/>
                <a:gd name="T68" fmla="*/ 63 w 90"/>
                <a:gd name="T69" fmla="*/ 101 h 172"/>
                <a:gd name="T70" fmla="*/ 59 w 90"/>
                <a:gd name="T71" fmla="*/ 97 h 172"/>
                <a:gd name="T72" fmla="*/ 60 w 90"/>
                <a:gd name="T73" fmla="*/ 94 h 172"/>
                <a:gd name="T74" fmla="*/ 67 w 90"/>
                <a:gd name="T75" fmla="*/ 94 h 172"/>
                <a:gd name="T76" fmla="*/ 66 w 90"/>
                <a:gd name="T77" fmla="*/ 102 h 172"/>
                <a:gd name="T78" fmla="*/ 67 w 90"/>
                <a:gd name="T79" fmla="*/ 100 h 172"/>
                <a:gd name="T80" fmla="*/ 70 w 90"/>
                <a:gd name="T81" fmla="*/ 94 h 172"/>
                <a:gd name="T82" fmla="*/ 71 w 90"/>
                <a:gd name="T83" fmla="*/ 87 h 172"/>
                <a:gd name="T84" fmla="*/ 68 w 90"/>
                <a:gd name="T85" fmla="*/ 91 h 172"/>
                <a:gd name="T86" fmla="*/ 64 w 90"/>
                <a:gd name="T87" fmla="*/ 90 h 172"/>
                <a:gd name="T88" fmla="*/ 67 w 90"/>
                <a:gd name="T89" fmla="*/ 82 h 172"/>
                <a:gd name="T90" fmla="*/ 64 w 90"/>
                <a:gd name="T91" fmla="*/ 75 h 172"/>
                <a:gd name="T92" fmla="*/ 61 w 90"/>
                <a:gd name="T93" fmla="*/ 70 h 172"/>
                <a:gd name="T94" fmla="*/ 66 w 90"/>
                <a:gd name="T95" fmla="*/ 64 h 172"/>
                <a:gd name="T96" fmla="*/ 66 w 90"/>
                <a:gd name="T97" fmla="*/ 52 h 172"/>
                <a:gd name="T98" fmla="*/ 84 w 90"/>
                <a:gd name="T99" fmla="*/ 48 h 172"/>
                <a:gd name="T100" fmla="*/ 87 w 90"/>
                <a:gd name="T101" fmla="*/ 38 h 172"/>
                <a:gd name="T102" fmla="*/ 83 w 90"/>
                <a:gd name="T103" fmla="*/ 40 h 172"/>
                <a:gd name="T104" fmla="*/ 80 w 90"/>
                <a:gd name="T105" fmla="*/ 32 h 172"/>
                <a:gd name="T106" fmla="*/ 90 w 90"/>
                <a:gd name="T107" fmla="*/ 12 h 172"/>
                <a:gd name="T108" fmla="*/ 88 w 90"/>
                <a:gd name="T109" fmla="*/ 4 h 172"/>
                <a:gd name="T110" fmla="*/ 88 w 90"/>
                <a:gd name="T111" fmla="*/ 2 h 172"/>
                <a:gd name="T112" fmla="*/ 83 w 90"/>
                <a:gd name="T113" fmla="*/ 15 h 172"/>
                <a:gd name="T114" fmla="*/ 73 w 90"/>
                <a:gd name="T115" fmla="*/ 3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 h="172">
                  <a:moveTo>
                    <a:pt x="73" y="30"/>
                  </a:moveTo>
                  <a:lnTo>
                    <a:pt x="73" y="30"/>
                  </a:lnTo>
                  <a:lnTo>
                    <a:pt x="71" y="35"/>
                  </a:lnTo>
                  <a:lnTo>
                    <a:pt x="71" y="38"/>
                  </a:lnTo>
                  <a:lnTo>
                    <a:pt x="70" y="41"/>
                  </a:lnTo>
                  <a:lnTo>
                    <a:pt x="70" y="41"/>
                  </a:lnTo>
                  <a:lnTo>
                    <a:pt x="66" y="35"/>
                  </a:lnTo>
                  <a:lnTo>
                    <a:pt x="66" y="35"/>
                  </a:lnTo>
                  <a:lnTo>
                    <a:pt x="61" y="47"/>
                  </a:lnTo>
                  <a:lnTo>
                    <a:pt x="61" y="47"/>
                  </a:lnTo>
                  <a:lnTo>
                    <a:pt x="57" y="58"/>
                  </a:lnTo>
                  <a:lnTo>
                    <a:pt x="57" y="58"/>
                  </a:lnTo>
                  <a:lnTo>
                    <a:pt x="43" y="82"/>
                  </a:lnTo>
                  <a:lnTo>
                    <a:pt x="43" y="82"/>
                  </a:lnTo>
                  <a:lnTo>
                    <a:pt x="34" y="94"/>
                  </a:lnTo>
                  <a:lnTo>
                    <a:pt x="29" y="107"/>
                  </a:lnTo>
                  <a:lnTo>
                    <a:pt x="29" y="107"/>
                  </a:lnTo>
                  <a:lnTo>
                    <a:pt x="26" y="112"/>
                  </a:lnTo>
                  <a:lnTo>
                    <a:pt x="26" y="112"/>
                  </a:lnTo>
                  <a:lnTo>
                    <a:pt x="23" y="118"/>
                  </a:lnTo>
                  <a:lnTo>
                    <a:pt x="23" y="118"/>
                  </a:lnTo>
                  <a:lnTo>
                    <a:pt x="19" y="131"/>
                  </a:lnTo>
                  <a:lnTo>
                    <a:pt x="19" y="131"/>
                  </a:lnTo>
                  <a:lnTo>
                    <a:pt x="14" y="132"/>
                  </a:lnTo>
                  <a:lnTo>
                    <a:pt x="11" y="137"/>
                  </a:lnTo>
                  <a:lnTo>
                    <a:pt x="9" y="144"/>
                  </a:lnTo>
                  <a:lnTo>
                    <a:pt x="9" y="144"/>
                  </a:lnTo>
                  <a:lnTo>
                    <a:pt x="7" y="151"/>
                  </a:lnTo>
                  <a:lnTo>
                    <a:pt x="4" y="154"/>
                  </a:lnTo>
                  <a:lnTo>
                    <a:pt x="0" y="154"/>
                  </a:lnTo>
                  <a:lnTo>
                    <a:pt x="0" y="154"/>
                  </a:lnTo>
                  <a:lnTo>
                    <a:pt x="4" y="155"/>
                  </a:lnTo>
                  <a:lnTo>
                    <a:pt x="7" y="158"/>
                  </a:lnTo>
                  <a:lnTo>
                    <a:pt x="7" y="158"/>
                  </a:lnTo>
                  <a:lnTo>
                    <a:pt x="9" y="154"/>
                  </a:lnTo>
                  <a:lnTo>
                    <a:pt x="11" y="148"/>
                  </a:lnTo>
                  <a:lnTo>
                    <a:pt x="11" y="148"/>
                  </a:lnTo>
                  <a:lnTo>
                    <a:pt x="19" y="138"/>
                  </a:lnTo>
                  <a:lnTo>
                    <a:pt x="19" y="138"/>
                  </a:lnTo>
                  <a:lnTo>
                    <a:pt x="21" y="135"/>
                  </a:lnTo>
                  <a:lnTo>
                    <a:pt x="26" y="132"/>
                  </a:lnTo>
                  <a:lnTo>
                    <a:pt x="30" y="132"/>
                  </a:lnTo>
                  <a:lnTo>
                    <a:pt x="33" y="132"/>
                  </a:lnTo>
                  <a:lnTo>
                    <a:pt x="33" y="132"/>
                  </a:lnTo>
                  <a:lnTo>
                    <a:pt x="31" y="132"/>
                  </a:lnTo>
                  <a:lnTo>
                    <a:pt x="30" y="132"/>
                  </a:lnTo>
                  <a:lnTo>
                    <a:pt x="31" y="135"/>
                  </a:lnTo>
                  <a:lnTo>
                    <a:pt x="33" y="140"/>
                  </a:lnTo>
                  <a:lnTo>
                    <a:pt x="31" y="141"/>
                  </a:lnTo>
                  <a:lnTo>
                    <a:pt x="29" y="142"/>
                  </a:lnTo>
                  <a:lnTo>
                    <a:pt x="29" y="142"/>
                  </a:lnTo>
                  <a:lnTo>
                    <a:pt x="31" y="144"/>
                  </a:lnTo>
                  <a:lnTo>
                    <a:pt x="33" y="144"/>
                  </a:lnTo>
                  <a:lnTo>
                    <a:pt x="36" y="144"/>
                  </a:lnTo>
                  <a:lnTo>
                    <a:pt x="34" y="145"/>
                  </a:lnTo>
                  <a:lnTo>
                    <a:pt x="34" y="145"/>
                  </a:lnTo>
                  <a:lnTo>
                    <a:pt x="23" y="150"/>
                  </a:lnTo>
                  <a:lnTo>
                    <a:pt x="23" y="150"/>
                  </a:lnTo>
                  <a:lnTo>
                    <a:pt x="20" y="155"/>
                  </a:lnTo>
                  <a:lnTo>
                    <a:pt x="19" y="161"/>
                  </a:lnTo>
                  <a:lnTo>
                    <a:pt x="19" y="161"/>
                  </a:lnTo>
                  <a:lnTo>
                    <a:pt x="16" y="159"/>
                  </a:lnTo>
                  <a:lnTo>
                    <a:pt x="14" y="159"/>
                  </a:lnTo>
                  <a:lnTo>
                    <a:pt x="13" y="161"/>
                  </a:lnTo>
                  <a:lnTo>
                    <a:pt x="13" y="161"/>
                  </a:lnTo>
                  <a:lnTo>
                    <a:pt x="16" y="162"/>
                  </a:lnTo>
                  <a:lnTo>
                    <a:pt x="16" y="164"/>
                  </a:lnTo>
                  <a:lnTo>
                    <a:pt x="14" y="167"/>
                  </a:lnTo>
                  <a:lnTo>
                    <a:pt x="7" y="172"/>
                  </a:lnTo>
                  <a:lnTo>
                    <a:pt x="7" y="172"/>
                  </a:lnTo>
                  <a:lnTo>
                    <a:pt x="11" y="171"/>
                  </a:lnTo>
                  <a:lnTo>
                    <a:pt x="17" y="168"/>
                  </a:lnTo>
                  <a:lnTo>
                    <a:pt x="21" y="165"/>
                  </a:lnTo>
                  <a:lnTo>
                    <a:pt x="26" y="164"/>
                  </a:lnTo>
                  <a:lnTo>
                    <a:pt x="26" y="164"/>
                  </a:lnTo>
                  <a:lnTo>
                    <a:pt x="26" y="161"/>
                  </a:lnTo>
                  <a:lnTo>
                    <a:pt x="26" y="159"/>
                  </a:lnTo>
                  <a:lnTo>
                    <a:pt x="29" y="158"/>
                  </a:lnTo>
                  <a:lnTo>
                    <a:pt x="30" y="155"/>
                  </a:lnTo>
                  <a:lnTo>
                    <a:pt x="30" y="155"/>
                  </a:lnTo>
                  <a:lnTo>
                    <a:pt x="33" y="157"/>
                  </a:lnTo>
                  <a:lnTo>
                    <a:pt x="34" y="157"/>
                  </a:lnTo>
                  <a:lnTo>
                    <a:pt x="36" y="155"/>
                  </a:lnTo>
                  <a:lnTo>
                    <a:pt x="36" y="155"/>
                  </a:lnTo>
                  <a:lnTo>
                    <a:pt x="37" y="154"/>
                  </a:lnTo>
                  <a:lnTo>
                    <a:pt x="39" y="151"/>
                  </a:lnTo>
                  <a:lnTo>
                    <a:pt x="41" y="147"/>
                  </a:lnTo>
                  <a:lnTo>
                    <a:pt x="41" y="142"/>
                  </a:lnTo>
                  <a:lnTo>
                    <a:pt x="41" y="142"/>
                  </a:lnTo>
                  <a:lnTo>
                    <a:pt x="40" y="144"/>
                  </a:lnTo>
                  <a:lnTo>
                    <a:pt x="39" y="144"/>
                  </a:lnTo>
                  <a:lnTo>
                    <a:pt x="37" y="144"/>
                  </a:lnTo>
                  <a:lnTo>
                    <a:pt x="37" y="142"/>
                  </a:lnTo>
                  <a:lnTo>
                    <a:pt x="37" y="142"/>
                  </a:lnTo>
                  <a:lnTo>
                    <a:pt x="41" y="135"/>
                  </a:lnTo>
                  <a:lnTo>
                    <a:pt x="46" y="128"/>
                  </a:lnTo>
                  <a:lnTo>
                    <a:pt x="46" y="128"/>
                  </a:lnTo>
                  <a:lnTo>
                    <a:pt x="50" y="121"/>
                  </a:lnTo>
                  <a:lnTo>
                    <a:pt x="54" y="118"/>
                  </a:lnTo>
                  <a:lnTo>
                    <a:pt x="57" y="117"/>
                  </a:lnTo>
                  <a:lnTo>
                    <a:pt x="57" y="117"/>
                  </a:lnTo>
                  <a:lnTo>
                    <a:pt x="56" y="114"/>
                  </a:lnTo>
                  <a:lnTo>
                    <a:pt x="54" y="112"/>
                  </a:lnTo>
                  <a:lnTo>
                    <a:pt x="56" y="108"/>
                  </a:lnTo>
                  <a:lnTo>
                    <a:pt x="63" y="101"/>
                  </a:lnTo>
                  <a:lnTo>
                    <a:pt x="63" y="101"/>
                  </a:lnTo>
                  <a:lnTo>
                    <a:pt x="60" y="98"/>
                  </a:lnTo>
                  <a:lnTo>
                    <a:pt x="59" y="97"/>
                  </a:lnTo>
                  <a:lnTo>
                    <a:pt x="59" y="95"/>
                  </a:lnTo>
                  <a:lnTo>
                    <a:pt x="59" y="95"/>
                  </a:lnTo>
                  <a:lnTo>
                    <a:pt x="60" y="94"/>
                  </a:lnTo>
                  <a:lnTo>
                    <a:pt x="63" y="94"/>
                  </a:lnTo>
                  <a:lnTo>
                    <a:pt x="67" y="94"/>
                  </a:lnTo>
                  <a:lnTo>
                    <a:pt x="67" y="94"/>
                  </a:lnTo>
                  <a:lnTo>
                    <a:pt x="66" y="97"/>
                  </a:lnTo>
                  <a:lnTo>
                    <a:pt x="64" y="100"/>
                  </a:lnTo>
                  <a:lnTo>
                    <a:pt x="66" y="102"/>
                  </a:lnTo>
                  <a:lnTo>
                    <a:pt x="68" y="101"/>
                  </a:lnTo>
                  <a:lnTo>
                    <a:pt x="68" y="101"/>
                  </a:lnTo>
                  <a:lnTo>
                    <a:pt x="67" y="100"/>
                  </a:lnTo>
                  <a:lnTo>
                    <a:pt x="67" y="98"/>
                  </a:lnTo>
                  <a:lnTo>
                    <a:pt x="70" y="94"/>
                  </a:lnTo>
                  <a:lnTo>
                    <a:pt x="70" y="94"/>
                  </a:lnTo>
                  <a:lnTo>
                    <a:pt x="73" y="90"/>
                  </a:lnTo>
                  <a:lnTo>
                    <a:pt x="73" y="88"/>
                  </a:lnTo>
                  <a:lnTo>
                    <a:pt x="71" y="87"/>
                  </a:lnTo>
                  <a:lnTo>
                    <a:pt x="71" y="87"/>
                  </a:lnTo>
                  <a:lnTo>
                    <a:pt x="70" y="90"/>
                  </a:lnTo>
                  <a:lnTo>
                    <a:pt x="68" y="91"/>
                  </a:lnTo>
                  <a:lnTo>
                    <a:pt x="67" y="91"/>
                  </a:lnTo>
                  <a:lnTo>
                    <a:pt x="64" y="90"/>
                  </a:lnTo>
                  <a:lnTo>
                    <a:pt x="64" y="90"/>
                  </a:lnTo>
                  <a:lnTo>
                    <a:pt x="67" y="88"/>
                  </a:lnTo>
                  <a:lnTo>
                    <a:pt x="67" y="85"/>
                  </a:lnTo>
                  <a:lnTo>
                    <a:pt x="67" y="82"/>
                  </a:lnTo>
                  <a:lnTo>
                    <a:pt x="68" y="78"/>
                  </a:lnTo>
                  <a:lnTo>
                    <a:pt x="68" y="78"/>
                  </a:lnTo>
                  <a:lnTo>
                    <a:pt x="64" y="75"/>
                  </a:lnTo>
                  <a:lnTo>
                    <a:pt x="61" y="72"/>
                  </a:lnTo>
                  <a:lnTo>
                    <a:pt x="61" y="70"/>
                  </a:lnTo>
                  <a:lnTo>
                    <a:pt x="61" y="70"/>
                  </a:lnTo>
                  <a:lnTo>
                    <a:pt x="63" y="70"/>
                  </a:lnTo>
                  <a:lnTo>
                    <a:pt x="66" y="68"/>
                  </a:lnTo>
                  <a:lnTo>
                    <a:pt x="66" y="64"/>
                  </a:lnTo>
                  <a:lnTo>
                    <a:pt x="66" y="58"/>
                  </a:lnTo>
                  <a:lnTo>
                    <a:pt x="66" y="52"/>
                  </a:lnTo>
                  <a:lnTo>
                    <a:pt x="66" y="52"/>
                  </a:lnTo>
                  <a:lnTo>
                    <a:pt x="74" y="48"/>
                  </a:lnTo>
                  <a:lnTo>
                    <a:pt x="78" y="47"/>
                  </a:lnTo>
                  <a:lnTo>
                    <a:pt x="84" y="48"/>
                  </a:lnTo>
                  <a:lnTo>
                    <a:pt x="84" y="48"/>
                  </a:lnTo>
                  <a:lnTo>
                    <a:pt x="86" y="41"/>
                  </a:lnTo>
                  <a:lnTo>
                    <a:pt x="87" y="38"/>
                  </a:lnTo>
                  <a:lnTo>
                    <a:pt x="87" y="38"/>
                  </a:lnTo>
                  <a:lnTo>
                    <a:pt x="84" y="40"/>
                  </a:lnTo>
                  <a:lnTo>
                    <a:pt x="83" y="40"/>
                  </a:lnTo>
                  <a:lnTo>
                    <a:pt x="78" y="41"/>
                  </a:lnTo>
                  <a:lnTo>
                    <a:pt x="78" y="41"/>
                  </a:lnTo>
                  <a:lnTo>
                    <a:pt x="80" y="32"/>
                  </a:lnTo>
                  <a:lnTo>
                    <a:pt x="83" y="27"/>
                  </a:lnTo>
                  <a:lnTo>
                    <a:pt x="90" y="12"/>
                  </a:lnTo>
                  <a:lnTo>
                    <a:pt x="90" y="12"/>
                  </a:lnTo>
                  <a:lnTo>
                    <a:pt x="88" y="10"/>
                  </a:lnTo>
                  <a:lnTo>
                    <a:pt x="87" y="7"/>
                  </a:lnTo>
                  <a:lnTo>
                    <a:pt x="88" y="4"/>
                  </a:lnTo>
                  <a:lnTo>
                    <a:pt x="90" y="0"/>
                  </a:lnTo>
                  <a:lnTo>
                    <a:pt x="90" y="0"/>
                  </a:lnTo>
                  <a:lnTo>
                    <a:pt x="88" y="2"/>
                  </a:lnTo>
                  <a:lnTo>
                    <a:pt x="86" y="7"/>
                  </a:lnTo>
                  <a:lnTo>
                    <a:pt x="83" y="15"/>
                  </a:lnTo>
                  <a:lnTo>
                    <a:pt x="83" y="15"/>
                  </a:lnTo>
                  <a:lnTo>
                    <a:pt x="78" y="25"/>
                  </a:lnTo>
                  <a:lnTo>
                    <a:pt x="76" y="28"/>
                  </a:lnTo>
                  <a:lnTo>
                    <a:pt x="73" y="3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9" name="Freeform 440"/>
            <p:cNvSpPr/>
            <p:nvPr/>
          </p:nvSpPr>
          <p:spPr bwMode="auto">
            <a:xfrm>
              <a:off x="5696670" y="4697647"/>
              <a:ext cx="18433" cy="30716"/>
            </a:xfrm>
            <a:custGeom>
              <a:avLst/>
              <a:gdLst>
                <a:gd name="T0" fmla="*/ 1 w 6"/>
                <a:gd name="T1" fmla="*/ 0 h 10"/>
                <a:gd name="T2" fmla="*/ 1 w 6"/>
                <a:gd name="T3" fmla="*/ 0 h 10"/>
                <a:gd name="T4" fmla="*/ 3 w 6"/>
                <a:gd name="T5" fmla="*/ 0 h 10"/>
                <a:gd name="T6" fmla="*/ 3 w 6"/>
                <a:gd name="T7" fmla="*/ 0 h 10"/>
                <a:gd name="T8" fmla="*/ 6 w 6"/>
                <a:gd name="T9" fmla="*/ 1 h 10"/>
                <a:gd name="T10" fmla="*/ 6 w 6"/>
                <a:gd name="T11" fmla="*/ 1 h 10"/>
                <a:gd name="T12" fmla="*/ 6 w 6"/>
                <a:gd name="T13" fmla="*/ 5 h 10"/>
                <a:gd name="T14" fmla="*/ 3 w 6"/>
                <a:gd name="T15" fmla="*/ 10 h 10"/>
                <a:gd name="T16" fmla="*/ 3 w 6"/>
                <a:gd name="T17" fmla="*/ 10 h 10"/>
                <a:gd name="T18" fmla="*/ 1 w 6"/>
                <a:gd name="T19" fmla="*/ 10 h 10"/>
                <a:gd name="T20" fmla="*/ 0 w 6"/>
                <a:gd name="T21" fmla="*/ 8 h 10"/>
                <a:gd name="T22" fmla="*/ 1 w 6"/>
                <a:gd name="T23" fmla="*/ 5 h 10"/>
                <a:gd name="T24" fmla="*/ 3 w 6"/>
                <a:gd name="T25" fmla="*/ 2 h 10"/>
                <a:gd name="T26" fmla="*/ 3 w 6"/>
                <a:gd name="T27" fmla="*/ 1 h 10"/>
                <a:gd name="T28" fmla="*/ 1 w 6"/>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10">
                  <a:moveTo>
                    <a:pt x="1" y="0"/>
                  </a:moveTo>
                  <a:lnTo>
                    <a:pt x="1" y="0"/>
                  </a:lnTo>
                  <a:lnTo>
                    <a:pt x="3" y="0"/>
                  </a:lnTo>
                  <a:lnTo>
                    <a:pt x="3" y="0"/>
                  </a:lnTo>
                  <a:lnTo>
                    <a:pt x="6" y="1"/>
                  </a:lnTo>
                  <a:lnTo>
                    <a:pt x="6" y="1"/>
                  </a:lnTo>
                  <a:lnTo>
                    <a:pt x="6" y="5"/>
                  </a:lnTo>
                  <a:lnTo>
                    <a:pt x="3" y="10"/>
                  </a:lnTo>
                  <a:lnTo>
                    <a:pt x="3" y="10"/>
                  </a:lnTo>
                  <a:lnTo>
                    <a:pt x="1" y="10"/>
                  </a:lnTo>
                  <a:lnTo>
                    <a:pt x="0" y="8"/>
                  </a:lnTo>
                  <a:lnTo>
                    <a:pt x="1" y="5"/>
                  </a:lnTo>
                  <a:lnTo>
                    <a:pt x="3" y="2"/>
                  </a:lnTo>
                  <a:lnTo>
                    <a:pt x="3" y="1"/>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0" name="Freeform 441"/>
            <p:cNvSpPr/>
            <p:nvPr/>
          </p:nvSpPr>
          <p:spPr bwMode="auto">
            <a:xfrm>
              <a:off x="3736883" y="3536523"/>
              <a:ext cx="24574" cy="18429"/>
            </a:xfrm>
            <a:custGeom>
              <a:avLst/>
              <a:gdLst>
                <a:gd name="T0" fmla="*/ 6 w 7"/>
                <a:gd name="T1" fmla="*/ 3 h 4"/>
                <a:gd name="T2" fmla="*/ 6 w 7"/>
                <a:gd name="T3" fmla="*/ 3 h 4"/>
                <a:gd name="T4" fmla="*/ 7 w 7"/>
                <a:gd name="T5" fmla="*/ 4 h 4"/>
                <a:gd name="T6" fmla="*/ 6 w 7"/>
                <a:gd name="T7" fmla="*/ 4 h 4"/>
                <a:gd name="T8" fmla="*/ 4 w 7"/>
                <a:gd name="T9" fmla="*/ 4 h 4"/>
                <a:gd name="T10" fmla="*/ 4 w 7"/>
                <a:gd name="T11" fmla="*/ 4 h 4"/>
                <a:gd name="T12" fmla="*/ 4 w 7"/>
                <a:gd name="T13" fmla="*/ 4 h 4"/>
                <a:gd name="T14" fmla="*/ 1 w 7"/>
                <a:gd name="T15" fmla="*/ 1 h 4"/>
                <a:gd name="T16" fmla="*/ 0 w 7"/>
                <a:gd name="T17" fmla="*/ 0 h 4"/>
                <a:gd name="T18" fmla="*/ 0 w 7"/>
                <a:gd name="T19" fmla="*/ 0 h 4"/>
                <a:gd name="T20" fmla="*/ 3 w 7"/>
                <a:gd name="T21" fmla="*/ 3 h 4"/>
                <a:gd name="T22" fmla="*/ 6 w 7"/>
                <a:gd name="T23"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6" y="3"/>
                  </a:moveTo>
                  <a:lnTo>
                    <a:pt x="6" y="3"/>
                  </a:lnTo>
                  <a:lnTo>
                    <a:pt x="7" y="4"/>
                  </a:lnTo>
                  <a:lnTo>
                    <a:pt x="6" y="4"/>
                  </a:lnTo>
                  <a:lnTo>
                    <a:pt x="4" y="4"/>
                  </a:lnTo>
                  <a:lnTo>
                    <a:pt x="4" y="4"/>
                  </a:lnTo>
                  <a:lnTo>
                    <a:pt x="4" y="4"/>
                  </a:lnTo>
                  <a:lnTo>
                    <a:pt x="1" y="1"/>
                  </a:lnTo>
                  <a:lnTo>
                    <a:pt x="0" y="0"/>
                  </a:lnTo>
                  <a:lnTo>
                    <a:pt x="0" y="0"/>
                  </a:lnTo>
                  <a:lnTo>
                    <a:pt x="3" y="3"/>
                  </a:lnTo>
                  <a:lnTo>
                    <a:pt x="6"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1" name="Freeform 442"/>
            <p:cNvSpPr/>
            <p:nvPr/>
          </p:nvSpPr>
          <p:spPr bwMode="auto">
            <a:xfrm>
              <a:off x="3736883" y="3536523"/>
              <a:ext cx="24574" cy="18429"/>
            </a:xfrm>
            <a:custGeom>
              <a:avLst/>
              <a:gdLst>
                <a:gd name="T0" fmla="*/ 6 w 7"/>
                <a:gd name="T1" fmla="*/ 3 h 4"/>
                <a:gd name="T2" fmla="*/ 6 w 7"/>
                <a:gd name="T3" fmla="*/ 3 h 4"/>
                <a:gd name="T4" fmla="*/ 7 w 7"/>
                <a:gd name="T5" fmla="*/ 4 h 4"/>
                <a:gd name="T6" fmla="*/ 6 w 7"/>
                <a:gd name="T7" fmla="*/ 4 h 4"/>
                <a:gd name="T8" fmla="*/ 4 w 7"/>
                <a:gd name="T9" fmla="*/ 4 h 4"/>
                <a:gd name="T10" fmla="*/ 4 w 7"/>
                <a:gd name="T11" fmla="*/ 4 h 4"/>
                <a:gd name="T12" fmla="*/ 4 w 7"/>
                <a:gd name="T13" fmla="*/ 4 h 4"/>
                <a:gd name="T14" fmla="*/ 1 w 7"/>
                <a:gd name="T15" fmla="*/ 1 h 4"/>
                <a:gd name="T16" fmla="*/ 0 w 7"/>
                <a:gd name="T17" fmla="*/ 0 h 4"/>
                <a:gd name="T18" fmla="*/ 0 w 7"/>
                <a:gd name="T19" fmla="*/ 0 h 4"/>
                <a:gd name="T20" fmla="*/ 3 w 7"/>
                <a:gd name="T21" fmla="*/ 3 h 4"/>
                <a:gd name="T22" fmla="*/ 6 w 7"/>
                <a:gd name="T23"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6" y="3"/>
                  </a:moveTo>
                  <a:lnTo>
                    <a:pt x="6" y="3"/>
                  </a:lnTo>
                  <a:lnTo>
                    <a:pt x="7" y="4"/>
                  </a:lnTo>
                  <a:lnTo>
                    <a:pt x="6" y="4"/>
                  </a:lnTo>
                  <a:lnTo>
                    <a:pt x="4" y="4"/>
                  </a:lnTo>
                  <a:lnTo>
                    <a:pt x="4" y="4"/>
                  </a:lnTo>
                  <a:lnTo>
                    <a:pt x="4" y="4"/>
                  </a:lnTo>
                  <a:lnTo>
                    <a:pt x="1" y="1"/>
                  </a:lnTo>
                  <a:lnTo>
                    <a:pt x="0" y="0"/>
                  </a:lnTo>
                  <a:lnTo>
                    <a:pt x="0" y="0"/>
                  </a:lnTo>
                  <a:lnTo>
                    <a:pt x="3" y="3"/>
                  </a:lnTo>
                  <a:lnTo>
                    <a:pt x="6"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2" name="Freeform 443"/>
            <p:cNvSpPr/>
            <p:nvPr/>
          </p:nvSpPr>
          <p:spPr bwMode="auto">
            <a:xfrm>
              <a:off x="5438641" y="4402758"/>
              <a:ext cx="55294" cy="36861"/>
            </a:xfrm>
            <a:custGeom>
              <a:avLst/>
              <a:gdLst>
                <a:gd name="T0" fmla="*/ 6 w 19"/>
                <a:gd name="T1" fmla="*/ 10 h 11"/>
                <a:gd name="T2" fmla="*/ 6 w 19"/>
                <a:gd name="T3" fmla="*/ 10 h 11"/>
                <a:gd name="T4" fmla="*/ 6 w 19"/>
                <a:gd name="T5" fmla="*/ 8 h 11"/>
                <a:gd name="T6" fmla="*/ 6 w 19"/>
                <a:gd name="T7" fmla="*/ 7 h 11"/>
                <a:gd name="T8" fmla="*/ 6 w 19"/>
                <a:gd name="T9" fmla="*/ 6 h 11"/>
                <a:gd name="T10" fmla="*/ 6 w 19"/>
                <a:gd name="T11" fmla="*/ 3 h 11"/>
                <a:gd name="T12" fmla="*/ 6 w 19"/>
                <a:gd name="T13" fmla="*/ 3 h 11"/>
                <a:gd name="T14" fmla="*/ 12 w 19"/>
                <a:gd name="T15" fmla="*/ 3 h 11"/>
                <a:gd name="T16" fmla="*/ 15 w 19"/>
                <a:gd name="T17" fmla="*/ 1 h 11"/>
                <a:gd name="T18" fmla="*/ 18 w 19"/>
                <a:gd name="T19" fmla="*/ 0 h 11"/>
                <a:gd name="T20" fmla="*/ 18 w 19"/>
                <a:gd name="T21" fmla="*/ 0 h 11"/>
                <a:gd name="T22" fmla="*/ 18 w 19"/>
                <a:gd name="T23" fmla="*/ 3 h 11"/>
                <a:gd name="T24" fmla="*/ 18 w 19"/>
                <a:gd name="T25" fmla="*/ 3 h 11"/>
                <a:gd name="T26" fmla="*/ 19 w 19"/>
                <a:gd name="T27" fmla="*/ 4 h 11"/>
                <a:gd name="T28" fmla="*/ 19 w 19"/>
                <a:gd name="T29" fmla="*/ 4 h 11"/>
                <a:gd name="T30" fmla="*/ 16 w 19"/>
                <a:gd name="T31" fmla="*/ 4 h 11"/>
                <a:gd name="T32" fmla="*/ 13 w 19"/>
                <a:gd name="T33" fmla="*/ 6 h 11"/>
                <a:gd name="T34" fmla="*/ 10 w 19"/>
                <a:gd name="T35" fmla="*/ 8 h 11"/>
                <a:gd name="T36" fmla="*/ 6 w 19"/>
                <a:gd name="T37" fmla="*/ 11 h 11"/>
                <a:gd name="T38" fmla="*/ 5 w 19"/>
                <a:gd name="T39" fmla="*/ 11 h 11"/>
                <a:gd name="T40" fmla="*/ 0 w 19"/>
                <a:gd name="T41" fmla="*/ 11 h 11"/>
                <a:gd name="T42" fmla="*/ 0 w 19"/>
                <a:gd name="T43" fmla="*/ 11 h 11"/>
                <a:gd name="T44" fmla="*/ 3 w 19"/>
                <a:gd name="T45" fmla="*/ 10 h 11"/>
                <a:gd name="T46" fmla="*/ 6 w 19"/>
                <a:gd name="T4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11">
                  <a:moveTo>
                    <a:pt x="6" y="10"/>
                  </a:moveTo>
                  <a:lnTo>
                    <a:pt x="6" y="10"/>
                  </a:lnTo>
                  <a:lnTo>
                    <a:pt x="6" y="8"/>
                  </a:lnTo>
                  <a:lnTo>
                    <a:pt x="6" y="7"/>
                  </a:lnTo>
                  <a:lnTo>
                    <a:pt x="6" y="6"/>
                  </a:lnTo>
                  <a:lnTo>
                    <a:pt x="6" y="3"/>
                  </a:lnTo>
                  <a:lnTo>
                    <a:pt x="6" y="3"/>
                  </a:lnTo>
                  <a:lnTo>
                    <a:pt x="12" y="3"/>
                  </a:lnTo>
                  <a:lnTo>
                    <a:pt x="15" y="1"/>
                  </a:lnTo>
                  <a:lnTo>
                    <a:pt x="18" y="0"/>
                  </a:lnTo>
                  <a:lnTo>
                    <a:pt x="18" y="0"/>
                  </a:lnTo>
                  <a:lnTo>
                    <a:pt x="18" y="3"/>
                  </a:lnTo>
                  <a:lnTo>
                    <a:pt x="18" y="3"/>
                  </a:lnTo>
                  <a:lnTo>
                    <a:pt x="19" y="4"/>
                  </a:lnTo>
                  <a:lnTo>
                    <a:pt x="19" y="4"/>
                  </a:lnTo>
                  <a:lnTo>
                    <a:pt x="16" y="4"/>
                  </a:lnTo>
                  <a:lnTo>
                    <a:pt x="13" y="6"/>
                  </a:lnTo>
                  <a:lnTo>
                    <a:pt x="10" y="8"/>
                  </a:lnTo>
                  <a:lnTo>
                    <a:pt x="6" y="11"/>
                  </a:lnTo>
                  <a:lnTo>
                    <a:pt x="5" y="11"/>
                  </a:lnTo>
                  <a:lnTo>
                    <a:pt x="0" y="11"/>
                  </a:lnTo>
                  <a:lnTo>
                    <a:pt x="0" y="11"/>
                  </a:lnTo>
                  <a:lnTo>
                    <a:pt x="3" y="10"/>
                  </a:lnTo>
                  <a:lnTo>
                    <a:pt x="6"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3" name="Freeform 444"/>
            <p:cNvSpPr/>
            <p:nvPr/>
          </p:nvSpPr>
          <p:spPr bwMode="auto">
            <a:xfrm>
              <a:off x="5438641" y="4402758"/>
              <a:ext cx="55294" cy="36861"/>
            </a:xfrm>
            <a:custGeom>
              <a:avLst/>
              <a:gdLst>
                <a:gd name="T0" fmla="*/ 6 w 19"/>
                <a:gd name="T1" fmla="*/ 10 h 11"/>
                <a:gd name="T2" fmla="*/ 6 w 19"/>
                <a:gd name="T3" fmla="*/ 10 h 11"/>
                <a:gd name="T4" fmla="*/ 6 w 19"/>
                <a:gd name="T5" fmla="*/ 8 h 11"/>
                <a:gd name="T6" fmla="*/ 6 w 19"/>
                <a:gd name="T7" fmla="*/ 7 h 11"/>
                <a:gd name="T8" fmla="*/ 6 w 19"/>
                <a:gd name="T9" fmla="*/ 6 h 11"/>
                <a:gd name="T10" fmla="*/ 6 w 19"/>
                <a:gd name="T11" fmla="*/ 3 h 11"/>
                <a:gd name="T12" fmla="*/ 6 w 19"/>
                <a:gd name="T13" fmla="*/ 3 h 11"/>
                <a:gd name="T14" fmla="*/ 12 w 19"/>
                <a:gd name="T15" fmla="*/ 3 h 11"/>
                <a:gd name="T16" fmla="*/ 15 w 19"/>
                <a:gd name="T17" fmla="*/ 1 h 11"/>
                <a:gd name="T18" fmla="*/ 18 w 19"/>
                <a:gd name="T19" fmla="*/ 0 h 11"/>
                <a:gd name="T20" fmla="*/ 18 w 19"/>
                <a:gd name="T21" fmla="*/ 0 h 11"/>
                <a:gd name="T22" fmla="*/ 18 w 19"/>
                <a:gd name="T23" fmla="*/ 3 h 11"/>
                <a:gd name="T24" fmla="*/ 18 w 19"/>
                <a:gd name="T25" fmla="*/ 3 h 11"/>
                <a:gd name="T26" fmla="*/ 19 w 19"/>
                <a:gd name="T27" fmla="*/ 4 h 11"/>
                <a:gd name="T28" fmla="*/ 19 w 19"/>
                <a:gd name="T29" fmla="*/ 4 h 11"/>
                <a:gd name="T30" fmla="*/ 16 w 19"/>
                <a:gd name="T31" fmla="*/ 4 h 11"/>
                <a:gd name="T32" fmla="*/ 13 w 19"/>
                <a:gd name="T33" fmla="*/ 6 h 11"/>
                <a:gd name="T34" fmla="*/ 10 w 19"/>
                <a:gd name="T35" fmla="*/ 8 h 11"/>
                <a:gd name="T36" fmla="*/ 6 w 19"/>
                <a:gd name="T37" fmla="*/ 11 h 11"/>
                <a:gd name="T38" fmla="*/ 5 w 19"/>
                <a:gd name="T39" fmla="*/ 11 h 11"/>
                <a:gd name="T40" fmla="*/ 0 w 19"/>
                <a:gd name="T41" fmla="*/ 11 h 11"/>
                <a:gd name="T42" fmla="*/ 0 w 19"/>
                <a:gd name="T43" fmla="*/ 11 h 11"/>
                <a:gd name="T44" fmla="*/ 3 w 19"/>
                <a:gd name="T45" fmla="*/ 10 h 11"/>
                <a:gd name="T46" fmla="*/ 6 w 19"/>
                <a:gd name="T4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11">
                  <a:moveTo>
                    <a:pt x="6" y="10"/>
                  </a:moveTo>
                  <a:lnTo>
                    <a:pt x="6" y="10"/>
                  </a:lnTo>
                  <a:lnTo>
                    <a:pt x="6" y="8"/>
                  </a:lnTo>
                  <a:lnTo>
                    <a:pt x="6" y="7"/>
                  </a:lnTo>
                  <a:lnTo>
                    <a:pt x="6" y="6"/>
                  </a:lnTo>
                  <a:lnTo>
                    <a:pt x="6" y="3"/>
                  </a:lnTo>
                  <a:lnTo>
                    <a:pt x="6" y="3"/>
                  </a:lnTo>
                  <a:lnTo>
                    <a:pt x="12" y="3"/>
                  </a:lnTo>
                  <a:lnTo>
                    <a:pt x="15" y="1"/>
                  </a:lnTo>
                  <a:lnTo>
                    <a:pt x="18" y="0"/>
                  </a:lnTo>
                  <a:lnTo>
                    <a:pt x="18" y="0"/>
                  </a:lnTo>
                  <a:lnTo>
                    <a:pt x="18" y="3"/>
                  </a:lnTo>
                  <a:lnTo>
                    <a:pt x="18" y="3"/>
                  </a:lnTo>
                  <a:lnTo>
                    <a:pt x="19" y="4"/>
                  </a:lnTo>
                  <a:lnTo>
                    <a:pt x="19" y="4"/>
                  </a:lnTo>
                  <a:lnTo>
                    <a:pt x="16" y="4"/>
                  </a:lnTo>
                  <a:lnTo>
                    <a:pt x="13" y="6"/>
                  </a:lnTo>
                  <a:lnTo>
                    <a:pt x="10" y="8"/>
                  </a:lnTo>
                  <a:lnTo>
                    <a:pt x="6" y="11"/>
                  </a:lnTo>
                  <a:lnTo>
                    <a:pt x="5" y="11"/>
                  </a:lnTo>
                  <a:lnTo>
                    <a:pt x="0" y="11"/>
                  </a:lnTo>
                  <a:lnTo>
                    <a:pt x="0" y="11"/>
                  </a:lnTo>
                  <a:lnTo>
                    <a:pt x="3" y="10"/>
                  </a:lnTo>
                  <a:lnTo>
                    <a:pt x="6"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4" name="Freeform 445"/>
            <p:cNvSpPr/>
            <p:nvPr/>
          </p:nvSpPr>
          <p:spPr bwMode="auto">
            <a:xfrm>
              <a:off x="5426354" y="4445763"/>
              <a:ext cx="30720" cy="30716"/>
            </a:xfrm>
            <a:custGeom>
              <a:avLst/>
              <a:gdLst>
                <a:gd name="T0" fmla="*/ 7 w 8"/>
                <a:gd name="T1" fmla="*/ 0 h 10"/>
                <a:gd name="T2" fmla="*/ 7 w 8"/>
                <a:gd name="T3" fmla="*/ 0 h 10"/>
                <a:gd name="T4" fmla="*/ 8 w 8"/>
                <a:gd name="T5" fmla="*/ 2 h 10"/>
                <a:gd name="T6" fmla="*/ 8 w 8"/>
                <a:gd name="T7" fmla="*/ 3 h 10"/>
                <a:gd name="T8" fmla="*/ 7 w 8"/>
                <a:gd name="T9" fmla="*/ 4 h 10"/>
                <a:gd name="T10" fmla="*/ 5 w 8"/>
                <a:gd name="T11" fmla="*/ 4 h 10"/>
                <a:gd name="T12" fmla="*/ 5 w 8"/>
                <a:gd name="T13" fmla="*/ 4 h 10"/>
                <a:gd name="T14" fmla="*/ 4 w 8"/>
                <a:gd name="T15" fmla="*/ 7 h 10"/>
                <a:gd name="T16" fmla="*/ 4 w 8"/>
                <a:gd name="T17" fmla="*/ 9 h 10"/>
                <a:gd name="T18" fmla="*/ 4 w 8"/>
                <a:gd name="T19" fmla="*/ 9 h 10"/>
                <a:gd name="T20" fmla="*/ 4 w 8"/>
                <a:gd name="T21" fmla="*/ 9 h 10"/>
                <a:gd name="T22" fmla="*/ 2 w 8"/>
                <a:gd name="T23" fmla="*/ 10 h 10"/>
                <a:gd name="T24" fmla="*/ 1 w 8"/>
                <a:gd name="T25" fmla="*/ 7 h 10"/>
                <a:gd name="T26" fmla="*/ 0 w 8"/>
                <a:gd name="T27" fmla="*/ 4 h 10"/>
                <a:gd name="T28" fmla="*/ 1 w 8"/>
                <a:gd name="T29" fmla="*/ 2 h 10"/>
                <a:gd name="T30" fmla="*/ 1 w 8"/>
                <a:gd name="T31" fmla="*/ 2 h 10"/>
                <a:gd name="T32" fmla="*/ 4 w 8"/>
                <a:gd name="T33" fmla="*/ 3 h 10"/>
                <a:gd name="T34" fmla="*/ 5 w 8"/>
                <a:gd name="T35" fmla="*/ 3 h 10"/>
                <a:gd name="T36" fmla="*/ 7 w 8"/>
                <a:gd name="T3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10">
                  <a:moveTo>
                    <a:pt x="7" y="0"/>
                  </a:moveTo>
                  <a:lnTo>
                    <a:pt x="7" y="0"/>
                  </a:lnTo>
                  <a:lnTo>
                    <a:pt x="8" y="2"/>
                  </a:lnTo>
                  <a:lnTo>
                    <a:pt x="8" y="3"/>
                  </a:lnTo>
                  <a:lnTo>
                    <a:pt x="7" y="4"/>
                  </a:lnTo>
                  <a:lnTo>
                    <a:pt x="5" y="4"/>
                  </a:lnTo>
                  <a:lnTo>
                    <a:pt x="5" y="4"/>
                  </a:lnTo>
                  <a:lnTo>
                    <a:pt x="4" y="7"/>
                  </a:lnTo>
                  <a:lnTo>
                    <a:pt x="4" y="9"/>
                  </a:lnTo>
                  <a:lnTo>
                    <a:pt x="4" y="9"/>
                  </a:lnTo>
                  <a:lnTo>
                    <a:pt x="4" y="9"/>
                  </a:lnTo>
                  <a:lnTo>
                    <a:pt x="2" y="10"/>
                  </a:lnTo>
                  <a:lnTo>
                    <a:pt x="1" y="7"/>
                  </a:lnTo>
                  <a:lnTo>
                    <a:pt x="0" y="4"/>
                  </a:lnTo>
                  <a:lnTo>
                    <a:pt x="1" y="2"/>
                  </a:lnTo>
                  <a:lnTo>
                    <a:pt x="1" y="2"/>
                  </a:lnTo>
                  <a:lnTo>
                    <a:pt x="4" y="3"/>
                  </a:lnTo>
                  <a:lnTo>
                    <a:pt x="5" y="3"/>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5" name="Freeform 446"/>
            <p:cNvSpPr/>
            <p:nvPr/>
          </p:nvSpPr>
          <p:spPr bwMode="auto">
            <a:xfrm>
              <a:off x="5426354" y="4445763"/>
              <a:ext cx="30720" cy="30716"/>
            </a:xfrm>
            <a:custGeom>
              <a:avLst/>
              <a:gdLst>
                <a:gd name="T0" fmla="*/ 7 w 8"/>
                <a:gd name="T1" fmla="*/ 0 h 10"/>
                <a:gd name="T2" fmla="*/ 7 w 8"/>
                <a:gd name="T3" fmla="*/ 0 h 10"/>
                <a:gd name="T4" fmla="*/ 8 w 8"/>
                <a:gd name="T5" fmla="*/ 2 h 10"/>
                <a:gd name="T6" fmla="*/ 8 w 8"/>
                <a:gd name="T7" fmla="*/ 3 h 10"/>
                <a:gd name="T8" fmla="*/ 7 w 8"/>
                <a:gd name="T9" fmla="*/ 4 h 10"/>
                <a:gd name="T10" fmla="*/ 5 w 8"/>
                <a:gd name="T11" fmla="*/ 4 h 10"/>
                <a:gd name="T12" fmla="*/ 5 w 8"/>
                <a:gd name="T13" fmla="*/ 4 h 10"/>
                <a:gd name="T14" fmla="*/ 4 w 8"/>
                <a:gd name="T15" fmla="*/ 7 h 10"/>
                <a:gd name="T16" fmla="*/ 4 w 8"/>
                <a:gd name="T17" fmla="*/ 9 h 10"/>
                <a:gd name="T18" fmla="*/ 4 w 8"/>
                <a:gd name="T19" fmla="*/ 9 h 10"/>
                <a:gd name="T20" fmla="*/ 4 w 8"/>
                <a:gd name="T21" fmla="*/ 9 h 10"/>
                <a:gd name="T22" fmla="*/ 2 w 8"/>
                <a:gd name="T23" fmla="*/ 10 h 10"/>
                <a:gd name="T24" fmla="*/ 1 w 8"/>
                <a:gd name="T25" fmla="*/ 7 h 10"/>
                <a:gd name="T26" fmla="*/ 0 w 8"/>
                <a:gd name="T27" fmla="*/ 4 h 10"/>
                <a:gd name="T28" fmla="*/ 1 w 8"/>
                <a:gd name="T29" fmla="*/ 2 h 10"/>
                <a:gd name="T30" fmla="*/ 1 w 8"/>
                <a:gd name="T31" fmla="*/ 2 h 10"/>
                <a:gd name="T32" fmla="*/ 4 w 8"/>
                <a:gd name="T33" fmla="*/ 3 h 10"/>
                <a:gd name="T34" fmla="*/ 5 w 8"/>
                <a:gd name="T35" fmla="*/ 3 h 10"/>
                <a:gd name="T36" fmla="*/ 7 w 8"/>
                <a:gd name="T3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10">
                  <a:moveTo>
                    <a:pt x="7" y="0"/>
                  </a:moveTo>
                  <a:lnTo>
                    <a:pt x="7" y="0"/>
                  </a:lnTo>
                  <a:lnTo>
                    <a:pt x="8" y="2"/>
                  </a:lnTo>
                  <a:lnTo>
                    <a:pt x="8" y="3"/>
                  </a:lnTo>
                  <a:lnTo>
                    <a:pt x="7" y="4"/>
                  </a:lnTo>
                  <a:lnTo>
                    <a:pt x="5" y="4"/>
                  </a:lnTo>
                  <a:lnTo>
                    <a:pt x="5" y="4"/>
                  </a:lnTo>
                  <a:lnTo>
                    <a:pt x="4" y="7"/>
                  </a:lnTo>
                  <a:lnTo>
                    <a:pt x="4" y="9"/>
                  </a:lnTo>
                  <a:lnTo>
                    <a:pt x="4" y="9"/>
                  </a:lnTo>
                  <a:lnTo>
                    <a:pt x="4" y="9"/>
                  </a:lnTo>
                  <a:lnTo>
                    <a:pt x="2" y="10"/>
                  </a:lnTo>
                  <a:lnTo>
                    <a:pt x="1" y="7"/>
                  </a:lnTo>
                  <a:lnTo>
                    <a:pt x="0" y="4"/>
                  </a:lnTo>
                  <a:lnTo>
                    <a:pt x="1" y="2"/>
                  </a:lnTo>
                  <a:lnTo>
                    <a:pt x="1" y="2"/>
                  </a:lnTo>
                  <a:lnTo>
                    <a:pt x="4" y="3"/>
                  </a:lnTo>
                  <a:lnTo>
                    <a:pt x="5" y="3"/>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6" name="Freeform 447"/>
            <p:cNvSpPr/>
            <p:nvPr/>
          </p:nvSpPr>
          <p:spPr bwMode="auto">
            <a:xfrm>
              <a:off x="3675448" y="3524235"/>
              <a:ext cx="18433" cy="18429"/>
            </a:xfrm>
            <a:custGeom>
              <a:avLst/>
              <a:gdLst>
                <a:gd name="T0" fmla="*/ 3 w 6"/>
                <a:gd name="T1" fmla="*/ 2 h 6"/>
                <a:gd name="T2" fmla="*/ 3 w 6"/>
                <a:gd name="T3" fmla="*/ 2 h 6"/>
                <a:gd name="T4" fmla="*/ 3 w 6"/>
                <a:gd name="T5" fmla="*/ 2 h 6"/>
                <a:gd name="T6" fmla="*/ 3 w 6"/>
                <a:gd name="T7" fmla="*/ 2 h 6"/>
                <a:gd name="T8" fmla="*/ 4 w 6"/>
                <a:gd name="T9" fmla="*/ 3 h 6"/>
                <a:gd name="T10" fmla="*/ 4 w 6"/>
                <a:gd name="T11" fmla="*/ 3 h 6"/>
                <a:gd name="T12" fmla="*/ 4 w 6"/>
                <a:gd name="T13" fmla="*/ 5 h 6"/>
                <a:gd name="T14" fmla="*/ 6 w 6"/>
                <a:gd name="T15" fmla="*/ 6 h 6"/>
                <a:gd name="T16" fmla="*/ 6 w 6"/>
                <a:gd name="T17" fmla="*/ 6 h 6"/>
                <a:gd name="T18" fmla="*/ 1 w 6"/>
                <a:gd name="T19" fmla="*/ 2 h 6"/>
                <a:gd name="T20" fmla="*/ 1 w 6"/>
                <a:gd name="T21" fmla="*/ 2 h 6"/>
                <a:gd name="T22" fmla="*/ 0 w 6"/>
                <a:gd name="T23" fmla="*/ 0 h 6"/>
                <a:gd name="T24" fmla="*/ 4 w 6"/>
                <a:gd name="T25" fmla="*/ 2 h 6"/>
                <a:gd name="T26" fmla="*/ 4 w 6"/>
                <a:gd name="T27" fmla="*/ 2 h 6"/>
                <a:gd name="T28" fmla="*/ 3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3" y="2"/>
                  </a:moveTo>
                  <a:lnTo>
                    <a:pt x="3" y="2"/>
                  </a:lnTo>
                  <a:lnTo>
                    <a:pt x="3" y="2"/>
                  </a:lnTo>
                  <a:lnTo>
                    <a:pt x="3" y="2"/>
                  </a:lnTo>
                  <a:lnTo>
                    <a:pt x="4" y="3"/>
                  </a:lnTo>
                  <a:lnTo>
                    <a:pt x="4" y="3"/>
                  </a:lnTo>
                  <a:lnTo>
                    <a:pt x="4" y="5"/>
                  </a:lnTo>
                  <a:lnTo>
                    <a:pt x="6" y="6"/>
                  </a:lnTo>
                  <a:lnTo>
                    <a:pt x="6" y="6"/>
                  </a:lnTo>
                  <a:lnTo>
                    <a:pt x="1" y="2"/>
                  </a:lnTo>
                  <a:lnTo>
                    <a:pt x="1" y="2"/>
                  </a:lnTo>
                  <a:lnTo>
                    <a:pt x="0" y="0"/>
                  </a:lnTo>
                  <a:lnTo>
                    <a:pt x="4" y="2"/>
                  </a:lnTo>
                  <a:lnTo>
                    <a:pt x="4" y="2"/>
                  </a:lnTo>
                  <a:lnTo>
                    <a:pt x="3"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7" name="Freeform 448"/>
            <p:cNvSpPr/>
            <p:nvPr/>
          </p:nvSpPr>
          <p:spPr bwMode="auto">
            <a:xfrm>
              <a:off x="3675448" y="3524235"/>
              <a:ext cx="18433" cy="18429"/>
            </a:xfrm>
            <a:custGeom>
              <a:avLst/>
              <a:gdLst>
                <a:gd name="T0" fmla="*/ 3 w 6"/>
                <a:gd name="T1" fmla="*/ 2 h 6"/>
                <a:gd name="T2" fmla="*/ 3 w 6"/>
                <a:gd name="T3" fmla="*/ 2 h 6"/>
                <a:gd name="T4" fmla="*/ 3 w 6"/>
                <a:gd name="T5" fmla="*/ 2 h 6"/>
                <a:gd name="T6" fmla="*/ 3 w 6"/>
                <a:gd name="T7" fmla="*/ 2 h 6"/>
                <a:gd name="T8" fmla="*/ 4 w 6"/>
                <a:gd name="T9" fmla="*/ 3 h 6"/>
                <a:gd name="T10" fmla="*/ 4 w 6"/>
                <a:gd name="T11" fmla="*/ 3 h 6"/>
                <a:gd name="T12" fmla="*/ 4 w 6"/>
                <a:gd name="T13" fmla="*/ 5 h 6"/>
                <a:gd name="T14" fmla="*/ 6 w 6"/>
                <a:gd name="T15" fmla="*/ 6 h 6"/>
                <a:gd name="T16" fmla="*/ 6 w 6"/>
                <a:gd name="T17" fmla="*/ 6 h 6"/>
                <a:gd name="T18" fmla="*/ 1 w 6"/>
                <a:gd name="T19" fmla="*/ 2 h 6"/>
                <a:gd name="T20" fmla="*/ 1 w 6"/>
                <a:gd name="T21" fmla="*/ 2 h 6"/>
                <a:gd name="T22" fmla="*/ 0 w 6"/>
                <a:gd name="T23" fmla="*/ 0 h 6"/>
                <a:gd name="T24" fmla="*/ 4 w 6"/>
                <a:gd name="T25" fmla="*/ 2 h 6"/>
                <a:gd name="T26" fmla="*/ 4 w 6"/>
                <a:gd name="T27" fmla="*/ 2 h 6"/>
                <a:gd name="T28" fmla="*/ 3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3" y="2"/>
                  </a:moveTo>
                  <a:lnTo>
                    <a:pt x="3" y="2"/>
                  </a:lnTo>
                  <a:lnTo>
                    <a:pt x="3" y="2"/>
                  </a:lnTo>
                  <a:lnTo>
                    <a:pt x="3" y="2"/>
                  </a:lnTo>
                  <a:lnTo>
                    <a:pt x="4" y="3"/>
                  </a:lnTo>
                  <a:lnTo>
                    <a:pt x="4" y="3"/>
                  </a:lnTo>
                  <a:lnTo>
                    <a:pt x="4" y="5"/>
                  </a:lnTo>
                  <a:lnTo>
                    <a:pt x="6" y="6"/>
                  </a:lnTo>
                  <a:lnTo>
                    <a:pt x="6" y="6"/>
                  </a:lnTo>
                  <a:lnTo>
                    <a:pt x="1" y="2"/>
                  </a:lnTo>
                  <a:lnTo>
                    <a:pt x="1" y="2"/>
                  </a:lnTo>
                  <a:lnTo>
                    <a:pt x="0" y="0"/>
                  </a:lnTo>
                  <a:lnTo>
                    <a:pt x="4" y="2"/>
                  </a:lnTo>
                  <a:lnTo>
                    <a:pt x="4" y="2"/>
                  </a:lnTo>
                  <a:lnTo>
                    <a:pt x="3"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8" name="Freeform 449"/>
            <p:cNvSpPr/>
            <p:nvPr/>
          </p:nvSpPr>
          <p:spPr bwMode="auto">
            <a:xfrm>
              <a:off x="3638586" y="3518089"/>
              <a:ext cx="36861" cy="18429"/>
            </a:xfrm>
            <a:custGeom>
              <a:avLst/>
              <a:gdLst>
                <a:gd name="T0" fmla="*/ 10 w 11"/>
                <a:gd name="T1" fmla="*/ 4 h 7"/>
                <a:gd name="T2" fmla="*/ 10 w 11"/>
                <a:gd name="T3" fmla="*/ 4 h 7"/>
                <a:gd name="T4" fmla="*/ 5 w 11"/>
                <a:gd name="T5" fmla="*/ 1 h 7"/>
                <a:gd name="T6" fmla="*/ 5 w 11"/>
                <a:gd name="T7" fmla="*/ 1 h 7"/>
                <a:gd name="T8" fmla="*/ 1 w 11"/>
                <a:gd name="T9" fmla="*/ 0 h 7"/>
                <a:gd name="T10" fmla="*/ 1 w 11"/>
                <a:gd name="T11" fmla="*/ 0 h 7"/>
                <a:gd name="T12" fmla="*/ 4 w 11"/>
                <a:gd name="T13" fmla="*/ 2 h 7"/>
                <a:gd name="T14" fmla="*/ 4 w 11"/>
                <a:gd name="T15" fmla="*/ 2 h 7"/>
                <a:gd name="T16" fmla="*/ 4 w 11"/>
                <a:gd name="T17" fmla="*/ 4 h 7"/>
                <a:gd name="T18" fmla="*/ 4 w 11"/>
                <a:gd name="T19" fmla="*/ 4 h 7"/>
                <a:gd name="T20" fmla="*/ 0 w 11"/>
                <a:gd name="T21" fmla="*/ 0 h 7"/>
                <a:gd name="T22" fmla="*/ 0 w 11"/>
                <a:gd name="T23" fmla="*/ 0 h 7"/>
                <a:gd name="T24" fmla="*/ 1 w 11"/>
                <a:gd name="T25" fmla="*/ 0 h 7"/>
                <a:gd name="T26" fmla="*/ 5 w 11"/>
                <a:gd name="T27" fmla="*/ 1 h 7"/>
                <a:gd name="T28" fmla="*/ 5 w 11"/>
                <a:gd name="T29" fmla="*/ 1 h 7"/>
                <a:gd name="T30" fmla="*/ 7 w 11"/>
                <a:gd name="T31" fmla="*/ 1 h 7"/>
                <a:gd name="T32" fmla="*/ 7 w 11"/>
                <a:gd name="T33" fmla="*/ 1 h 7"/>
                <a:gd name="T34" fmla="*/ 10 w 11"/>
                <a:gd name="T35" fmla="*/ 4 h 7"/>
                <a:gd name="T36" fmla="*/ 11 w 11"/>
                <a:gd name="T37" fmla="*/ 5 h 7"/>
                <a:gd name="T38" fmla="*/ 11 w 11"/>
                <a:gd name="T39" fmla="*/ 5 h 7"/>
                <a:gd name="T40" fmla="*/ 10 w 11"/>
                <a:gd name="T41" fmla="*/ 7 h 7"/>
                <a:gd name="T42" fmla="*/ 10 w 11"/>
                <a:gd name="T43" fmla="*/ 7 h 7"/>
                <a:gd name="T44" fmla="*/ 8 w 11"/>
                <a:gd name="T45" fmla="*/ 5 h 7"/>
                <a:gd name="T46" fmla="*/ 8 w 11"/>
                <a:gd name="T47" fmla="*/ 4 h 7"/>
                <a:gd name="T48" fmla="*/ 8 w 11"/>
                <a:gd name="T49" fmla="*/ 4 h 7"/>
                <a:gd name="T50" fmla="*/ 10 w 11"/>
                <a:gd name="T51" fmla="*/ 4 h 7"/>
                <a:gd name="T52" fmla="*/ 10 w 11"/>
                <a:gd name="T5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 h="7">
                  <a:moveTo>
                    <a:pt x="10" y="4"/>
                  </a:moveTo>
                  <a:lnTo>
                    <a:pt x="10" y="4"/>
                  </a:lnTo>
                  <a:lnTo>
                    <a:pt x="5" y="1"/>
                  </a:lnTo>
                  <a:lnTo>
                    <a:pt x="5" y="1"/>
                  </a:lnTo>
                  <a:lnTo>
                    <a:pt x="1" y="0"/>
                  </a:lnTo>
                  <a:lnTo>
                    <a:pt x="1" y="0"/>
                  </a:lnTo>
                  <a:lnTo>
                    <a:pt x="4" y="2"/>
                  </a:lnTo>
                  <a:lnTo>
                    <a:pt x="4" y="2"/>
                  </a:lnTo>
                  <a:lnTo>
                    <a:pt x="4" y="4"/>
                  </a:lnTo>
                  <a:lnTo>
                    <a:pt x="4" y="4"/>
                  </a:lnTo>
                  <a:lnTo>
                    <a:pt x="0" y="0"/>
                  </a:lnTo>
                  <a:lnTo>
                    <a:pt x="0" y="0"/>
                  </a:lnTo>
                  <a:lnTo>
                    <a:pt x="1" y="0"/>
                  </a:lnTo>
                  <a:lnTo>
                    <a:pt x="5" y="1"/>
                  </a:lnTo>
                  <a:lnTo>
                    <a:pt x="5" y="1"/>
                  </a:lnTo>
                  <a:lnTo>
                    <a:pt x="7" y="1"/>
                  </a:lnTo>
                  <a:lnTo>
                    <a:pt x="7" y="1"/>
                  </a:lnTo>
                  <a:lnTo>
                    <a:pt x="10" y="4"/>
                  </a:lnTo>
                  <a:lnTo>
                    <a:pt x="11" y="5"/>
                  </a:lnTo>
                  <a:lnTo>
                    <a:pt x="11" y="5"/>
                  </a:lnTo>
                  <a:lnTo>
                    <a:pt x="10" y="7"/>
                  </a:lnTo>
                  <a:lnTo>
                    <a:pt x="10" y="7"/>
                  </a:lnTo>
                  <a:lnTo>
                    <a:pt x="8" y="5"/>
                  </a:lnTo>
                  <a:lnTo>
                    <a:pt x="8" y="4"/>
                  </a:lnTo>
                  <a:lnTo>
                    <a:pt x="8" y="4"/>
                  </a:lnTo>
                  <a:lnTo>
                    <a:pt x="10" y="4"/>
                  </a:lnTo>
                  <a:lnTo>
                    <a:pt x="1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9" name="Freeform 450"/>
            <p:cNvSpPr/>
            <p:nvPr/>
          </p:nvSpPr>
          <p:spPr bwMode="auto">
            <a:xfrm>
              <a:off x="3638586" y="3518089"/>
              <a:ext cx="36861" cy="18429"/>
            </a:xfrm>
            <a:custGeom>
              <a:avLst/>
              <a:gdLst>
                <a:gd name="T0" fmla="*/ 10 w 11"/>
                <a:gd name="T1" fmla="*/ 4 h 7"/>
                <a:gd name="T2" fmla="*/ 10 w 11"/>
                <a:gd name="T3" fmla="*/ 4 h 7"/>
                <a:gd name="T4" fmla="*/ 5 w 11"/>
                <a:gd name="T5" fmla="*/ 1 h 7"/>
                <a:gd name="T6" fmla="*/ 5 w 11"/>
                <a:gd name="T7" fmla="*/ 1 h 7"/>
                <a:gd name="T8" fmla="*/ 1 w 11"/>
                <a:gd name="T9" fmla="*/ 0 h 7"/>
                <a:gd name="T10" fmla="*/ 1 w 11"/>
                <a:gd name="T11" fmla="*/ 0 h 7"/>
                <a:gd name="T12" fmla="*/ 4 w 11"/>
                <a:gd name="T13" fmla="*/ 2 h 7"/>
                <a:gd name="T14" fmla="*/ 4 w 11"/>
                <a:gd name="T15" fmla="*/ 2 h 7"/>
                <a:gd name="T16" fmla="*/ 4 w 11"/>
                <a:gd name="T17" fmla="*/ 4 h 7"/>
                <a:gd name="T18" fmla="*/ 4 w 11"/>
                <a:gd name="T19" fmla="*/ 4 h 7"/>
                <a:gd name="T20" fmla="*/ 0 w 11"/>
                <a:gd name="T21" fmla="*/ 0 h 7"/>
                <a:gd name="T22" fmla="*/ 0 w 11"/>
                <a:gd name="T23" fmla="*/ 0 h 7"/>
                <a:gd name="T24" fmla="*/ 1 w 11"/>
                <a:gd name="T25" fmla="*/ 0 h 7"/>
                <a:gd name="T26" fmla="*/ 5 w 11"/>
                <a:gd name="T27" fmla="*/ 1 h 7"/>
                <a:gd name="T28" fmla="*/ 5 w 11"/>
                <a:gd name="T29" fmla="*/ 1 h 7"/>
                <a:gd name="T30" fmla="*/ 7 w 11"/>
                <a:gd name="T31" fmla="*/ 1 h 7"/>
                <a:gd name="T32" fmla="*/ 7 w 11"/>
                <a:gd name="T33" fmla="*/ 1 h 7"/>
                <a:gd name="T34" fmla="*/ 10 w 11"/>
                <a:gd name="T35" fmla="*/ 4 h 7"/>
                <a:gd name="T36" fmla="*/ 11 w 11"/>
                <a:gd name="T37" fmla="*/ 5 h 7"/>
                <a:gd name="T38" fmla="*/ 11 w 11"/>
                <a:gd name="T39" fmla="*/ 5 h 7"/>
                <a:gd name="T40" fmla="*/ 10 w 11"/>
                <a:gd name="T41" fmla="*/ 7 h 7"/>
                <a:gd name="T42" fmla="*/ 10 w 11"/>
                <a:gd name="T43" fmla="*/ 7 h 7"/>
                <a:gd name="T44" fmla="*/ 8 w 11"/>
                <a:gd name="T45" fmla="*/ 5 h 7"/>
                <a:gd name="T46" fmla="*/ 8 w 11"/>
                <a:gd name="T47" fmla="*/ 4 h 7"/>
                <a:gd name="T48" fmla="*/ 8 w 11"/>
                <a:gd name="T49" fmla="*/ 4 h 7"/>
                <a:gd name="T50" fmla="*/ 10 w 11"/>
                <a:gd name="T51" fmla="*/ 4 h 7"/>
                <a:gd name="T52" fmla="*/ 10 w 11"/>
                <a:gd name="T5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 h="7">
                  <a:moveTo>
                    <a:pt x="10" y="4"/>
                  </a:moveTo>
                  <a:lnTo>
                    <a:pt x="10" y="4"/>
                  </a:lnTo>
                  <a:lnTo>
                    <a:pt x="5" y="1"/>
                  </a:lnTo>
                  <a:lnTo>
                    <a:pt x="5" y="1"/>
                  </a:lnTo>
                  <a:lnTo>
                    <a:pt x="1" y="0"/>
                  </a:lnTo>
                  <a:lnTo>
                    <a:pt x="1" y="0"/>
                  </a:lnTo>
                  <a:lnTo>
                    <a:pt x="4" y="2"/>
                  </a:lnTo>
                  <a:lnTo>
                    <a:pt x="4" y="2"/>
                  </a:lnTo>
                  <a:lnTo>
                    <a:pt x="4" y="4"/>
                  </a:lnTo>
                  <a:lnTo>
                    <a:pt x="4" y="4"/>
                  </a:lnTo>
                  <a:lnTo>
                    <a:pt x="0" y="0"/>
                  </a:lnTo>
                  <a:lnTo>
                    <a:pt x="0" y="0"/>
                  </a:lnTo>
                  <a:lnTo>
                    <a:pt x="1" y="0"/>
                  </a:lnTo>
                  <a:lnTo>
                    <a:pt x="5" y="1"/>
                  </a:lnTo>
                  <a:lnTo>
                    <a:pt x="5" y="1"/>
                  </a:lnTo>
                  <a:lnTo>
                    <a:pt x="7" y="1"/>
                  </a:lnTo>
                  <a:lnTo>
                    <a:pt x="7" y="1"/>
                  </a:lnTo>
                  <a:lnTo>
                    <a:pt x="10" y="4"/>
                  </a:lnTo>
                  <a:lnTo>
                    <a:pt x="11" y="5"/>
                  </a:lnTo>
                  <a:lnTo>
                    <a:pt x="11" y="5"/>
                  </a:lnTo>
                  <a:lnTo>
                    <a:pt x="10" y="7"/>
                  </a:lnTo>
                  <a:lnTo>
                    <a:pt x="10" y="7"/>
                  </a:lnTo>
                  <a:lnTo>
                    <a:pt x="8" y="5"/>
                  </a:lnTo>
                  <a:lnTo>
                    <a:pt x="8" y="4"/>
                  </a:lnTo>
                  <a:lnTo>
                    <a:pt x="8" y="4"/>
                  </a:lnTo>
                  <a:lnTo>
                    <a:pt x="10" y="4"/>
                  </a:lnTo>
                  <a:lnTo>
                    <a:pt x="1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0" name="Freeform 451"/>
            <p:cNvSpPr/>
            <p:nvPr/>
          </p:nvSpPr>
          <p:spPr bwMode="auto">
            <a:xfrm>
              <a:off x="5285051" y="4623925"/>
              <a:ext cx="79868" cy="98296"/>
            </a:xfrm>
            <a:custGeom>
              <a:avLst/>
              <a:gdLst>
                <a:gd name="T0" fmla="*/ 18 w 24"/>
                <a:gd name="T1" fmla="*/ 1 h 31"/>
                <a:gd name="T2" fmla="*/ 18 w 24"/>
                <a:gd name="T3" fmla="*/ 1 h 31"/>
                <a:gd name="T4" fmla="*/ 21 w 24"/>
                <a:gd name="T5" fmla="*/ 0 h 31"/>
                <a:gd name="T6" fmla="*/ 21 w 24"/>
                <a:gd name="T7" fmla="*/ 1 h 31"/>
                <a:gd name="T8" fmla="*/ 23 w 24"/>
                <a:gd name="T9" fmla="*/ 3 h 31"/>
                <a:gd name="T10" fmla="*/ 24 w 24"/>
                <a:gd name="T11" fmla="*/ 5 h 31"/>
                <a:gd name="T12" fmla="*/ 24 w 24"/>
                <a:gd name="T13" fmla="*/ 5 h 31"/>
                <a:gd name="T14" fmla="*/ 20 w 24"/>
                <a:gd name="T15" fmla="*/ 13 h 31"/>
                <a:gd name="T16" fmla="*/ 20 w 24"/>
                <a:gd name="T17" fmla="*/ 13 h 31"/>
                <a:gd name="T18" fmla="*/ 18 w 24"/>
                <a:gd name="T19" fmla="*/ 10 h 31"/>
                <a:gd name="T20" fmla="*/ 17 w 24"/>
                <a:gd name="T21" fmla="*/ 10 h 31"/>
                <a:gd name="T22" fmla="*/ 16 w 24"/>
                <a:gd name="T23" fmla="*/ 10 h 31"/>
                <a:gd name="T24" fmla="*/ 13 w 24"/>
                <a:gd name="T25" fmla="*/ 10 h 31"/>
                <a:gd name="T26" fmla="*/ 13 w 24"/>
                <a:gd name="T27" fmla="*/ 10 h 31"/>
                <a:gd name="T28" fmla="*/ 13 w 24"/>
                <a:gd name="T29" fmla="*/ 11 h 31"/>
                <a:gd name="T30" fmla="*/ 13 w 24"/>
                <a:gd name="T31" fmla="*/ 13 h 31"/>
                <a:gd name="T32" fmla="*/ 14 w 24"/>
                <a:gd name="T33" fmla="*/ 15 h 31"/>
                <a:gd name="T34" fmla="*/ 16 w 24"/>
                <a:gd name="T35" fmla="*/ 18 h 31"/>
                <a:gd name="T36" fmla="*/ 16 w 24"/>
                <a:gd name="T37" fmla="*/ 20 h 31"/>
                <a:gd name="T38" fmla="*/ 13 w 24"/>
                <a:gd name="T39" fmla="*/ 21 h 31"/>
                <a:gd name="T40" fmla="*/ 13 w 24"/>
                <a:gd name="T41" fmla="*/ 21 h 31"/>
                <a:gd name="T42" fmla="*/ 11 w 24"/>
                <a:gd name="T43" fmla="*/ 20 h 31"/>
                <a:gd name="T44" fmla="*/ 11 w 24"/>
                <a:gd name="T45" fmla="*/ 18 h 31"/>
                <a:gd name="T46" fmla="*/ 13 w 24"/>
                <a:gd name="T47" fmla="*/ 17 h 31"/>
                <a:gd name="T48" fmla="*/ 11 w 24"/>
                <a:gd name="T49" fmla="*/ 15 h 31"/>
                <a:gd name="T50" fmla="*/ 11 w 24"/>
                <a:gd name="T51" fmla="*/ 15 h 31"/>
                <a:gd name="T52" fmla="*/ 10 w 24"/>
                <a:gd name="T53" fmla="*/ 21 h 31"/>
                <a:gd name="T54" fmla="*/ 8 w 24"/>
                <a:gd name="T55" fmla="*/ 25 h 31"/>
                <a:gd name="T56" fmla="*/ 6 w 24"/>
                <a:gd name="T57" fmla="*/ 28 h 31"/>
                <a:gd name="T58" fmla="*/ 1 w 24"/>
                <a:gd name="T59" fmla="*/ 31 h 31"/>
                <a:gd name="T60" fmla="*/ 1 w 24"/>
                <a:gd name="T61" fmla="*/ 31 h 31"/>
                <a:gd name="T62" fmla="*/ 0 w 24"/>
                <a:gd name="T63" fmla="*/ 28 h 31"/>
                <a:gd name="T64" fmla="*/ 1 w 24"/>
                <a:gd name="T65" fmla="*/ 25 h 31"/>
                <a:gd name="T66" fmla="*/ 7 w 24"/>
                <a:gd name="T67" fmla="*/ 23 h 31"/>
                <a:gd name="T68" fmla="*/ 7 w 24"/>
                <a:gd name="T69" fmla="*/ 23 h 31"/>
                <a:gd name="T70" fmla="*/ 6 w 24"/>
                <a:gd name="T71" fmla="*/ 18 h 31"/>
                <a:gd name="T72" fmla="*/ 3 w 24"/>
                <a:gd name="T73" fmla="*/ 14 h 31"/>
                <a:gd name="T74" fmla="*/ 3 w 24"/>
                <a:gd name="T75" fmla="*/ 14 h 31"/>
                <a:gd name="T76" fmla="*/ 6 w 24"/>
                <a:gd name="T77" fmla="*/ 13 h 31"/>
                <a:gd name="T78" fmla="*/ 8 w 24"/>
                <a:gd name="T79" fmla="*/ 10 h 31"/>
                <a:gd name="T80" fmla="*/ 8 w 24"/>
                <a:gd name="T81" fmla="*/ 10 h 31"/>
                <a:gd name="T82" fmla="*/ 8 w 24"/>
                <a:gd name="T83" fmla="*/ 10 h 31"/>
                <a:gd name="T84" fmla="*/ 8 w 24"/>
                <a:gd name="T85" fmla="*/ 11 h 31"/>
                <a:gd name="T86" fmla="*/ 7 w 24"/>
                <a:gd name="T87" fmla="*/ 14 h 31"/>
                <a:gd name="T88" fmla="*/ 7 w 24"/>
                <a:gd name="T89" fmla="*/ 14 h 31"/>
                <a:gd name="T90" fmla="*/ 14 w 24"/>
                <a:gd name="T91" fmla="*/ 8 h 31"/>
                <a:gd name="T92" fmla="*/ 14 w 24"/>
                <a:gd name="T93" fmla="*/ 8 h 31"/>
                <a:gd name="T94" fmla="*/ 18 w 24"/>
                <a:gd name="T95" fmla="*/ 5 h 31"/>
                <a:gd name="T96" fmla="*/ 18 w 24"/>
                <a:gd name="T97" fmla="*/ 4 h 31"/>
                <a:gd name="T98" fmla="*/ 18 w 24"/>
                <a:gd name="T99"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 h="31">
                  <a:moveTo>
                    <a:pt x="18" y="1"/>
                  </a:moveTo>
                  <a:lnTo>
                    <a:pt x="18" y="1"/>
                  </a:lnTo>
                  <a:lnTo>
                    <a:pt x="21" y="0"/>
                  </a:lnTo>
                  <a:lnTo>
                    <a:pt x="21" y="1"/>
                  </a:lnTo>
                  <a:lnTo>
                    <a:pt x="23" y="3"/>
                  </a:lnTo>
                  <a:lnTo>
                    <a:pt x="24" y="5"/>
                  </a:lnTo>
                  <a:lnTo>
                    <a:pt x="24" y="5"/>
                  </a:lnTo>
                  <a:lnTo>
                    <a:pt x="20" y="13"/>
                  </a:lnTo>
                  <a:lnTo>
                    <a:pt x="20" y="13"/>
                  </a:lnTo>
                  <a:lnTo>
                    <a:pt x="18" y="10"/>
                  </a:lnTo>
                  <a:lnTo>
                    <a:pt x="17" y="10"/>
                  </a:lnTo>
                  <a:lnTo>
                    <a:pt x="16" y="10"/>
                  </a:lnTo>
                  <a:lnTo>
                    <a:pt x="13" y="10"/>
                  </a:lnTo>
                  <a:lnTo>
                    <a:pt x="13" y="10"/>
                  </a:lnTo>
                  <a:lnTo>
                    <a:pt x="13" y="11"/>
                  </a:lnTo>
                  <a:lnTo>
                    <a:pt x="13" y="13"/>
                  </a:lnTo>
                  <a:lnTo>
                    <a:pt x="14" y="15"/>
                  </a:lnTo>
                  <a:lnTo>
                    <a:pt x="16" y="18"/>
                  </a:lnTo>
                  <a:lnTo>
                    <a:pt x="16" y="20"/>
                  </a:lnTo>
                  <a:lnTo>
                    <a:pt x="13" y="21"/>
                  </a:lnTo>
                  <a:lnTo>
                    <a:pt x="13" y="21"/>
                  </a:lnTo>
                  <a:lnTo>
                    <a:pt x="11" y="20"/>
                  </a:lnTo>
                  <a:lnTo>
                    <a:pt x="11" y="18"/>
                  </a:lnTo>
                  <a:lnTo>
                    <a:pt x="13" y="17"/>
                  </a:lnTo>
                  <a:lnTo>
                    <a:pt x="11" y="15"/>
                  </a:lnTo>
                  <a:lnTo>
                    <a:pt x="11" y="15"/>
                  </a:lnTo>
                  <a:lnTo>
                    <a:pt x="10" y="21"/>
                  </a:lnTo>
                  <a:lnTo>
                    <a:pt x="8" y="25"/>
                  </a:lnTo>
                  <a:lnTo>
                    <a:pt x="6" y="28"/>
                  </a:lnTo>
                  <a:lnTo>
                    <a:pt x="1" y="31"/>
                  </a:lnTo>
                  <a:lnTo>
                    <a:pt x="1" y="31"/>
                  </a:lnTo>
                  <a:lnTo>
                    <a:pt x="0" y="28"/>
                  </a:lnTo>
                  <a:lnTo>
                    <a:pt x="1" y="25"/>
                  </a:lnTo>
                  <a:lnTo>
                    <a:pt x="7" y="23"/>
                  </a:lnTo>
                  <a:lnTo>
                    <a:pt x="7" y="23"/>
                  </a:lnTo>
                  <a:lnTo>
                    <a:pt x="6" y="18"/>
                  </a:lnTo>
                  <a:lnTo>
                    <a:pt x="3" y="14"/>
                  </a:lnTo>
                  <a:lnTo>
                    <a:pt x="3" y="14"/>
                  </a:lnTo>
                  <a:lnTo>
                    <a:pt x="6" y="13"/>
                  </a:lnTo>
                  <a:lnTo>
                    <a:pt x="8" y="10"/>
                  </a:lnTo>
                  <a:lnTo>
                    <a:pt x="8" y="10"/>
                  </a:lnTo>
                  <a:lnTo>
                    <a:pt x="8" y="10"/>
                  </a:lnTo>
                  <a:lnTo>
                    <a:pt x="8" y="11"/>
                  </a:lnTo>
                  <a:lnTo>
                    <a:pt x="7" y="14"/>
                  </a:lnTo>
                  <a:lnTo>
                    <a:pt x="7" y="14"/>
                  </a:lnTo>
                  <a:lnTo>
                    <a:pt x="14" y="8"/>
                  </a:lnTo>
                  <a:lnTo>
                    <a:pt x="14" y="8"/>
                  </a:lnTo>
                  <a:lnTo>
                    <a:pt x="18" y="5"/>
                  </a:lnTo>
                  <a:lnTo>
                    <a:pt x="18" y="4"/>
                  </a:lnTo>
                  <a:lnTo>
                    <a:pt x="18"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1" name="Freeform 452"/>
            <p:cNvSpPr/>
            <p:nvPr/>
          </p:nvSpPr>
          <p:spPr bwMode="auto">
            <a:xfrm>
              <a:off x="5285051" y="4623925"/>
              <a:ext cx="79868" cy="98296"/>
            </a:xfrm>
            <a:custGeom>
              <a:avLst/>
              <a:gdLst>
                <a:gd name="T0" fmla="*/ 18 w 24"/>
                <a:gd name="T1" fmla="*/ 1 h 31"/>
                <a:gd name="T2" fmla="*/ 18 w 24"/>
                <a:gd name="T3" fmla="*/ 1 h 31"/>
                <a:gd name="T4" fmla="*/ 21 w 24"/>
                <a:gd name="T5" fmla="*/ 0 h 31"/>
                <a:gd name="T6" fmla="*/ 21 w 24"/>
                <a:gd name="T7" fmla="*/ 1 h 31"/>
                <a:gd name="T8" fmla="*/ 23 w 24"/>
                <a:gd name="T9" fmla="*/ 3 h 31"/>
                <a:gd name="T10" fmla="*/ 24 w 24"/>
                <a:gd name="T11" fmla="*/ 5 h 31"/>
                <a:gd name="T12" fmla="*/ 24 w 24"/>
                <a:gd name="T13" fmla="*/ 5 h 31"/>
                <a:gd name="T14" fmla="*/ 20 w 24"/>
                <a:gd name="T15" fmla="*/ 13 h 31"/>
                <a:gd name="T16" fmla="*/ 20 w 24"/>
                <a:gd name="T17" fmla="*/ 13 h 31"/>
                <a:gd name="T18" fmla="*/ 18 w 24"/>
                <a:gd name="T19" fmla="*/ 10 h 31"/>
                <a:gd name="T20" fmla="*/ 17 w 24"/>
                <a:gd name="T21" fmla="*/ 10 h 31"/>
                <a:gd name="T22" fmla="*/ 16 w 24"/>
                <a:gd name="T23" fmla="*/ 10 h 31"/>
                <a:gd name="T24" fmla="*/ 13 w 24"/>
                <a:gd name="T25" fmla="*/ 10 h 31"/>
                <a:gd name="T26" fmla="*/ 13 w 24"/>
                <a:gd name="T27" fmla="*/ 10 h 31"/>
                <a:gd name="T28" fmla="*/ 13 w 24"/>
                <a:gd name="T29" fmla="*/ 11 h 31"/>
                <a:gd name="T30" fmla="*/ 13 w 24"/>
                <a:gd name="T31" fmla="*/ 13 h 31"/>
                <a:gd name="T32" fmla="*/ 14 w 24"/>
                <a:gd name="T33" fmla="*/ 15 h 31"/>
                <a:gd name="T34" fmla="*/ 16 w 24"/>
                <a:gd name="T35" fmla="*/ 18 h 31"/>
                <a:gd name="T36" fmla="*/ 16 w 24"/>
                <a:gd name="T37" fmla="*/ 20 h 31"/>
                <a:gd name="T38" fmla="*/ 13 w 24"/>
                <a:gd name="T39" fmla="*/ 21 h 31"/>
                <a:gd name="T40" fmla="*/ 13 w 24"/>
                <a:gd name="T41" fmla="*/ 21 h 31"/>
                <a:gd name="T42" fmla="*/ 11 w 24"/>
                <a:gd name="T43" fmla="*/ 20 h 31"/>
                <a:gd name="T44" fmla="*/ 11 w 24"/>
                <a:gd name="T45" fmla="*/ 18 h 31"/>
                <a:gd name="T46" fmla="*/ 13 w 24"/>
                <a:gd name="T47" fmla="*/ 17 h 31"/>
                <a:gd name="T48" fmla="*/ 11 w 24"/>
                <a:gd name="T49" fmla="*/ 15 h 31"/>
                <a:gd name="T50" fmla="*/ 11 w 24"/>
                <a:gd name="T51" fmla="*/ 15 h 31"/>
                <a:gd name="T52" fmla="*/ 10 w 24"/>
                <a:gd name="T53" fmla="*/ 21 h 31"/>
                <a:gd name="T54" fmla="*/ 8 w 24"/>
                <a:gd name="T55" fmla="*/ 25 h 31"/>
                <a:gd name="T56" fmla="*/ 6 w 24"/>
                <a:gd name="T57" fmla="*/ 28 h 31"/>
                <a:gd name="T58" fmla="*/ 1 w 24"/>
                <a:gd name="T59" fmla="*/ 31 h 31"/>
                <a:gd name="T60" fmla="*/ 1 w 24"/>
                <a:gd name="T61" fmla="*/ 31 h 31"/>
                <a:gd name="T62" fmla="*/ 0 w 24"/>
                <a:gd name="T63" fmla="*/ 28 h 31"/>
                <a:gd name="T64" fmla="*/ 1 w 24"/>
                <a:gd name="T65" fmla="*/ 25 h 31"/>
                <a:gd name="T66" fmla="*/ 7 w 24"/>
                <a:gd name="T67" fmla="*/ 23 h 31"/>
                <a:gd name="T68" fmla="*/ 7 w 24"/>
                <a:gd name="T69" fmla="*/ 23 h 31"/>
                <a:gd name="T70" fmla="*/ 6 w 24"/>
                <a:gd name="T71" fmla="*/ 18 h 31"/>
                <a:gd name="T72" fmla="*/ 3 w 24"/>
                <a:gd name="T73" fmla="*/ 14 h 31"/>
                <a:gd name="T74" fmla="*/ 3 w 24"/>
                <a:gd name="T75" fmla="*/ 14 h 31"/>
                <a:gd name="T76" fmla="*/ 6 w 24"/>
                <a:gd name="T77" fmla="*/ 13 h 31"/>
                <a:gd name="T78" fmla="*/ 8 w 24"/>
                <a:gd name="T79" fmla="*/ 10 h 31"/>
                <a:gd name="T80" fmla="*/ 8 w 24"/>
                <a:gd name="T81" fmla="*/ 10 h 31"/>
                <a:gd name="T82" fmla="*/ 8 w 24"/>
                <a:gd name="T83" fmla="*/ 10 h 31"/>
                <a:gd name="T84" fmla="*/ 8 w 24"/>
                <a:gd name="T85" fmla="*/ 11 h 31"/>
                <a:gd name="T86" fmla="*/ 7 w 24"/>
                <a:gd name="T87" fmla="*/ 14 h 31"/>
                <a:gd name="T88" fmla="*/ 7 w 24"/>
                <a:gd name="T89" fmla="*/ 14 h 31"/>
                <a:gd name="T90" fmla="*/ 14 w 24"/>
                <a:gd name="T91" fmla="*/ 8 h 31"/>
                <a:gd name="T92" fmla="*/ 14 w 24"/>
                <a:gd name="T93" fmla="*/ 8 h 31"/>
                <a:gd name="T94" fmla="*/ 18 w 24"/>
                <a:gd name="T95" fmla="*/ 5 h 31"/>
                <a:gd name="T96" fmla="*/ 18 w 24"/>
                <a:gd name="T97" fmla="*/ 4 h 31"/>
                <a:gd name="T98" fmla="*/ 18 w 24"/>
                <a:gd name="T99"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 h="31">
                  <a:moveTo>
                    <a:pt x="18" y="1"/>
                  </a:moveTo>
                  <a:lnTo>
                    <a:pt x="18" y="1"/>
                  </a:lnTo>
                  <a:lnTo>
                    <a:pt x="21" y="0"/>
                  </a:lnTo>
                  <a:lnTo>
                    <a:pt x="21" y="1"/>
                  </a:lnTo>
                  <a:lnTo>
                    <a:pt x="23" y="3"/>
                  </a:lnTo>
                  <a:lnTo>
                    <a:pt x="24" y="5"/>
                  </a:lnTo>
                  <a:lnTo>
                    <a:pt x="24" y="5"/>
                  </a:lnTo>
                  <a:lnTo>
                    <a:pt x="20" y="13"/>
                  </a:lnTo>
                  <a:lnTo>
                    <a:pt x="20" y="13"/>
                  </a:lnTo>
                  <a:lnTo>
                    <a:pt x="18" y="10"/>
                  </a:lnTo>
                  <a:lnTo>
                    <a:pt x="17" y="10"/>
                  </a:lnTo>
                  <a:lnTo>
                    <a:pt x="16" y="10"/>
                  </a:lnTo>
                  <a:lnTo>
                    <a:pt x="13" y="10"/>
                  </a:lnTo>
                  <a:lnTo>
                    <a:pt x="13" y="10"/>
                  </a:lnTo>
                  <a:lnTo>
                    <a:pt x="13" y="11"/>
                  </a:lnTo>
                  <a:lnTo>
                    <a:pt x="13" y="13"/>
                  </a:lnTo>
                  <a:lnTo>
                    <a:pt x="14" y="15"/>
                  </a:lnTo>
                  <a:lnTo>
                    <a:pt x="16" y="18"/>
                  </a:lnTo>
                  <a:lnTo>
                    <a:pt x="16" y="20"/>
                  </a:lnTo>
                  <a:lnTo>
                    <a:pt x="13" y="21"/>
                  </a:lnTo>
                  <a:lnTo>
                    <a:pt x="13" y="21"/>
                  </a:lnTo>
                  <a:lnTo>
                    <a:pt x="11" y="20"/>
                  </a:lnTo>
                  <a:lnTo>
                    <a:pt x="11" y="18"/>
                  </a:lnTo>
                  <a:lnTo>
                    <a:pt x="13" y="17"/>
                  </a:lnTo>
                  <a:lnTo>
                    <a:pt x="11" y="15"/>
                  </a:lnTo>
                  <a:lnTo>
                    <a:pt x="11" y="15"/>
                  </a:lnTo>
                  <a:lnTo>
                    <a:pt x="10" y="21"/>
                  </a:lnTo>
                  <a:lnTo>
                    <a:pt x="8" y="25"/>
                  </a:lnTo>
                  <a:lnTo>
                    <a:pt x="6" y="28"/>
                  </a:lnTo>
                  <a:lnTo>
                    <a:pt x="1" y="31"/>
                  </a:lnTo>
                  <a:lnTo>
                    <a:pt x="1" y="31"/>
                  </a:lnTo>
                  <a:lnTo>
                    <a:pt x="0" y="28"/>
                  </a:lnTo>
                  <a:lnTo>
                    <a:pt x="1" y="25"/>
                  </a:lnTo>
                  <a:lnTo>
                    <a:pt x="7" y="23"/>
                  </a:lnTo>
                  <a:lnTo>
                    <a:pt x="7" y="23"/>
                  </a:lnTo>
                  <a:lnTo>
                    <a:pt x="6" y="18"/>
                  </a:lnTo>
                  <a:lnTo>
                    <a:pt x="3" y="14"/>
                  </a:lnTo>
                  <a:lnTo>
                    <a:pt x="3" y="14"/>
                  </a:lnTo>
                  <a:lnTo>
                    <a:pt x="6" y="13"/>
                  </a:lnTo>
                  <a:lnTo>
                    <a:pt x="8" y="10"/>
                  </a:lnTo>
                  <a:lnTo>
                    <a:pt x="8" y="10"/>
                  </a:lnTo>
                  <a:lnTo>
                    <a:pt x="8" y="10"/>
                  </a:lnTo>
                  <a:lnTo>
                    <a:pt x="8" y="11"/>
                  </a:lnTo>
                  <a:lnTo>
                    <a:pt x="7" y="14"/>
                  </a:lnTo>
                  <a:lnTo>
                    <a:pt x="7" y="14"/>
                  </a:lnTo>
                  <a:lnTo>
                    <a:pt x="14" y="8"/>
                  </a:lnTo>
                  <a:lnTo>
                    <a:pt x="14" y="8"/>
                  </a:lnTo>
                  <a:lnTo>
                    <a:pt x="18" y="5"/>
                  </a:lnTo>
                  <a:lnTo>
                    <a:pt x="18" y="4"/>
                  </a:lnTo>
                  <a:lnTo>
                    <a:pt x="18"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2" name="Freeform 453"/>
            <p:cNvSpPr/>
            <p:nvPr/>
          </p:nvSpPr>
          <p:spPr bwMode="auto">
            <a:xfrm>
              <a:off x="3650873" y="3530378"/>
              <a:ext cx="36861" cy="24574"/>
            </a:xfrm>
            <a:custGeom>
              <a:avLst/>
              <a:gdLst>
                <a:gd name="T0" fmla="*/ 6 w 11"/>
                <a:gd name="T1" fmla="*/ 4 h 8"/>
                <a:gd name="T2" fmla="*/ 6 w 11"/>
                <a:gd name="T3" fmla="*/ 4 h 8"/>
                <a:gd name="T4" fmla="*/ 1 w 11"/>
                <a:gd name="T5" fmla="*/ 1 h 8"/>
                <a:gd name="T6" fmla="*/ 1 w 11"/>
                <a:gd name="T7" fmla="*/ 1 h 8"/>
                <a:gd name="T8" fmla="*/ 0 w 11"/>
                <a:gd name="T9" fmla="*/ 0 h 8"/>
                <a:gd name="T10" fmla="*/ 0 w 11"/>
                <a:gd name="T11" fmla="*/ 0 h 8"/>
                <a:gd name="T12" fmla="*/ 4 w 11"/>
                <a:gd name="T13" fmla="*/ 3 h 8"/>
                <a:gd name="T14" fmla="*/ 4 w 11"/>
                <a:gd name="T15" fmla="*/ 3 h 8"/>
                <a:gd name="T16" fmla="*/ 11 w 11"/>
                <a:gd name="T17" fmla="*/ 8 h 8"/>
                <a:gd name="T18" fmla="*/ 11 w 11"/>
                <a:gd name="T19" fmla="*/ 8 h 8"/>
                <a:gd name="T20" fmla="*/ 7 w 11"/>
                <a:gd name="T21" fmla="*/ 6 h 8"/>
                <a:gd name="T22" fmla="*/ 6 w 11"/>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8">
                  <a:moveTo>
                    <a:pt x="6" y="4"/>
                  </a:moveTo>
                  <a:lnTo>
                    <a:pt x="6" y="4"/>
                  </a:lnTo>
                  <a:lnTo>
                    <a:pt x="1" y="1"/>
                  </a:lnTo>
                  <a:lnTo>
                    <a:pt x="1" y="1"/>
                  </a:lnTo>
                  <a:lnTo>
                    <a:pt x="0" y="0"/>
                  </a:lnTo>
                  <a:lnTo>
                    <a:pt x="0" y="0"/>
                  </a:lnTo>
                  <a:lnTo>
                    <a:pt x="4" y="3"/>
                  </a:lnTo>
                  <a:lnTo>
                    <a:pt x="4" y="3"/>
                  </a:lnTo>
                  <a:lnTo>
                    <a:pt x="11" y="8"/>
                  </a:lnTo>
                  <a:lnTo>
                    <a:pt x="11" y="8"/>
                  </a:lnTo>
                  <a:lnTo>
                    <a:pt x="7" y="6"/>
                  </a:lnTo>
                  <a:lnTo>
                    <a:pt x="6"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3" name="Freeform 454"/>
            <p:cNvSpPr/>
            <p:nvPr/>
          </p:nvSpPr>
          <p:spPr bwMode="auto">
            <a:xfrm>
              <a:off x="3650873" y="3530378"/>
              <a:ext cx="36861" cy="24574"/>
            </a:xfrm>
            <a:custGeom>
              <a:avLst/>
              <a:gdLst>
                <a:gd name="T0" fmla="*/ 6 w 11"/>
                <a:gd name="T1" fmla="*/ 4 h 8"/>
                <a:gd name="T2" fmla="*/ 6 w 11"/>
                <a:gd name="T3" fmla="*/ 4 h 8"/>
                <a:gd name="T4" fmla="*/ 1 w 11"/>
                <a:gd name="T5" fmla="*/ 1 h 8"/>
                <a:gd name="T6" fmla="*/ 1 w 11"/>
                <a:gd name="T7" fmla="*/ 1 h 8"/>
                <a:gd name="T8" fmla="*/ 0 w 11"/>
                <a:gd name="T9" fmla="*/ 0 h 8"/>
                <a:gd name="T10" fmla="*/ 0 w 11"/>
                <a:gd name="T11" fmla="*/ 0 h 8"/>
                <a:gd name="T12" fmla="*/ 4 w 11"/>
                <a:gd name="T13" fmla="*/ 3 h 8"/>
                <a:gd name="T14" fmla="*/ 4 w 11"/>
                <a:gd name="T15" fmla="*/ 3 h 8"/>
                <a:gd name="T16" fmla="*/ 11 w 11"/>
                <a:gd name="T17" fmla="*/ 8 h 8"/>
                <a:gd name="T18" fmla="*/ 11 w 11"/>
                <a:gd name="T19" fmla="*/ 8 h 8"/>
                <a:gd name="T20" fmla="*/ 7 w 11"/>
                <a:gd name="T21" fmla="*/ 6 h 8"/>
                <a:gd name="T22" fmla="*/ 6 w 11"/>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8">
                  <a:moveTo>
                    <a:pt x="6" y="4"/>
                  </a:moveTo>
                  <a:lnTo>
                    <a:pt x="6" y="4"/>
                  </a:lnTo>
                  <a:lnTo>
                    <a:pt x="1" y="1"/>
                  </a:lnTo>
                  <a:lnTo>
                    <a:pt x="1" y="1"/>
                  </a:lnTo>
                  <a:lnTo>
                    <a:pt x="0" y="0"/>
                  </a:lnTo>
                  <a:lnTo>
                    <a:pt x="0" y="0"/>
                  </a:lnTo>
                  <a:lnTo>
                    <a:pt x="4" y="3"/>
                  </a:lnTo>
                  <a:lnTo>
                    <a:pt x="4" y="3"/>
                  </a:lnTo>
                  <a:lnTo>
                    <a:pt x="11" y="8"/>
                  </a:lnTo>
                  <a:lnTo>
                    <a:pt x="11" y="8"/>
                  </a:lnTo>
                  <a:lnTo>
                    <a:pt x="7" y="6"/>
                  </a:lnTo>
                  <a:lnTo>
                    <a:pt x="6"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4" name="Freeform 455"/>
            <p:cNvSpPr/>
            <p:nvPr/>
          </p:nvSpPr>
          <p:spPr bwMode="auto">
            <a:xfrm>
              <a:off x="3700021" y="3567238"/>
              <a:ext cx="6145" cy="12287"/>
            </a:xfrm>
            <a:custGeom>
              <a:avLst/>
              <a:gdLst>
                <a:gd name="T0" fmla="*/ 2 w 3"/>
                <a:gd name="T1" fmla="*/ 0 h 3"/>
                <a:gd name="T2" fmla="*/ 2 w 3"/>
                <a:gd name="T3" fmla="*/ 0 h 3"/>
                <a:gd name="T4" fmla="*/ 3 w 3"/>
                <a:gd name="T5" fmla="*/ 1 h 3"/>
                <a:gd name="T6" fmla="*/ 2 w 3"/>
                <a:gd name="T7" fmla="*/ 1 h 3"/>
                <a:gd name="T8" fmla="*/ 2 w 3"/>
                <a:gd name="T9" fmla="*/ 1 h 3"/>
                <a:gd name="T10" fmla="*/ 2 w 3"/>
                <a:gd name="T11" fmla="*/ 3 h 3"/>
                <a:gd name="T12" fmla="*/ 2 w 3"/>
                <a:gd name="T13" fmla="*/ 3 h 3"/>
                <a:gd name="T14" fmla="*/ 0 w 3"/>
                <a:gd name="T15" fmla="*/ 0 h 3"/>
                <a:gd name="T16" fmla="*/ 2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2" y="0"/>
                  </a:moveTo>
                  <a:lnTo>
                    <a:pt x="2" y="0"/>
                  </a:lnTo>
                  <a:lnTo>
                    <a:pt x="3" y="1"/>
                  </a:lnTo>
                  <a:lnTo>
                    <a:pt x="2" y="1"/>
                  </a:lnTo>
                  <a:lnTo>
                    <a:pt x="2" y="1"/>
                  </a:lnTo>
                  <a:lnTo>
                    <a:pt x="2" y="3"/>
                  </a:lnTo>
                  <a:lnTo>
                    <a:pt x="2" y="3"/>
                  </a:lnTo>
                  <a:lnTo>
                    <a:pt x="0" y="0"/>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5" name="Freeform 456"/>
            <p:cNvSpPr/>
            <p:nvPr/>
          </p:nvSpPr>
          <p:spPr bwMode="auto">
            <a:xfrm>
              <a:off x="3700021" y="3567238"/>
              <a:ext cx="6145" cy="12287"/>
            </a:xfrm>
            <a:custGeom>
              <a:avLst/>
              <a:gdLst>
                <a:gd name="T0" fmla="*/ 2 w 3"/>
                <a:gd name="T1" fmla="*/ 0 h 3"/>
                <a:gd name="T2" fmla="*/ 2 w 3"/>
                <a:gd name="T3" fmla="*/ 0 h 3"/>
                <a:gd name="T4" fmla="*/ 3 w 3"/>
                <a:gd name="T5" fmla="*/ 1 h 3"/>
                <a:gd name="T6" fmla="*/ 2 w 3"/>
                <a:gd name="T7" fmla="*/ 1 h 3"/>
                <a:gd name="T8" fmla="*/ 2 w 3"/>
                <a:gd name="T9" fmla="*/ 1 h 3"/>
                <a:gd name="T10" fmla="*/ 2 w 3"/>
                <a:gd name="T11" fmla="*/ 3 h 3"/>
                <a:gd name="T12" fmla="*/ 2 w 3"/>
                <a:gd name="T13" fmla="*/ 3 h 3"/>
                <a:gd name="T14" fmla="*/ 0 w 3"/>
                <a:gd name="T15" fmla="*/ 0 h 3"/>
                <a:gd name="T16" fmla="*/ 2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2" y="0"/>
                  </a:moveTo>
                  <a:lnTo>
                    <a:pt x="2" y="0"/>
                  </a:lnTo>
                  <a:lnTo>
                    <a:pt x="3" y="1"/>
                  </a:lnTo>
                  <a:lnTo>
                    <a:pt x="2" y="1"/>
                  </a:lnTo>
                  <a:lnTo>
                    <a:pt x="2" y="1"/>
                  </a:lnTo>
                  <a:lnTo>
                    <a:pt x="2" y="3"/>
                  </a:lnTo>
                  <a:lnTo>
                    <a:pt x="2" y="3"/>
                  </a:lnTo>
                  <a:lnTo>
                    <a:pt x="0" y="0"/>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6" name="Freeform 457"/>
            <p:cNvSpPr/>
            <p:nvPr/>
          </p:nvSpPr>
          <p:spPr bwMode="auto">
            <a:xfrm>
              <a:off x="5235903" y="4746795"/>
              <a:ext cx="49148" cy="43003"/>
            </a:xfrm>
            <a:custGeom>
              <a:avLst/>
              <a:gdLst>
                <a:gd name="T0" fmla="*/ 15 w 15"/>
                <a:gd name="T1" fmla="*/ 0 h 15"/>
                <a:gd name="T2" fmla="*/ 15 w 15"/>
                <a:gd name="T3" fmla="*/ 0 h 15"/>
                <a:gd name="T4" fmla="*/ 11 w 15"/>
                <a:gd name="T5" fmla="*/ 3 h 15"/>
                <a:gd name="T6" fmla="*/ 10 w 15"/>
                <a:gd name="T7" fmla="*/ 5 h 15"/>
                <a:gd name="T8" fmla="*/ 8 w 15"/>
                <a:gd name="T9" fmla="*/ 3 h 15"/>
                <a:gd name="T10" fmla="*/ 8 w 15"/>
                <a:gd name="T11" fmla="*/ 3 h 15"/>
                <a:gd name="T12" fmla="*/ 8 w 15"/>
                <a:gd name="T13" fmla="*/ 6 h 15"/>
                <a:gd name="T14" fmla="*/ 8 w 15"/>
                <a:gd name="T15" fmla="*/ 7 h 15"/>
                <a:gd name="T16" fmla="*/ 13 w 15"/>
                <a:gd name="T17" fmla="*/ 9 h 15"/>
                <a:gd name="T18" fmla="*/ 13 w 15"/>
                <a:gd name="T19" fmla="*/ 9 h 15"/>
                <a:gd name="T20" fmla="*/ 8 w 15"/>
                <a:gd name="T21" fmla="*/ 15 h 15"/>
                <a:gd name="T22" fmla="*/ 8 w 15"/>
                <a:gd name="T23" fmla="*/ 15 h 15"/>
                <a:gd name="T24" fmla="*/ 8 w 15"/>
                <a:gd name="T25" fmla="*/ 10 h 15"/>
                <a:gd name="T26" fmla="*/ 5 w 15"/>
                <a:gd name="T27" fmla="*/ 10 h 15"/>
                <a:gd name="T28" fmla="*/ 3 w 15"/>
                <a:gd name="T29" fmla="*/ 12 h 15"/>
                <a:gd name="T30" fmla="*/ 1 w 15"/>
                <a:gd name="T31" fmla="*/ 13 h 15"/>
                <a:gd name="T32" fmla="*/ 0 w 15"/>
                <a:gd name="T33" fmla="*/ 12 h 15"/>
                <a:gd name="T34" fmla="*/ 0 w 15"/>
                <a:gd name="T35" fmla="*/ 12 h 15"/>
                <a:gd name="T36" fmla="*/ 4 w 15"/>
                <a:gd name="T37" fmla="*/ 9 h 15"/>
                <a:gd name="T38" fmla="*/ 7 w 15"/>
                <a:gd name="T39" fmla="*/ 5 h 15"/>
                <a:gd name="T40" fmla="*/ 10 w 15"/>
                <a:gd name="T41" fmla="*/ 0 h 15"/>
                <a:gd name="T42" fmla="*/ 13 w 15"/>
                <a:gd name="T43" fmla="*/ 0 h 15"/>
                <a:gd name="T44" fmla="*/ 15 w 15"/>
                <a:gd name="T4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15">
                  <a:moveTo>
                    <a:pt x="15" y="0"/>
                  </a:moveTo>
                  <a:lnTo>
                    <a:pt x="15" y="0"/>
                  </a:lnTo>
                  <a:lnTo>
                    <a:pt x="11" y="3"/>
                  </a:lnTo>
                  <a:lnTo>
                    <a:pt x="10" y="5"/>
                  </a:lnTo>
                  <a:lnTo>
                    <a:pt x="8" y="3"/>
                  </a:lnTo>
                  <a:lnTo>
                    <a:pt x="8" y="3"/>
                  </a:lnTo>
                  <a:lnTo>
                    <a:pt x="8" y="6"/>
                  </a:lnTo>
                  <a:lnTo>
                    <a:pt x="8" y="7"/>
                  </a:lnTo>
                  <a:lnTo>
                    <a:pt x="13" y="9"/>
                  </a:lnTo>
                  <a:lnTo>
                    <a:pt x="13" y="9"/>
                  </a:lnTo>
                  <a:lnTo>
                    <a:pt x="8" y="15"/>
                  </a:lnTo>
                  <a:lnTo>
                    <a:pt x="8" y="15"/>
                  </a:lnTo>
                  <a:lnTo>
                    <a:pt x="8" y="10"/>
                  </a:lnTo>
                  <a:lnTo>
                    <a:pt x="5" y="10"/>
                  </a:lnTo>
                  <a:lnTo>
                    <a:pt x="3" y="12"/>
                  </a:lnTo>
                  <a:lnTo>
                    <a:pt x="1" y="13"/>
                  </a:lnTo>
                  <a:lnTo>
                    <a:pt x="0" y="12"/>
                  </a:lnTo>
                  <a:lnTo>
                    <a:pt x="0" y="12"/>
                  </a:lnTo>
                  <a:lnTo>
                    <a:pt x="4" y="9"/>
                  </a:lnTo>
                  <a:lnTo>
                    <a:pt x="7" y="5"/>
                  </a:lnTo>
                  <a:lnTo>
                    <a:pt x="10" y="0"/>
                  </a:lnTo>
                  <a:lnTo>
                    <a:pt x="13" y="0"/>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7" name="Freeform 458"/>
            <p:cNvSpPr/>
            <p:nvPr/>
          </p:nvSpPr>
          <p:spPr bwMode="auto">
            <a:xfrm>
              <a:off x="5235903" y="4746795"/>
              <a:ext cx="49148" cy="43003"/>
            </a:xfrm>
            <a:custGeom>
              <a:avLst/>
              <a:gdLst>
                <a:gd name="T0" fmla="*/ 15 w 15"/>
                <a:gd name="T1" fmla="*/ 0 h 15"/>
                <a:gd name="T2" fmla="*/ 15 w 15"/>
                <a:gd name="T3" fmla="*/ 0 h 15"/>
                <a:gd name="T4" fmla="*/ 11 w 15"/>
                <a:gd name="T5" fmla="*/ 3 h 15"/>
                <a:gd name="T6" fmla="*/ 10 w 15"/>
                <a:gd name="T7" fmla="*/ 5 h 15"/>
                <a:gd name="T8" fmla="*/ 8 w 15"/>
                <a:gd name="T9" fmla="*/ 3 h 15"/>
                <a:gd name="T10" fmla="*/ 8 w 15"/>
                <a:gd name="T11" fmla="*/ 3 h 15"/>
                <a:gd name="T12" fmla="*/ 8 w 15"/>
                <a:gd name="T13" fmla="*/ 6 h 15"/>
                <a:gd name="T14" fmla="*/ 8 w 15"/>
                <a:gd name="T15" fmla="*/ 7 h 15"/>
                <a:gd name="T16" fmla="*/ 13 w 15"/>
                <a:gd name="T17" fmla="*/ 9 h 15"/>
                <a:gd name="T18" fmla="*/ 13 w 15"/>
                <a:gd name="T19" fmla="*/ 9 h 15"/>
                <a:gd name="T20" fmla="*/ 8 w 15"/>
                <a:gd name="T21" fmla="*/ 15 h 15"/>
                <a:gd name="T22" fmla="*/ 8 w 15"/>
                <a:gd name="T23" fmla="*/ 15 h 15"/>
                <a:gd name="T24" fmla="*/ 8 w 15"/>
                <a:gd name="T25" fmla="*/ 10 h 15"/>
                <a:gd name="T26" fmla="*/ 5 w 15"/>
                <a:gd name="T27" fmla="*/ 10 h 15"/>
                <a:gd name="T28" fmla="*/ 3 w 15"/>
                <a:gd name="T29" fmla="*/ 12 h 15"/>
                <a:gd name="T30" fmla="*/ 1 w 15"/>
                <a:gd name="T31" fmla="*/ 13 h 15"/>
                <a:gd name="T32" fmla="*/ 0 w 15"/>
                <a:gd name="T33" fmla="*/ 12 h 15"/>
                <a:gd name="T34" fmla="*/ 0 w 15"/>
                <a:gd name="T35" fmla="*/ 12 h 15"/>
                <a:gd name="T36" fmla="*/ 4 w 15"/>
                <a:gd name="T37" fmla="*/ 9 h 15"/>
                <a:gd name="T38" fmla="*/ 7 w 15"/>
                <a:gd name="T39" fmla="*/ 5 h 15"/>
                <a:gd name="T40" fmla="*/ 10 w 15"/>
                <a:gd name="T41" fmla="*/ 0 h 15"/>
                <a:gd name="T42" fmla="*/ 13 w 15"/>
                <a:gd name="T43" fmla="*/ 0 h 15"/>
                <a:gd name="T44" fmla="*/ 15 w 15"/>
                <a:gd name="T4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15">
                  <a:moveTo>
                    <a:pt x="15" y="0"/>
                  </a:moveTo>
                  <a:lnTo>
                    <a:pt x="15" y="0"/>
                  </a:lnTo>
                  <a:lnTo>
                    <a:pt x="11" y="3"/>
                  </a:lnTo>
                  <a:lnTo>
                    <a:pt x="10" y="5"/>
                  </a:lnTo>
                  <a:lnTo>
                    <a:pt x="8" y="3"/>
                  </a:lnTo>
                  <a:lnTo>
                    <a:pt x="8" y="3"/>
                  </a:lnTo>
                  <a:lnTo>
                    <a:pt x="8" y="6"/>
                  </a:lnTo>
                  <a:lnTo>
                    <a:pt x="8" y="7"/>
                  </a:lnTo>
                  <a:lnTo>
                    <a:pt x="13" y="9"/>
                  </a:lnTo>
                  <a:lnTo>
                    <a:pt x="13" y="9"/>
                  </a:lnTo>
                  <a:lnTo>
                    <a:pt x="8" y="15"/>
                  </a:lnTo>
                  <a:lnTo>
                    <a:pt x="8" y="15"/>
                  </a:lnTo>
                  <a:lnTo>
                    <a:pt x="8" y="10"/>
                  </a:lnTo>
                  <a:lnTo>
                    <a:pt x="5" y="10"/>
                  </a:lnTo>
                  <a:lnTo>
                    <a:pt x="3" y="12"/>
                  </a:lnTo>
                  <a:lnTo>
                    <a:pt x="1" y="13"/>
                  </a:lnTo>
                  <a:lnTo>
                    <a:pt x="0" y="12"/>
                  </a:lnTo>
                  <a:lnTo>
                    <a:pt x="0" y="12"/>
                  </a:lnTo>
                  <a:lnTo>
                    <a:pt x="4" y="9"/>
                  </a:lnTo>
                  <a:lnTo>
                    <a:pt x="7" y="5"/>
                  </a:lnTo>
                  <a:lnTo>
                    <a:pt x="10" y="0"/>
                  </a:lnTo>
                  <a:lnTo>
                    <a:pt x="13" y="0"/>
                  </a:lnTo>
                  <a:lnTo>
                    <a:pt x="1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8" name="Freeform 459"/>
            <p:cNvSpPr/>
            <p:nvPr/>
          </p:nvSpPr>
          <p:spPr bwMode="auto">
            <a:xfrm>
              <a:off x="5192900" y="4814376"/>
              <a:ext cx="36861" cy="36861"/>
            </a:xfrm>
            <a:custGeom>
              <a:avLst/>
              <a:gdLst>
                <a:gd name="T0" fmla="*/ 2 w 12"/>
                <a:gd name="T1" fmla="*/ 12 h 12"/>
                <a:gd name="T2" fmla="*/ 2 w 12"/>
                <a:gd name="T3" fmla="*/ 12 h 12"/>
                <a:gd name="T4" fmla="*/ 5 w 12"/>
                <a:gd name="T5" fmla="*/ 7 h 12"/>
                <a:gd name="T6" fmla="*/ 8 w 12"/>
                <a:gd name="T7" fmla="*/ 4 h 12"/>
                <a:gd name="T8" fmla="*/ 9 w 12"/>
                <a:gd name="T9" fmla="*/ 2 h 12"/>
                <a:gd name="T10" fmla="*/ 11 w 12"/>
                <a:gd name="T11" fmla="*/ 0 h 12"/>
                <a:gd name="T12" fmla="*/ 11 w 12"/>
                <a:gd name="T13" fmla="*/ 0 h 12"/>
                <a:gd name="T14" fmla="*/ 12 w 12"/>
                <a:gd name="T15" fmla="*/ 3 h 12"/>
                <a:gd name="T16" fmla="*/ 12 w 12"/>
                <a:gd name="T17" fmla="*/ 6 h 12"/>
                <a:gd name="T18" fmla="*/ 12 w 12"/>
                <a:gd name="T19" fmla="*/ 6 h 12"/>
                <a:gd name="T20" fmla="*/ 5 w 12"/>
                <a:gd name="T21" fmla="*/ 10 h 12"/>
                <a:gd name="T22" fmla="*/ 1 w 12"/>
                <a:gd name="T23" fmla="*/ 12 h 12"/>
                <a:gd name="T24" fmla="*/ 0 w 12"/>
                <a:gd name="T25" fmla="*/ 10 h 12"/>
                <a:gd name="T26" fmla="*/ 0 w 12"/>
                <a:gd name="T27" fmla="*/ 9 h 12"/>
                <a:gd name="T28" fmla="*/ 0 w 12"/>
                <a:gd name="T29" fmla="*/ 9 h 12"/>
                <a:gd name="T30" fmla="*/ 0 w 12"/>
                <a:gd name="T31" fmla="*/ 7 h 12"/>
                <a:gd name="T32" fmla="*/ 1 w 12"/>
                <a:gd name="T33" fmla="*/ 9 h 12"/>
                <a:gd name="T34" fmla="*/ 1 w 12"/>
                <a:gd name="T35" fmla="*/ 10 h 12"/>
                <a:gd name="T36" fmla="*/ 2 w 12"/>
                <a:gd name="T3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12">
                  <a:moveTo>
                    <a:pt x="2" y="12"/>
                  </a:moveTo>
                  <a:lnTo>
                    <a:pt x="2" y="12"/>
                  </a:lnTo>
                  <a:lnTo>
                    <a:pt x="5" y="7"/>
                  </a:lnTo>
                  <a:lnTo>
                    <a:pt x="8" y="4"/>
                  </a:lnTo>
                  <a:lnTo>
                    <a:pt x="9" y="2"/>
                  </a:lnTo>
                  <a:lnTo>
                    <a:pt x="11" y="0"/>
                  </a:lnTo>
                  <a:lnTo>
                    <a:pt x="11" y="0"/>
                  </a:lnTo>
                  <a:lnTo>
                    <a:pt x="12" y="3"/>
                  </a:lnTo>
                  <a:lnTo>
                    <a:pt x="12" y="6"/>
                  </a:lnTo>
                  <a:lnTo>
                    <a:pt x="12" y="6"/>
                  </a:lnTo>
                  <a:lnTo>
                    <a:pt x="5" y="10"/>
                  </a:lnTo>
                  <a:lnTo>
                    <a:pt x="1" y="12"/>
                  </a:lnTo>
                  <a:lnTo>
                    <a:pt x="0" y="10"/>
                  </a:lnTo>
                  <a:lnTo>
                    <a:pt x="0" y="9"/>
                  </a:lnTo>
                  <a:lnTo>
                    <a:pt x="0" y="9"/>
                  </a:lnTo>
                  <a:lnTo>
                    <a:pt x="0" y="7"/>
                  </a:lnTo>
                  <a:lnTo>
                    <a:pt x="1" y="9"/>
                  </a:lnTo>
                  <a:lnTo>
                    <a:pt x="1" y="10"/>
                  </a:lnTo>
                  <a:lnTo>
                    <a:pt x="2"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9" name="Freeform 460"/>
            <p:cNvSpPr/>
            <p:nvPr/>
          </p:nvSpPr>
          <p:spPr bwMode="auto">
            <a:xfrm>
              <a:off x="5192900" y="4814376"/>
              <a:ext cx="36861" cy="36861"/>
            </a:xfrm>
            <a:custGeom>
              <a:avLst/>
              <a:gdLst>
                <a:gd name="T0" fmla="*/ 2 w 12"/>
                <a:gd name="T1" fmla="*/ 12 h 12"/>
                <a:gd name="T2" fmla="*/ 2 w 12"/>
                <a:gd name="T3" fmla="*/ 12 h 12"/>
                <a:gd name="T4" fmla="*/ 5 w 12"/>
                <a:gd name="T5" fmla="*/ 7 h 12"/>
                <a:gd name="T6" fmla="*/ 8 w 12"/>
                <a:gd name="T7" fmla="*/ 4 h 12"/>
                <a:gd name="T8" fmla="*/ 9 w 12"/>
                <a:gd name="T9" fmla="*/ 2 h 12"/>
                <a:gd name="T10" fmla="*/ 11 w 12"/>
                <a:gd name="T11" fmla="*/ 0 h 12"/>
                <a:gd name="T12" fmla="*/ 11 w 12"/>
                <a:gd name="T13" fmla="*/ 0 h 12"/>
                <a:gd name="T14" fmla="*/ 12 w 12"/>
                <a:gd name="T15" fmla="*/ 3 h 12"/>
                <a:gd name="T16" fmla="*/ 12 w 12"/>
                <a:gd name="T17" fmla="*/ 6 h 12"/>
                <a:gd name="T18" fmla="*/ 12 w 12"/>
                <a:gd name="T19" fmla="*/ 6 h 12"/>
                <a:gd name="T20" fmla="*/ 5 w 12"/>
                <a:gd name="T21" fmla="*/ 10 h 12"/>
                <a:gd name="T22" fmla="*/ 1 w 12"/>
                <a:gd name="T23" fmla="*/ 12 h 12"/>
                <a:gd name="T24" fmla="*/ 0 w 12"/>
                <a:gd name="T25" fmla="*/ 10 h 12"/>
                <a:gd name="T26" fmla="*/ 0 w 12"/>
                <a:gd name="T27" fmla="*/ 9 h 12"/>
                <a:gd name="T28" fmla="*/ 0 w 12"/>
                <a:gd name="T29" fmla="*/ 9 h 12"/>
                <a:gd name="T30" fmla="*/ 0 w 12"/>
                <a:gd name="T31" fmla="*/ 7 h 12"/>
                <a:gd name="T32" fmla="*/ 1 w 12"/>
                <a:gd name="T33" fmla="*/ 9 h 12"/>
                <a:gd name="T34" fmla="*/ 1 w 12"/>
                <a:gd name="T35" fmla="*/ 10 h 12"/>
                <a:gd name="T36" fmla="*/ 2 w 12"/>
                <a:gd name="T3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12">
                  <a:moveTo>
                    <a:pt x="2" y="12"/>
                  </a:moveTo>
                  <a:lnTo>
                    <a:pt x="2" y="12"/>
                  </a:lnTo>
                  <a:lnTo>
                    <a:pt x="5" y="7"/>
                  </a:lnTo>
                  <a:lnTo>
                    <a:pt x="8" y="4"/>
                  </a:lnTo>
                  <a:lnTo>
                    <a:pt x="9" y="2"/>
                  </a:lnTo>
                  <a:lnTo>
                    <a:pt x="11" y="0"/>
                  </a:lnTo>
                  <a:lnTo>
                    <a:pt x="11" y="0"/>
                  </a:lnTo>
                  <a:lnTo>
                    <a:pt x="12" y="3"/>
                  </a:lnTo>
                  <a:lnTo>
                    <a:pt x="12" y="6"/>
                  </a:lnTo>
                  <a:lnTo>
                    <a:pt x="12" y="6"/>
                  </a:lnTo>
                  <a:lnTo>
                    <a:pt x="5" y="10"/>
                  </a:lnTo>
                  <a:lnTo>
                    <a:pt x="1" y="12"/>
                  </a:lnTo>
                  <a:lnTo>
                    <a:pt x="0" y="10"/>
                  </a:lnTo>
                  <a:lnTo>
                    <a:pt x="0" y="9"/>
                  </a:lnTo>
                  <a:lnTo>
                    <a:pt x="0" y="9"/>
                  </a:lnTo>
                  <a:lnTo>
                    <a:pt x="0" y="7"/>
                  </a:lnTo>
                  <a:lnTo>
                    <a:pt x="1" y="9"/>
                  </a:lnTo>
                  <a:lnTo>
                    <a:pt x="1" y="10"/>
                  </a:lnTo>
                  <a:lnTo>
                    <a:pt x="2" y="1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0" name="Freeform 461"/>
            <p:cNvSpPr/>
            <p:nvPr/>
          </p:nvSpPr>
          <p:spPr bwMode="auto">
            <a:xfrm>
              <a:off x="4566260" y="4335181"/>
              <a:ext cx="6145" cy="30716"/>
            </a:xfrm>
            <a:custGeom>
              <a:avLst/>
              <a:gdLst>
                <a:gd name="T0" fmla="*/ 0 w 2"/>
                <a:gd name="T1" fmla="*/ 10 h 10"/>
                <a:gd name="T2" fmla="*/ 0 w 2"/>
                <a:gd name="T3" fmla="*/ 10 h 10"/>
                <a:gd name="T4" fmla="*/ 0 w 2"/>
                <a:gd name="T5" fmla="*/ 8 h 10"/>
                <a:gd name="T6" fmla="*/ 0 w 2"/>
                <a:gd name="T7" fmla="*/ 5 h 10"/>
                <a:gd name="T8" fmla="*/ 1 w 2"/>
                <a:gd name="T9" fmla="*/ 1 h 10"/>
                <a:gd name="T10" fmla="*/ 2 w 2"/>
                <a:gd name="T11" fmla="*/ 0 h 10"/>
                <a:gd name="T12" fmla="*/ 2 w 2"/>
                <a:gd name="T13" fmla="*/ 0 h 10"/>
                <a:gd name="T14" fmla="*/ 2 w 2"/>
                <a:gd name="T15" fmla="*/ 1 h 10"/>
                <a:gd name="T16" fmla="*/ 2 w 2"/>
                <a:gd name="T17" fmla="*/ 1 h 10"/>
                <a:gd name="T18" fmla="*/ 2 w 2"/>
                <a:gd name="T19" fmla="*/ 2 h 10"/>
                <a:gd name="T20" fmla="*/ 2 w 2"/>
                <a:gd name="T21" fmla="*/ 5 h 10"/>
                <a:gd name="T22" fmla="*/ 2 w 2"/>
                <a:gd name="T23" fmla="*/ 7 h 10"/>
                <a:gd name="T24" fmla="*/ 0 w 2"/>
                <a:gd name="T2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10">
                  <a:moveTo>
                    <a:pt x="0" y="10"/>
                  </a:moveTo>
                  <a:lnTo>
                    <a:pt x="0" y="10"/>
                  </a:lnTo>
                  <a:lnTo>
                    <a:pt x="0" y="8"/>
                  </a:lnTo>
                  <a:lnTo>
                    <a:pt x="0" y="5"/>
                  </a:lnTo>
                  <a:lnTo>
                    <a:pt x="1" y="1"/>
                  </a:lnTo>
                  <a:lnTo>
                    <a:pt x="2" y="0"/>
                  </a:lnTo>
                  <a:lnTo>
                    <a:pt x="2" y="0"/>
                  </a:lnTo>
                  <a:lnTo>
                    <a:pt x="2" y="1"/>
                  </a:lnTo>
                  <a:lnTo>
                    <a:pt x="2" y="1"/>
                  </a:lnTo>
                  <a:lnTo>
                    <a:pt x="2" y="2"/>
                  </a:lnTo>
                  <a:lnTo>
                    <a:pt x="2" y="5"/>
                  </a:lnTo>
                  <a:lnTo>
                    <a:pt x="2" y="7"/>
                  </a:lnTo>
                  <a:lnTo>
                    <a:pt x="0"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1" name="Freeform 462"/>
            <p:cNvSpPr/>
            <p:nvPr/>
          </p:nvSpPr>
          <p:spPr bwMode="auto">
            <a:xfrm>
              <a:off x="4566260" y="4335181"/>
              <a:ext cx="6145" cy="30716"/>
            </a:xfrm>
            <a:custGeom>
              <a:avLst/>
              <a:gdLst>
                <a:gd name="T0" fmla="*/ 0 w 2"/>
                <a:gd name="T1" fmla="*/ 10 h 10"/>
                <a:gd name="T2" fmla="*/ 0 w 2"/>
                <a:gd name="T3" fmla="*/ 10 h 10"/>
                <a:gd name="T4" fmla="*/ 0 w 2"/>
                <a:gd name="T5" fmla="*/ 8 h 10"/>
                <a:gd name="T6" fmla="*/ 0 w 2"/>
                <a:gd name="T7" fmla="*/ 5 h 10"/>
                <a:gd name="T8" fmla="*/ 1 w 2"/>
                <a:gd name="T9" fmla="*/ 1 h 10"/>
                <a:gd name="T10" fmla="*/ 2 w 2"/>
                <a:gd name="T11" fmla="*/ 0 h 10"/>
                <a:gd name="T12" fmla="*/ 2 w 2"/>
                <a:gd name="T13" fmla="*/ 0 h 10"/>
                <a:gd name="T14" fmla="*/ 2 w 2"/>
                <a:gd name="T15" fmla="*/ 1 h 10"/>
                <a:gd name="T16" fmla="*/ 2 w 2"/>
                <a:gd name="T17" fmla="*/ 1 h 10"/>
                <a:gd name="T18" fmla="*/ 2 w 2"/>
                <a:gd name="T19" fmla="*/ 2 h 10"/>
                <a:gd name="T20" fmla="*/ 2 w 2"/>
                <a:gd name="T21" fmla="*/ 5 h 10"/>
                <a:gd name="T22" fmla="*/ 2 w 2"/>
                <a:gd name="T23" fmla="*/ 7 h 10"/>
                <a:gd name="T24" fmla="*/ 0 w 2"/>
                <a:gd name="T2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10">
                  <a:moveTo>
                    <a:pt x="0" y="10"/>
                  </a:moveTo>
                  <a:lnTo>
                    <a:pt x="0" y="10"/>
                  </a:lnTo>
                  <a:lnTo>
                    <a:pt x="0" y="8"/>
                  </a:lnTo>
                  <a:lnTo>
                    <a:pt x="0" y="5"/>
                  </a:lnTo>
                  <a:lnTo>
                    <a:pt x="1" y="1"/>
                  </a:lnTo>
                  <a:lnTo>
                    <a:pt x="2" y="0"/>
                  </a:lnTo>
                  <a:lnTo>
                    <a:pt x="2" y="0"/>
                  </a:lnTo>
                  <a:lnTo>
                    <a:pt x="2" y="1"/>
                  </a:lnTo>
                  <a:lnTo>
                    <a:pt x="2" y="1"/>
                  </a:lnTo>
                  <a:lnTo>
                    <a:pt x="2" y="2"/>
                  </a:lnTo>
                  <a:lnTo>
                    <a:pt x="2" y="5"/>
                  </a:lnTo>
                  <a:lnTo>
                    <a:pt x="2" y="7"/>
                  </a:lnTo>
                  <a:lnTo>
                    <a:pt x="0"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2" name="Freeform 463"/>
            <p:cNvSpPr/>
            <p:nvPr/>
          </p:nvSpPr>
          <p:spPr bwMode="auto">
            <a:xfrm>
              <a:off x="4529399" y="4353610"/>
              <a:ext cx="24574" cy="24574"/>
            </a:xfrm>
            <a:custGeom>
              <a:avLst/>
              <a:gdLst>
                <a:gd name="T0" fmla="*/ 7 w 7"/>
                <a:gd name="T1" fmla="*/ 0 h 7"/>
                <a:gd name="T2" fmla="*/ 7 w 7"/>
                <a:gd name="T3" fmla="*/ 0 h 7"/>
                <a:gd name="T4" fmla="*/ 7 w 7"/>
                <a:gd name="T5" fmla="*/ 3 h 7"/>
                <a:gd name="T6" fmla="*/ 6 w 7"/>
                <a:gd name="T7" fmla="*/ 5 h 7"/>
                <a:gd name="T8" fmla="*/ 6 w 7"/>
                <a:gd name="T9" fmla="*/ 5 h 7"/>
                <a:gd name="T10" fmla="*/ 0 w 7"/>
                <a:gd name="T11" fmla="*/ 7 h 7"/>
                <a:gd name="T12" fmla="*/ 0 w 7"/>
                <a:gd name="T13" fmla="*/ 7 h 7"/>
                <a:gd name="T14" fmla="*/ 0 w 7"/>
                <a:gd name="T15" fmla="*/ 6 h 7"/>
                <a:gd name="T16" fmla="*/ 3 w 7"/>
                <a:gd name="T17" fmla="*/ 5 h 7"/>
                <a:gd name="T18" fmla="*/ 6 w 7"/>
                <a:gd name="T19" fmla="*/ 3 h 7"/>
                <a:gd name="T20" fmla="*/ 7 w 7"/>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7" y="0"/>
                  </a:moveTo>
                  <a:lnTo>
                    <a:pt x="7" y="0"/>
                  </a:lnTo>
                  <a:lnTo>
                    <a:pt x="7" y="3"/>
                  </a:lnTo>
                  <a:lnTo>
                    <a:pt x="6" y="5"/>
                  </a:lnTo>
                  <a:lnTo>
                    <a:pt x="6" y="5"/>
                  </a:lnTo>
                  <a:lnTo>
                    <a:pt x="0" y="7"/>
                  </a:lnTo>
                  <a:lnTo>
                    <a:pt x="0" y="7"/>
                  </a:lnTo>
                  <a:lnTo>
                    <a:pt x="0" y="6"/>
                  </a:lnTo>
                  <a:lnTo>
                    <a:pt x="3" y="5"/>
                  </a:lnTo>
                  <a:lnTo>
                    <a:pt x="6" y="3"/>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3" name="Freeform 464"/>
            <p:cNvSpPr/>
            <p:nvPr/>
          </p:nvSpPr>
          <p:spPr bwMode="auto">
            <a:xfrm>
              <a:off x="4529399" y="4353610"/>
              <a:ext cx="24574" cy="24574"/>
            </a:xfrm>
            <a:custGeom>
              <a:avLst/>
              <a:gdLst>
                <a:gd name="T0" fmla="*/ 7 w 7"/>
                <a:gd name="T1" fmla="*/ 0 h 7"/>
                <a:gd name="T2" fmla="*/ 7 w 7"/>
                <a:gd name="T3" fmla="*/ 0 h 7"/>
                <a:gd name="T4" fmla="*/ 7 w 7"/>
                <a:gd name="T5" fmla="*/ 3 h 7"/>
                <a:gd name="T6" fmla="*/ 6 w 7"/>
                <a:gd name="T7" fmla="*/ 5 h 7"/>
                <a:gd name="T8" fmla="*/ 6 w 7"/>
                <a:gd name="T9" fmla="*/ 5 h 7"/>
                <a:gd name="T10" fmla="*/ 0 w 7"/>
                <a:gd name="T11" fmla="*/ 7 h 7"/>
                <a:gd name="T12" fmla="*/ 0 w 7"/>
                <a:gd name="T13" fmla="*/ 7 h 7"/>
                <a:gd name="T14" fmla="*/ 0 w 7"/>
                <a:gd name="T15" fmla="*/ 6 h 7"/>
                <a:gd name="T16" fmla="*/ 3 w 7"/>
                <a:gd name="T17" fmla="*/ 5 h 7"/>
                <a:gd name="T18" fmla="*/ 6 w 7"/>
                <a:gd name="T19" fmla="*/ 3 h 7"/>
                <a:gd name="T20" fmla="*/ 7 w 7"/>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7" y="0"/>
                  </a:moveTo>
                  <a:lnTo>
                    <a:pt x="7" y="0"/>
                  </a:lnTo>
                  <a:lnTo>
                    <a:pt x="7" y="3"/>
                  </a:lnTo>
                  <a:lnTo>
                    <a:pt x="6" y="5"/>
                  </a:lnTo>
                  <a:lnTo>
                    <a:pt x="6" y="5"/>
                  </a:lnTo>
                  <a:lnTo>
                    <a:pt x="0" y="7"/>
                  </a:lnTo>
                  <a:lnTo>
                    <a:pt x="0" y="7"/>
                  </a:lnTo>
                  <a:lnTo>
                    <a:pt x="0" y="6"/>
                  </a:lnTo>
                  <a:lnTo>
                    <a:pt x="3" y="5"/>
                  </a:lnTo>
                  <a:lnTo>
                    <a:pt x="6" y="3"/>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4" name="Freeform 465"/>
            <p:cNvSpPr/>
            <p:nvPr/>
          </p:nvSpPr>
          <p:spPr bwMode="auto">
            <a:xfrm>
              <a:off x="5027023" y="4924959"/>
              <a:ext cx="61435" cy="67577"/>
            </a:xfrm>
            <a:custGeom>
              <a:avLst/>
              <a:gdLst>
                <a:gd name="T0" fmla="*/ 12 w 20"/>
                <a:gd name="T1" fmla="*/ 1 h 21"/>
                <a:gd name="T2" fmla="*/ 12 w 20"/>
                <a:gd name="T3" fmla="*/ 1 h 21"/>
                <a:gd name="T4" fmla="*/ 16 w 20"/>
                <a:gd name="T5" fmla="*/ 0 h 21"/>
                <a:gd name="T6" fmla="*/ 17 w 20"/>
                <a:gd name="T7" fmla="*/ 0 h 21"/>
                <a:gd name="T8" fmla="*/ 20 w 20"/>
                <a:gd name="T9" fmla="*/ 1 h 21"/>
                <a:gd name="T10" fmla="*/ 20 w 20"/>
                <a:gd name="T11" fmla="*/ 1 h 21"/>
                <a:gd name="T12" fmla="*/ 10 w 20"/>
                <a:gd name="T13" fmla="*/ 11 h 21"/>
                <a:gd name="T14" fmla="*/ 3 w 20"/>
                <a:gd name="T15" fmla="*/ 21 h 21"/>
                <a:gd name="T16" fmla="*/ 3 w 20"/>
                <a:gd name="T17" fmla="*/ 21 h 21"/>
                <a:gd name="T18" fmla="*/ 3 w 20"/>
                <a:gd name="T19" fmla="*/ 18 h 21"/>
                <a:gd name="T20" fmla="*/ 2 w 20"/>
                <a:gd name="T21" fmla="*/ 17 h 21"/>
                <a:gd name="T22" fmla="*/ 0 w 20"/>
                <a:gd name="T23" fmla="*/ 13 h 21"/>
                <a:gd name="T24" fmla="*/ 0 w 20"/>
                <a:gd name="T25" fmla="*/ 13 h 21"/>
                <a:gd name="T26" fmla="*/ 3 w 20"/>
                <a:gd name="T27" fmla="*/ 10 h 21"/>
                <a:gd name="T28" fmla="*/ 3 w 20"/>
                <a:gd name="T29" fmla="*/ 10 h 21"/>
                <a:gd name="T30" fmla="*/ 3 w 20"/>
                <a:gd name="T31" fmla="*/ 11 h 21"/>
                <a:gd name="T32" fmla="*/ 3 w 20"/>
                <a:gd name="T33" fmla="*/ 11 h 21"/>
                <a:gd name="T34" fmla="*/ 2 w 20"/>
                <a:gd name="T35" fmla="*/ 14 h 21"/>
                <a:gd name="T36" fmla="*/ 2 w 20"/>
                <a:gd name="T37" fmla="*/ 14 h 21"/>
                <a:gd name="T38" fmla="*/ 3 w 20"/>
                <a:gd name="T39" fmla="*/ 14 h 21"/>
                <a:gd name="T40" fmla="*/ 6 w 20"/>
                <a:gd name="T41" fmla="*/ 14 h 21"/>
                <a:gd name="T42" fmla="*/ 9 w 20"/>
                <a:gd name="T43" fmla="*/ 10 h 21"/>
                <a:gd name="T44" fmla="*/ 9 w 20"/>
                <a:gd name="T45" fmla="*/ 10 h 21"/>
                <a:gd name="T46" fmla="*/ 12 w 20"/>
                <a:gd name="T47" fmla="*/ 5 h 21"/>
                <a:gd name="T48" fmla="*/ 12 w 20"/>
                <a:gd name="T49" fmla="*/ 3 h 21"/>
                <a:gd name="T50" fmla="*/ 12 w 20"/>
                <a:gd name="T51"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1">
                  <a:moveTo>
                    <a:pt x="12" y="1"/>
                  </a:moveTo>
                  <a:lnTo>
                    <a:pt x="12" y="1"/>
                  </a:lnTo>
                  <a:lnTo>
                    <a:pt x="16" y="0"/>
                  </a:lnTo>
                  <a:lnTo>
                    <a:pt x="17" y="0"/>
                  </a:lnTo>
                  <a:lnTo>
                    <a:pt x="20" y="1"/>
                  </a:lnTo>
                  <a:lnTo>
                    <a:pt x="20" y="1"/>
                  </a:lnTo>
                  <a:lnTo>
                    <a:pt x="10" y="11"/>
                  </a:lnTo>
                  <a:lnTo>
                    <a:pt x="3" y="21"/>
                  </a:lnTo>
                  <a:lnTo>
                    <a:pt x="3" y="21"/>
                  </a:lnTo>
                  <a:lnTo>
                    <a:pt x="3" y="18"/>
                  </a:lnTo>
                  <a:lnTo>
                    <a:pt x="2" y="17"/>
                  </a:lnTo>
                  <a:lnTo>
                    <a:pt x="0" y="13"/>
                  </a:lnTo>
                  <a:lnTo>
                    <a:pt x="0" y="13"/>
                  </a:lnTo>
                  <a:lnTo>
                    <a:pt x="3" y="10"/>
                  </a:lnTo>
                  <a:lnTo>
                    <a:pt x="3" y="10"/>
                  </a:lnTo>
                  <a:lnTo>
                    <a:pt x="3" y="11"/>
                  </a:lnTo>
                  <a:lnTo>
                    <a:pt x="3" y="11"/>
                  </a:lnTo>
                  <a:lnTo>
                    <a:pt x="2" y="14"/>
                  </a:lnTo>
                  <a:lnTo>
                    <a:pt x="2" y="14"/>
                  </a:lnTo>
                  <a:lnTo>
                    <a:pt x="3" y="14"/>
                  </a:lnTo>
                  <a:lnTo>
                    <a:pt x="6" y="14"/>
                  </a:lnTo>
                  <a:lnTo>
                    <a:pt x="9" y="10"/>
                  </a:lnTo>
                  <a:lnTo>
                    <a:pt x="9" y="10"/>
                  </a:lnTo>
                  <a:lnTo>
                    <a:pt x="12" y="5"/>
                  </a:lnTo>
                  <a:lnTo>
                    <a:pt x="12" y="3"/>
                  </a:lnTo>
                  <a:lnTo>
                    <a:pt x="12"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5" name="Freeform 466"/>
            <p:cNvSpPr/>
            <p:nvPr/>
          </p:nvSpPr>
          <p:spPr bwMode="auto">
            <a:xfrm>
              <a:off x="5027023" y="4924959"/>
              <a:ext cx="61435" cy="67577"/>
            </a:xfrm>
            <a:custGeom>
              <a:avLst/>
              <a:gdLst>
                <a:gd name="T0" fmla="*/ 12 w 20"/>
                <a:gd name="T1" fmla="*/ 1 h 21"/>
                <a:gd name="T2" fmla="*/ 12 w 20"/>
                <a:gd name="T3" fmla="*/ 1 h 21"/>
                <a:gd name="T4" fmla="*/ 16 w 20"/>
                <a:gd name="T5" fmla="*/ 0 h 21"/>
                <a:gd name="T6" fmla="*/ 17 w 20"/>
                <a:gd name="T7" fmla="*/ 0 h 21"/>
                <a:gd name="T8" fmla="*/ 20 w 20"/>
                <a:gd name="T9" fmla="*/ 1 h 21"/>
                <a:gd name="T10" fmla="*/ 20 w 20"/>
                <a:gd name="T11" fmla="*/ 1 h 21"/>
                <a:gd name="T12" fmla="*/ 10 w 20"/>
                <a:gd name="T13" fmla="*/ 11 h 21"/>
                <a:gd name="T14" fmla="*/ 3 w 20"/>
                <a:gd name="T15" fmla="*/ 21 h 21"/>
                <a:gd name="T16" fmla="*/ 3 w 20"/>
                <a:gd name="T17" fmla="*/ 21 h 21"/>
                <a:gd name="T18" fmla="*/ 3 w 20"/>
                <a:gd name="T19" fmla="*/ 18 h 21"/>
                <a:gd name="T20" fmla="*/ 2 w 20"/>
                <a:gd name="T21" fmla="*/ 17 h 21"/>
                <a:gd name="T22" fmla="*/ 0 w 20"/>
                <a:gd name="T23" fmla="*/ 13 h 21"/>
                <a:gd name="T24" fmla="*/ 0 w 20"/>
                <a:gd name="T25" fmla="*/ 13 h 21"/>
                <a:gd name="T26" fmla="*/ 3 w 20"/>
                <a:gd name="T27" fmla="*/ 10 h 21"/>
                <a:gd name="T28" fmla="*/ 3 w 20"/>
                <a:gd name="T29" fmla="*/ 10 h 21"/>
                <a:gd name="T30" fmla="*/ 3 w 20"/>
                <a:gd name="T31" fmla="*/ 11 h 21"/>
                <a:gd name="T32" fmla="*/ 3 w 20"/>
                <a:gd name="T33" fmla="*/ 11 h 21"/>
                <a:gd name="T34" fmla="*/ 2 w 20"/>
                <a:gd name="T35" fmla="*/ 14 h 21"/>
                <a:gd name="T36" fmla="*/ 2 w 20"/>
                <a:gd name="T37" fmla="*/ 14 h 21"/>
                <a:gd name="T38" fmla="*/ 3 w 20"/>
                <a:gd name="T39" fmla="*/ 14 h 21"/>
                <a:gd name="T40" fmla="*/ 6 w 20"/>
                <a:gd name="T41" fmla="*/ 14 h 21"/>
                <a:gd name="T42" fmla="*/ 9 w 20"/>
                <a:gd name="T43" fmla="*/ 10 h 21"/>
                <a:gd name="T44" fmla="*/ 9 w 20"/>
                <a:gd name="T45" fmla="*/ 10 h 21"/>
                <a:gd name="T46" fmla="*/ 12 w 20"/>
                <a:gd name="T47" fmla="*/ 5 h 21"/>
                <a:gd name="T48" fmla="*/ 12 w 20"/>
                <a:gd name="T49" fmla="*/ 3 h 21"/>
                <a:gd name="T50" fmla="*/ 12 w 20"/>
                <a:gd name="T51"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1">
                  <a:moveTo>
                    <a:pt x="12" y="1"/>
                  </a:moveTo>
                  <a:lnTo>
                    <a:pt x="12" y="1"/>
                  </a:lnTo>
                  <a:lnTo>
                    <a:pt x="16" y="0"/>
                  </a:lnTo>
                  <a:lnTo>
                    <a:pt x="17" y="0"/>
                  </a:lnTo>
                  <a:lnTo>
                    <a:pt x="20" y="1"/>
                  </a:lnTo>
                  <a:lnTo>
                    <a:pt x="20" y="1"/>
                  </a:lnTo>
                  <a:lnTo>
                    <a:pt x="10" y="11"/>
                  </a:lnTo>
                  <a:lnTo>
                    <a:pt x="3" y="21"/>
                  </a:lnTo>
                  <a:lnTo>
                    <a:pt x="3" y="21"/>
                  </a:lnTo>
                  <a:lnTo>
                    <a:pt x="3" y="18"/>
                  </a:lnTo>
                  <a:lnTo>
                    <a:pt x="2" y="17"/>
                  </a:lnTo>
                  <a:lnTo>
                    <a:pt x="0" y="13"/>
                  </a:lnTo>
                  <a:lnTo>
                    <a:pt x="0" y="13"/>
                  </a:lnTo>
                  <a:lnTo>
                    <a:pt x="3" y="10"/>
                  </a:lnTo>
                  <a:lnTo>
                    <a:pt x="3" y="10"/>
                  </a:lnTo>
                  <a:lnTo>
                    <a:pt x="3" y="11"/>
                  </a:lnTo>
                  <a:lnTo>
                    <a:pt x="3" y="11"/>
                  </a:lnTo>
                  <a:lnTo>
                    <a:pt x="2" y="14"/>
                  </a:lnTo>
                  <a:lnTo>
                    <a:pt x="2" y="14"/>
                  </a:lnTo>
                  <a:lnTo>
                    <a:pt x="3" y="14"/>
                  </a:lnTo>
                  <a:lnTo>
                    <a:pt x="6" y="14"/>
                  </a:lnTo>
                  <a:lnTo>
                    <a:pt x="9" y="10"/>
                  </a:lnTo>
                  <a:lnTo>
                    <a:pt x="9" y="10"/>
                  </a:lnTo>
                  <a:lnTo>
                    <a:pt x="12" y="5"/>
                  </a:lnTo>
                  <a:lnTo>
                    <a:pt x="12" y="3"/>
                  </a:lnTo>
                  <a:lnTo>
                    <a:pt x="12"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8" name="Freeform 469"/>
            <p:cNvSpPr/>
            <p:nvPr/>
          </p:nvSpPr>
          <p:spPr bwMode="auto">
            <a:xfrm>
              <a:off x="5192900" y="5262851"/>
              <a:ext cx="30720" cy="43003"/>
            </a:xfrm>
            <a:custGeom>
              <a:avLst/>
              <a:gdLst>
                <a:gd name="T0" fmla="*/ 0 w 8"/>
                <a:gd name="T1" fmla="*/ 4 h 14"/>
                <a:gd name="T2" fmla="*/ 0 w 8"/>
                <a:gd name="T3" fmla="*/ 4 h 14"/>
                <a:gd name="T4" fmla="*/ 1 w 8"/>
                <a:gd name="T5" fmla="*/ 3 h 14"/>
                <a:gd name="T6" fmla="*/ 4 w 8"/>
                <a:gd name="T7" fmla="*/ 3 h 14"/>
                <a:gd name="T8" fmla="*/ 6 w 8"/>
                <a:gd name="T9" fmla="*/ 3 h 14"/>
                <a:gd name="T10" fmla="*/ 8 w 8"/>
                <a:gd name="T11" fmla="*/ 0 h 14"/>
                <a:gd name="T12" fmla="*/ 8 w 8"/>
                <a:gd name="T13" fmla="*/ 0 h 14"/>
                <a:gd name="T14" fmla="*/ 8 w 8"/>
                <a:gd name="T15" fmla="*/ 4 h 14"/>
                <a:gd name="T16" fmla="*/ 7 w 8"/>
                <a:gd name="T17" fmla="*/ 7 h 14"/>
                <a:gd name="T18" fmla="*/ 7 w 8"/>
                <a:gd name="T19" fmla="*/ 10 h 14"/>
                <a:gd name="T20" fmla="*/ 8 w 8"/>
                <a:gd name="T21" fmla="*/ 14 h 14"/>
                <a:gd name="T22" fmla="*/ 8 w 8"/>
                <a:gd name="T23" fmla="*/ 14 h 14"/>
                <a:gd name="T24" fmla="*/ 6 w 8"/>
                <a:gd name="T25" fmla="*/ 13 h 14"/>
                <a:gd name="T26" fmla="*/ 4 w 8"/>
                <a:gd name="T27" fmla="*/ 13 h 14"/>
                <a:gd name="T28" fmla="*/ 4 w 8"/>
                <a:gd name="T29" fmla="*/ 8 h 14"/>
                <a:gd name="T30" fmla="*/ 4 w 8"/>
                <a:gd name="T31" fmla="*/ 5 h 14"/>
                <a:gd name="T32" fmla="*/ 3 w 8"/>
                <a:gd name="T33" fmla="*/ 4 h 14"/>
                <a:gd name="T34" fmla="*/ 0 w 8"/>
                <a:gd name="T3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14">
                  <a:moveTo>
                    <a:pt x="0" y="4"/>
                  </a:moveTo>
                  <a:lnTo>
                    <a:pt x="0" y="4"/>
                  </a:lnTo>
                  <a:lnTo>
                    <a:pt x="1" y="3"/>
                  </a:lnTo>
                  <a:lnTo>
                    <a:pt x="4" y="3"/>
                  </a:lnTo>
                  <a:lnTo>
                    <a:pt x="6" y="3"/>
                  </a:lnTo>
                  <a:lnTo>
                    <a:pt x="8" y="0"/>
                  </a:lnTo>
                  <a:lnTo>
                    <a:pt x="8" y="0"/>
                  </a:lnTo>
                  <a:lnTo>
                    <a:pt x="8" y="4"/>
                  </a:lnTo>
                  <a:lnTo>
                    <a:pt x="7" y="7"/>
                  </a:lnTo>
                  <a:lnTo>
                    <a:pt x="7" y="10"/>
                  </a:lnTo>
                  <a:lnTo>
                    <a:pt x="8" y="14"/>
                  </a:lnTo>
                  <a:lnTo>
                    <a:pt x="8" y="14"/>
                  </a:lnTo>
                  <a:lnTo>
                    <a:pt x="6" y="13"/>
                  </a:lnTo>
                  <a:lnTo>
                    <a:pt x="4" y="13"/>
                  </a:lnTo>
                  <a:lnTo>
                    <a:pt x="4" y="8"/>
                  </a:lnTo>
                  <a:lnTo>
                    <a:pt x="4" y="5"/>
                  </a:lnTo>
                  <a:lnTo>
                    <a:pt x="3" y="4"/>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9" name="Freeform 470"/>
            <p:cNvSpPr/>
            <p:nvPr/>
          </p:nvSpPr>
          <p:spPr bwMode="auto">
            <a:xfrm>
              <a:off x="5192900" y="5262851"/>
              <a:ext cx="30720" cy="43003"/>
            </a:xfrm>
            <a:custGeom>
              <a:avLst/>
              <a:gdLst>
                <a:gd name="T0" fmla="*/ 0 w 8"/>
                <a:gd name="T1" fmla="*/ 4 h 14"/>
                <a:gd name="T2" fmla="*/ 0 w 8"/>
                <a:gd name="T3" fmla="*/ 4 h 14"/>
                <a:gd name="T4" fmla="*/ 1 w 8"/>
                <a:gd name="T5" fmla="*/ 3 h 14"/>
                <a:gd name="T6" fmla="*/ 4 w 8"/>
                <a:gd name="T7" fmla="*/ 3 h 14"/>
                <a:gd name="T8" fmla="*/ 6 w 8"/>
                <a:gd name="T9" fmla="*/ 3 h 14"/>
                <a:gd name="T10" fmla="*/ 8 w 8"/>
                <a:gd name="T11" fmla="*/ 0 h 14"/>
                <a:gd name="T12" fmla="*/ 8 w 8"/>
                <a:gd name="T13" fmla="*/ 0 h 14"/>
                <a:gd name="T14" fmla="*/ 8 w 8"/>
                <a:gd name="T15" fmla="*/ 4 h 14"/>
                <a:gd name="T16" fmla="*/ 7 w 8"/>
                <a:gd name="T17" fmla="*/ 7 h 14"/>
                <a:gd name="T18" fmla="*/ 7 w 8"/>
                <a:gd name="T19" fmla="*/ 10 h 14"/>
                <a:gd name="T20" fmla="*/ 8 w 8"/>
                <a:gd name="T21" fmla="*/ 14 h 14"/>
                <a:gd name="T22" fmla="*/ 8 w 8"/>
                <a:gd name="T23" fmla="*/ 14 h 14"/>
                <a:gd name="T24" fmla="*/ 6 w 8"/>
                <a:gd name="T25" fmla="*/ 13 h 14"/>
                <a:gd name="T26" fmla="*/ 4 w 8"/>
                <a:gd name="T27" fmla="*/ 13 h 14"/>
                <a:gd name="T28" fmla="*/ 4 w 8"/>
                <a:gd name="T29" fmla="*/ 8 h 14"/>
                <a:gd name="T30" fmla="*/ 4 w 8"/>
                <a:gd name="T31" fmla="*/ 5 h 14"/>
                <a:gd name="T32" fmla="*/ 3 w 8"/>
                <a:gd name="T33" fmla="*/ 4 h 14"/>
                <a:gd name="T34" fmla="*/ 0 w 8"/>
                <a:gd name="T3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14">
                  <a:moveTo>
                    <a:pt x="0" y="4"/>
                  </a:moveTo>
                  <a:lnTo>
                    <a:pt x="0" y="4"/>
                  </a:lnTo>
                  <a:lnTo>
                    <a:pt x="1" y="3"/>
                  </a:lnTo>
                  <a:lnTo>
                    <a:pt x="4" y="3"/>
                  </a:lnTo>
                  <a:lnTo>
                    <a:pt x="6" y="3"/>
                  </a:lnTo>
                  <a:lnTo>
                    <a:pt x="8" y="0"/>
                  </a:lnTo>
                  <a:lnTo>
                    <a:pt x="8" y="0"/>
                  </a:lnTo>
                  <a:lnTo>
                    <a:pt x="8" y="4"/>
                  </a:lnTo>
                  <a:lnTo>
                    <a:pt x="7" y="7"/>
                  </a:lnTo>
                  <a:lnTo>
                    <a:pt x="7" y="10"/>
                  </a:lnTo>
                  <a:lnTo>
                    <a:pt x="8" y="14"/>
                  </a:lnTo>
                  <a:lnTo>
                    <a:pt x="8" y="14"/>
                  </a:lnTo>
                  <a:lnTo>
                    <a:pt x="6" y="13"/>
                  </a:lnTo>
                  <a:lnTo>
                    <a:pt x="4" y="13"/>
                  </a:lnTo>
                  <a:lnTo>
                    <a:pt x="4" y="8"/>
                  </a:lnTo>
                  <a:lnTo>
                    <a:pt x="4" y="5"/>
                  </a:lnTo>
                  <a:lnTo>
                    <a:pt x="3" y="4"/>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0" name="Rectangle 481"/>
            <p:cNvSpPr>
              <a:spLocks noChangeArrowheads="1"/>
            </p:cNvSpPr>
            <p:nvPr/>
          </p:nvSpPr>
          <p:spPr bwMode="auto">
            <a:xfrm>
              <a:off x="3546435" y="3444368"/>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481" name="Rectangle 482"/>
            <p:cNvSpPr>
              <a:spLocks noChangeArrowheads="1"/>
            </p:cNvSpPr>
            <p:nvPr/>
          </p:nvSpPr>
          <p:spPr bwMode="auto">
            <a:xfrm>
              <a:off x="3546435" y="3444368"/>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482" name="Freeform 483"/>
            <p:cNvSpPr/>
            <p:nvPr/>
          </p:nvSpPr>
          <p:spPr bwMode="auto">
            <a:xfrm>
              <a:off x="4050204" y="4482626"/>
              <a:ext cx="12287" cy="18429"/>
            </a:xfrm>
            <a:custGeom>
              <a:avLst/>
              <a:gdLst>
                <a:gd name="T0" fmla="*/ 0 w 6"/>
                <a:gd name="T1" fmla="*/ 2 h 7"/>
                <a:gd name="T2" fmla="*/ 0 w 6"/>
                <a:gd name="T3" fmla="*/ 2 h 7"/>
                <a:gd name="T4" fmla="*/ 2 w 6"/>
                <a:gd name="T5" fmla="*/ 1 h 7"/>
                <a:gd name="T6" fmla="*/ 2 w 6"/>
                <a:gd name="T7" fmla="*/ 1 h 7"/>
                <a:gd name="T8" fmla="*/ 2 w 6"/>
                <a:gd name="T9" fmla="*/ 0 h 7"/>
                <a:gd name="T10" fmla="*/ 2 w 6"/>
                <a:gd name="T11" fmla="*/ 0 h 7"/>
                <a:gd name="T12" fmla="*/ 5 w 6"/>
                <a:gd name="T13" fmla="*/ 0 h 7"/>
                <a:gd name="T14" fmla="*/ 6 w 6"/>
                <a:gd name="T15" fmla="*/ 0 h 7"/>
                <a:gd name="T16" fmla="*/ 6 w 6"/>
                <a:gd name="T17" fmla="*/ 2 h 7"/>
                <a:gd name="T18" fmla="*/ 6 w 6"/>
                <a:gd name="T19" fmla="*/ 7 h 7"/>
                <a:gd name="T20" fmla="*/ 6 w 6"/>
                <a:gd name="T21" fmla="*/ 7 h 7"/>
                <a:gd name="T22" fmla="*/ 3 w 6"/>
                <a:gd name="T23" fmla="*/ 5 h 7"/>
                <a:gd name="T24" fmla="*/ 2 w 6"/>
                <a:gd name="T25" fmla="*/ 5 h 7"/>
                <a:gd name="T26" fmla="*/ 3 w 6"/>
                <a:gd name="T27" fmla="*/ 7 h 7"/>
                <a:gd name="T28" fmla="*/ 3 w 6"/>
                <a:gd name="T29" fmla="*/ 7 h 7"/>
                <a:gd name="T30" fmla="*/ 2 w 6"/>
                <a:gd name="T31" fmla="*/ 7 h 7"/>
                <a:gd name="T32" fmla="*/ 2 w 6"/>
                <a:gd name="T33" fmla="*/ 5 h 7"/>
                <a:gd name="T34" fmla="*/ 0 w 6"/>
                <a:gd name="T3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7">
                  <a:moveTo>
                    <a:pt x="0" y="2"/>
                  </a:moveTo>
                  <a:lnTo>
                    <a:pt x="0" y="2"/>
                  </a:lnTo>
                  <a:lnTo>
                    <a:pt x="2" y="1"/>
                  </a:lnTo>
                  <a:lnTo>
                    <a:pt x="2" y="1"/>
                  </a:lnTo>
                  <a:lnTo>
                    <a:pt x="2" y="0"/>
                  </a:lnTo>
                  <a:lnTo>
                    <a:pt x="2" y="0"/>
                  </a:lnTo>
                  <a:lnTo>
                    <a:pt x="5" y="0"/>
                  </a:lnTo>
                  <a:lnTo>
                    <a:pt x="6" y="0"/>
                  </a:lnTo>
                  <a:lnTo>
                    <a:pt x="6" y="2"/>
                  </a:lnTo>
                  <a:lnTo>
                    <a:pt x="6" y="7"/>
                  </a:lnTo>
                  <a:lnTo>
                    <a:pt x="6" y="7"/>
                  </a:lnTo>
                  <a:lnTo>
                    <a:pt x="3" y="5"/>
                  </a:lnTo>
                  <a:lnTo>
                    <a:pt x="2" y="5"/>
                  </a:lnTo>
                  <a:lnTo>
                    <a:pt x="3" y="7"/>
                  </a:lnTo>
                  <a:lnTo>
                    <a:pt x="3" y="7"/>
                  </a:lnTo>
                  <a:lnTo>
                    <a:pt x="2" y="7"/>
                  </a:lnTo>
                  <a:lnTo>
                    <a:pt x="2" y="5"/>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3" name="Freeform 484"/>
            <p:cNvSpPr/>
            <p:nvPr/>
          </p:nvSpPr>
          <p:spPr bwMode="auto">
            <a:xfrm>
              <a:off x="4050204" y="4482626"/>
              <a:ext cx="12287" cy="18429"/>
            </a:xfrm>
            <a:custGeom>
              <a:avLst/>
              <a:gdLst>
                <a:gd name="T0" fmla="*/ 0 w 6"/>
                <a:gd name="T1" fmla="*/ 2 h 7"/>
                <a:gd name="T2" fmla="*/ 0 w 6"/>
                <a:gd name="T3" fmla="*/ 2 h 7"/>
                <a:gd name="T4" fmla="*/ 2 w 6"/>
                <a:gd name="T5" fmla="*/ 1 h 7"/>
                <a:gd name="T6" fmla="*/ 2 w 6"/>
                <a:gd name="T7" fmla="*/ 1 h 7"/>
                <a:gd name="T8" fmla="*/ 2 w 6"/>
                <a:gd name="T9" fmla="*/ 0 h 7"/>
                <a:gd name="T10" fmla="*/ 2 w 6"/>
                <a:gd name="T11" fmla="*/ 0 h 7"/>
                <a:gd name="T12" fmla="*/ 5 w 6"/>
                <a:gd name="T13" fmla="*/ 0 h 7"/>
                <a:gd name="T14" fmla="*/ 6 w 6"/>
                <a:gd name="T15" fmla="*/ 0 h 7"/>
                <a:gd name="T16" fmla="*/ 6 w 6"/>
                <a:gd name="T17" fmla="*/ 2 h 7"/>
                <a:gd name="T18" fmla="*/ 6 w 6"/>
                <a:gd name="T19" fmla="*/ 7 h 7"/>
                <a:gd name="T20" fmla="*/ 6 w 6"/>
                <a:gd name="T21" fmla="*/ 7 h 7"/>
                <a:gd name="T22" fmla="*/ 3 w 6"/>
                <a:gd name="T23" fmla="*/ 5 h 7"/>
                <a:gd name="T24" fmla="*/ 2 w 6"/>
                <a:gd name="T25" fmla="*/ 5 h 7"/>
                <a:gd name="T26" fmla="*/ 3 w 6"/>
                <a:gd name="T27" fmla="*/ 7 h 7"/>
                <a:gd name="T28" fmla="*/ 3 w 6"/>
                <a:gd name="T29" fmla="*/ 7 h 7"/>
                <a:gd name="T30" fmla="*/ 2 w 6"/>
                <a:gd name="T31" fmla="*/ 7 h 7"/>
                <a:gd name="T32" fmla="*/ 2 w 6"/>
                <a:gd name="T33" fmla="*/ 5 h 7"/>
                <a:gd name="T34" fmla="*/ 0 w 6"/>
                <a:gd name="T3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7">
                  <a:moveTo>
                    <a:pt x="0" y="2"/>
                  </a:moveTo>
                  <a:lnTo>
                    <a:pt x="0" y="2"/>
                  </a:lnTo>
                  <a:lnTo>
                    <a:pt x="2" y="1"/>
                  </a:lnTo>
                  <a:lnTo>
                    <a:pt x="2" y="1"/>
                  </a:lnTo>
                  <a:lnTo>
                    <a:pt x="2" y="0"/>
                  </a:lnTo>
                  <a:lnTo>
                    <a:pt x="2" y="0"/>
                  </a:lnTo>
                  <a:lnTo>
                    <a:pt x="5" y="0"/>
                  </a:lnTo>
                  <a:lnTo>
                    <a:pt x="6" y="0"/>
                  </a:lnTo>
                  <a:lnTo>
                    <a:pt x="6" y="2"/>
                  </a:lnTo>
                  <a:lnTo>
                    <a:pt x="6" y="7"/>
                  </a:lnTo>
                  <a:lnTo>
                    <a:pt x="6" y="7"/>
                  </a:lnTo>
                  <a:lnTo>
                    <a:pt x="3" y="5"/>
                  </a:lnTo>
                  <a:lnTo>
                    <a:pt x="2" y="5"/>
                  </a:lnTo>
                  <a:lnTo>
                    <a:pt x="3" y="7"/>
                  </a:lnTo>
                  <a:lnTo>
                    <a:pt x="3" y="7"/>
                  </a:lnTo>
                  <a:lnTo>
                    <a:pt x="2" y="7"/>
                  </a:lnTo>
                  <a:lnTo>
                    <a:pt x="2" y="5"/>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4" name="Freeform 485"/>
            <p:cNvSpPr/>
            <p:nvPr/>
          </p:nvSpPr>
          <p:spPr bwMode="auto">
            <a:xfrm>
              <a:off x="3945762" y="4531773"/>
              <a:ext cx="12287" cy="18429"/>
            </a:xfrm>
            <a:custGeom>
              <a:avLst/>
              <a:gdLst>
                <a:gd name="T0" fmla="*/ 5 w 5"/>
                <a:gd name="T1" fmla="*/ 0 h 6"/>
                <a:gd name="T2" fmla="*/ 5 w 5"/>
                <a:gd name="T3" fmla="*/ 0 h 6"/>
                <a:gd name="T4" fmla="*/ 5 w 5"/>
                <a:gd name="T5" fmla="*/ 2 h 6"/>
                <a:gd name="T6" fmla="*/ 5 w 5"/>
                <a:gd name="T7" fmla="*/ 2 h 6"/>
                <a:gd name="T8" fmla="*/ 5 w 5"/>
                <a:gd name="T9" fmla="*/ 2 h 6"/>
                <a:gd name="T10" fmla="*/ 3 w 5"/>
                <a:gd name="T11" fmla="*/ 5 h 6"/>
                <a:gd name="T12" fmla="*/ 3 w 5"/>
                <a:gd name="T13" fmla="*/ 6 h 6"/>
                <a:gd name="T14" fmla="*/ 0 w 5"/>
                <a:gd name="T15" fmla="*/ 6 h 6"/>
                <a:gd name="T16" fmla="*/ 0 w 5"/>
                <a:gd name="T17" fmla="*/ 6 h 6"/>
                <a:gd name="T18" fmla="*/ 0 w 5"/>
                <a:gd name="T19" fmla="*/ 3 h 6"/>
                <a:gd name="T20" fmla="*/ 2 w 5"/>
                <a:gd name="T21" fmla="*/ 0 h 6"/>
                <a:gd name="T22" fmla="*/ 3 w 5"/>
                <a:gd name="T23" fmla="*/ 0 h 6"/>
                <a:gd name="T24" fmla="*/ 5 w 5"/>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5" y="0"/>
                  </a:moveTo>
                  <a:lnTo>
                    <a:pt x="5" y="0"/>
                  </a:lnTo>
                  <a:lnTo>
                    <a:pt x="5" y="2"/>
                  </a:lnTo>
                  <a:lnTo>
                    <a:pt x="5" y="2"/>
                  </a:lnTo>
                  <a:lnTo>
                    <a:pt x="5" y="2"/>
                  </a:lnTo>
                  <a:lnTo>
                    <a:pt x="3" y="5"/>
                  </a:lnTo>
                  <a:lnTo>
                    <a:pt x="3" y="6"/>
                  </a:lnTo>
                  <a:lnTo>
                    <a:pt x="0" y="6"/>
                  </a:lnTo>
                  <a:lnTo>
                    <a:pt x="0" y="6"/>
                  </a:lnTo>
                  <a:lnTo>
                    <a:pt x="0" y="3"/>
                  </a:lnTo>
                  <a:lnTo>
                    <a:pt x="2" y="0"/>
                  </a:lnTo>
                  <a:lnTo>
                    <a:pt x="3" y="0"/>
                  </a:lnTo>
                  <a:lnTo>
                    <a:pt x="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5" name="Freeform 486"/>
            <p:cNvSpPr/>
            <p:nvPr/>
          </p:nvSpPr>
          <p:spPr bwMode="auto">
            <a:xfrm>
              <a:off x="3945762" y="4531773"/>
              <a:ext cx="12287" cy="18429"/>
            </a:xfrm>
            <a:custGeom>
              <a:avLst/>
              <a:gdLst>
                <a:gd name="T0" fmla="*/ 5 w 5"/>
                <a:gd name="T1" fmla="*/ 0 h 6"/>
                <a:gd name="T2" fmla="*/ 5 w 5"/>
                <a:gd name="T3" fmla="*/ 0 h 6"/>
                <a:gd name="T4" fmla="*/ 5 w 5"/>
                <a:gd name="T5" fmla="*/ 2 h 6"/>
                <a:gd name="T6" fmla="*/ 5 w 5"/>
                <a:gd name="T7" fmla="*/ 2 h 6"/>
                <a:gd name="T8" fmla="*/ 5 w 5"/>
                <a:gd name="T9" fmla="*/ 2 h 6"/>
                <a:gd name="T10" fmla="*/ 3 w 5"/>
                <a:gd name="T11" fmla="*/ 5 h 6"/>
                <a:gd name="T12" fmla="*/ 3 w 5"/>
                <a:gd name="T13" fmla="*/ 6 h 6"/>
                <a:gd name="T14" fmla="*/ 0 w 5"/>
                <a:gd name="T15" fmla="*/ 6 h 6"/>
                <a:gd name="T16" fmla="*/ 0 w 5"/>
                <a:gd name="T17" fmla="*/ 6 h 6"/>
                <a:gd name="T18" fmla="*/ 0 w 5"/>
                <a:gd name="T19" fmla="*/ 3 h 6"/>
                <a:gd name="T20" fmla="*/ 2 w 5"/>
                <a:gd name="T21" fmla="*/ 0 h 6"/>
                <a:gd name="T22" fmla="*/ 3 w 5"/>
                <a:gd name="T23" fmla="*/ 0 h 6"/>
                <a:gd name="T24" fmla="*/ 5 w 5"/>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5" y="0"/>
                  </a:moveTo>
                  <a:lnTo>
                    <a:pt x="5" y="0"/>
                  </a:lnTo>
                  <a:lnTo>
                    <a:pt x="5" y="2"/>
                  </a:lnTo>
                  <a:lnTo>
                    <a:pt x="5" y="2"/>
                  </a:lnTo>
                  <a:lnTo>
                    <a:pt x="5" y="2"/>
                  </a:lnTo>
                  <a:lnTo>
                    <a:pt x="3" y="5"/>
                  </a:lnTo>
                  <a:lnTo>
                    <a:pt x="3" y="6"/>
                  </a:lnTo>
                  <a:lnTo>
                    <a:pt x="0" y="6"/>
                  </a:lnTo>
                  <a:lnTo>
                    <a:pt x="0" y="6"/>
                  </a:lnTo>
                  <a:lnTo>
                    <a:pt x="0" y="3"/>
                  </a:lnTo>
                  <a:lnTo>
                    <a:pt x="2" y="0"/>
                  </a:lnTo>
                  <a:lnTo>
                    <a:pt x="3" y="0"/>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6" name="Freeform 487"/>
            <p:cNvSpPr/>
            <p:nvPr/>
          </p:nvSpPr>
          <p:spPr bwMode="auto">
            <a:xfrm>
              <a:off x="3546435" y="3438226"/>
              <a:ext cx="30720" cy="18429"/>
            </a:xfrm>
            <a:custGeom>
              <a:avLst/>
              <a:gdLst>
                <a:gd name="T0" fmla="*/ 0 w 10"/>
                <a:gd name="T1" fmla="*/ 3 h 6"/>
                <a:gd name="T2" fmla="*/ 0 w 10"/>
                <a:gd name="T3" fmla="*/ 3 h 6"/>
                <a:gd name="T4" fmla="*/ 0 w 10"/>
                <a:gd name="T5" fmla="*/ 6 h 6"/>
                <a:gd name="T6" fmla="*/ 0 w 10"/>
                <a:gd name="T7" fmla="*/ 6 h 6"/>
                <a:gd name="T8" fmla="*/ 0 w 10"/>
                <a:gd name="T9" fmla="*/ 6 h 6"/>
                <a:gd name="T10" fmla="*/ 0 w 10"/>
                <a:gd name="T11" fmla="*/ 6 h 6"/>
                <a:gd name="T12" fmla="*/ 0 w 10"/>
                <a:gd name="T13" fmla="*/ 6 h 6"/>
                <a:gd name="T14" fmla="*/ 10 w 10"/>
                <a:gd name="T15" fmla="*/ 1 h 6"/>
                <a:gd name="T16" fmla="*/ 10 w 10"/>
                <a:gd name="T17" fmla="*/ 1 h 6"/>
                <a:gd name="T18" fmla="*/ 10 w 10"/>
                <a:gd name="T19" fmla="*/ 1 h 6"/>
                <a:gd name="T20" fmla="*/ 10 w 10"/>
                <a:gd name="T21" fmla="*/ 1 h 6"/>
                <a:gd name="T22" fmla="*/ 10 w 10"/>
                <a:gd name="T23" fmla="*/ 1 h 6"/>
                <a:gd name="T24" fmla="*/ 10 w 10"/>
                <a:gd name="T25" fmla="*/ 1 h 6"/>
                <a:gd name="T26" fmla="*/ 9 w 10"/>
                <a:gd name="T27" fmla="*/ 1 h 6"/>
                <a:gd name="T28" fmla="*/ 9 w 10"/>
                <a:gd name="T29" fmla="*/ 1 h 6"/>
                <a:gd name="T30" fmla="*/ 4 w 10"/>
                <a:gd name="T31" fmla="*/ 1 h 6"/>
                <a:gd name="T32" fmla="*/ 4 w 10"/>
                <a:gd name="T33" fmla="*/ 1 h 6"/>
                <a:gd name="T34" fmla="*/ 6 w 10"/>
                <a:gd name="T35" fmla="*/ 0 h 6"/>
                <a:gd name="T36" fmla="*/ 9 w 10"/>
                <a:gd name="T37" fmla="*/ 0 h 6"/>
                <a:gd name="T38" fmla="*/ 9 w 10"/>
                <a:gd name="T39" fmla="*/ 0 h 6"/>
                <a:gd name="T40" fmla="*/ 9 w 10"/>
                <a:gd name="T41" fmla="*/ 0 h 6"/>
                <a:gd name="T42" fmla="*/ 9 w 10"/>
                <a:gd name="T43" fmla="*/ 0 h 6"/>
                <a:gd name="T44" fmla="*/ 9 w 10"/>
                <a:gd name="T45" fmla="*/ 0 h 6"/>
                <a:gd name="T46" fmla="*/ 0 w 10"/>
                <a:gd name="T47" fmla="*/ 3 h 6"/>
                <a:gd name="T48" fmla="*/ 0 w 10"/>
                <a:gd name="T49" fmla="*/ 3 h 6"/>
                <a:gd name="T50" fmla="*/ 0 w 10"/>
                <a:gd name="T51" fmla="*/ 3 h 6"/>
                <a:gd name="T52" fmla="*/ 0 w 10"/>
                <a:gd name="T53" fmla="*/ 3 h 6"/>
                <a:gd name="T54" fmla="*/ 0 w 10"/>
                <a:gd name="T55" fmla="*/ 3 h 6"/>
                <a:gd name="T56" fmla="*/ 0 w 10"/>
                <a:gd name="T57" fmla="*/ 3 h 6"/>
                <a:gd name="T58" fmla="*/ 0 w 10"/>
                <a:gd name="T59" fmla="*/ 3 h 6"/>
                <a:gd name="T60" fmla="*/ 0 w 10"/>
                <a:gd name="T6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 h="6">
                  <a:moveTo>
                    <a:pt x="0" y="3"/>
                  </a:moveTo>
                  <a:lnTo>
                    <a:pt x="0" y="3"/>
                  </a:lnTo>
                  <a:lnTo>
                    <a:pt x="0" y="6"/>
                  </a:lnTo>
                  <a:lnTo>
                    <a:pt x="0" y="6"/>
                  </a:lnTo>
                  <a:lnTo>
                    <a:pt x="0" y="6"/>
                  </a:lnTo>
                  <a:lnTo>
                    <a:pt x="0" y="6"/>
                  </a:lnTo>
                  <a:lnTo>
                    <a:pt x="0" y="6"/>
                  </a:lnTo>
                  <a:lnTo>
                    <a:pt x="10" y="1"/>
                  </a:lnTo>
                  <a:lnTo>
                    <a:pt x="10" y="1"/>
                  </a:lnTo>
                  <a:lnTo>
                    <a:pt x="10" y="1"/>
                  </a:lnTo>
                  <a:lnTo>
                    <a:pt x="10" y="1"/>
                  </a:lnTo>
                  <a:lnTo>
                    <a:pt x="10" y="1"/>
                  </a:lnTo>
                  <a:lnTo>
                    <a:pt x="10" y="1"/>
                  </a:lnTo>
                  <a:lnTo>
                    <a:pt x="9" y="1"/>
                  </a:lnTo>
                  <a:lnTo>
                    <a:pt x="9" y="1"/>
                  </a:lnTo>
                  <a:lnTo>
                    <a:pt x="4" y="1"/>
                  </a:lnTo>
                  <a:lnTo>
                    <a:pt x="4" y="1"/>
                  </a:lnTo>
                  <a:lnTo>
                    <a:pt x="6" y="0"/>
                  </a:lnTo>
                  <a:lnTo>
                    <a:pt x="9" y="0"/>
                  </a:lnTo>
                  <a:lnTo>
                    <a:pt x="9" y="0"/>
                  </a:lnTo>
                  <a:lnTo>
                    <a:pt x="9" y="0"/>
                  </a:lnTo>
                  <a:lnTo>
                    <a:pt x="9" y="0"/>
                  </a:lnTo>
                  <a:lnTo>
                    <a:pt x="9" y="0"/>
                  </a:lnTo>
                  <a:lnTo>
                    <a:pt x="0" y="3"/>
                  </a:lnTo>
                  <a:lnTo>
                    <a:pt x="0" y="3"/>
                  </a:lnTo>
                  <a:lnTo>
                    <a:pt x="0" y="3"/>
                  </a:lnTo>
                  <a:lnTo>
                    <a:pt x="0" y="3"/>
                  </a:lnTo>
                  <a:lnTo>
                    <a:pt x="0" y="3"/>
                  </a:lnTo>
                  <a:lnTo>
                    <a:pt x="0" y="3"/>
                  </a:lnTo>
                  <a:lnTo>
                    <a:pt x="0" y="3"/>
                  </a:lnTo>
                  <a:lnTo>
                    <a:pt x="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7" name="Freeform 488"/>
            <p:cNvSpPr/>
            <p:nvPr/>
          </p:nvSpPr>
          <p:spPr bwMode="auto">
            <a:xfrm>
              <a:off x="3546435" y="3438226"/>
              <a:ext cx="30720" cy="18429"/>
            </a:xfrm>
            <a:custGeom>
              <a:avLst/>
              <a:gdLst>
                <a:gd name="T0" fmla="*/ 0 w 10"/>
                <a:gd name="T1" fmla="*/ 3 h 6"/>
                <a:gd name="T2" fmla="*/ 0 w 10"/>
                <a:gd name="T3" fmla="*/ 3 h 6"/>
                <a:gd name="T4" fmla="*/ 0 w 10"/>
                <a:gd name="T5" fmla="*/ 6 h 6"/>
                <a:gd name="T6" fmla="*/ 0 w 10"/>
                <a:gd name="T7" fmla="*/ 6 h 6"/>
                <a:gd name="T8" fmla="*/ 0 w 10"/>
                <a:gd name="T9" fmla="*/ 6 h 6"/>
                <a:gd name="T10" fmla="*/ 0 w 10"/>
                <a:gd name="T11" fmla="*/ 6 h 6"/>
                <a:gd name="T12" fmla="*/ 0 w 10"/>
                <a:gd name="T13" fmla="*/ 6 h 6"/>
                <a:gd name="T14" fmla="*/ 10 w 10"/>
                <a:gd name="T15" fmla="*/ 1 h 6"/>
                <a:gd name="T16" fmla="*/ 10 w 10"/>
                <a:gd name="T17" fmla="*/ 1 h 6"/>
                <a:gd name="T18" fmla="*/ 10 w 10"/>
                <a:gd name="T19" fmla="*/ 1 h 6"/>
                <a:gd name="T20" fmla="*/ 10 w 10"/>
                <a:gd name="T21" fmla="*/ 1 h 6"/>
                <a:gd name="T22" fmla="*/ 10 w 10"/>
                <a:gd name="T23" fmla="*/ 1 h 6"/>
                <a:gd name="T24" fmla="*/ 10 w 10"/>
                <a:gd name="T25" fmla="*/ 1 h 6"/>
                <a:gd name="T26" fmla="*/ 9 w 10"/>
                <a:gd name="T27" fmla="*/ 1 h 6"/>
                <a:gd name="T28" fmla="*/ 9 w 10"/>
                <a:gd name="T29" fmla="*/ 1 h 6"/>
                <a:gd name="T30" fmla="*/ 4 w 10"/>
                <a:gd name="T31" fmla="*/ 1 h 6"/>
                <a:gd name="T32" fmla="*/ 4 w 10"/>
                <a:gd name="T33" fmla="*/ 1 h 6"/>
                <a:gd name="T34" fmla="*/ 6 w 10"/>
                <a:gd name="T35" fmla="*/ 0 h 6"/>
                <a:gd name="T36" fmla="*/ 9 w 10"/>
                <a:gd name="T37" fmla="*/ 0 h 6"/>
                <a:gd name="T38" fmla="*/ 9 w 10"/>
                <a:gd name="T39" fmla="*/ 0 h 6"/>
                <a:gd name="T40" fmla="*/ 9 w 10"/>
                <a:gd name="T41" fmla="*/ 0 h 6"/>
                <a:gd name="T42" fmla="*/ 9 w 10"/>
                <a:gd name="T43" fmla="*/ 0 h 6"/>
                <a:gd name="T44" fmla="*/ 9 w 10"/>
                <a:gd name="T45" fmla="*/ 0 h 6"/>
                <a:gd name="T46" fmla="*/ 0 w 10"/>
                <a:gd name="T47" fmla="*/ 3 h 6"/>
                <a:gd name="T48" fmla="*/ 0 w 10"/>
                <a:gd name="T49" fmla="*/ 3 h 6"/>
                <a:gd name="T50" fmla="*/ 0 w 10"/>
                <a:gd name="T51" fmla="*/ 3 h 6"/>
                <a:gd name="T52" fmla="*/ 0 w 10"/>
                <a:gd name="T53" fmla="*/ 3 h 6"/>
                <a:gd name="T54" fmla="*/ 0 w 10"/>
                <a:gd name="T55" fmla="*/ 3 h 6"/>
                <a:gd name="T56" fmla="*/ 0 w 10"/>
                <a:gd name="T57" fmla="*/ 3 h 6"/>
                <a:gd name="T58" fmla="*/ 0 w 10"/>
                <a:gd name="T59" fmla="*/ 3 h 6"/>
                <a:gd name="T60" fmla="*/ 0 w 10"/>
                <a:gd name="T6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 h="6">
                  <a:moveTo>
                    <a:pt x="0" y="3"/>
                  </a:moveTo>
                  <a:lnTo>
                    <a:pt x="0" y="3"/>
                  </a:lnTo>
                  <a:lnTo>
                    <a:pt x="0" y="6"/>
                  </a:lnTo>
                  <a:lnTo>
                    <a:pt x="0" y="6"/>
                  </a:lnTo>
                  <a:lnTo>
                    <a:pt x="0" y="6"/>
                  </a:lnTo>
                  <a:lnTo>
                    <a:pt x="0" y="6"/>
                  </a:lnTo>
                  <a:lnTo>
                    <a:pt x="0" y="6"/>
                  </a:lnTo>
                  <a:lnTo>
                    <a:pt x="10" y="1"/>
                  </a:lnTo>
                  <a:lnTo>
                    <a:pt x="10" y="1"/>
                  </a:lnTo>
                  <a:lnTo>
                    <a:pt x="10" y="1"/>
                  </a:lnTo>
                  <a:lnTo>
                    <a:pt x="10" y="1"/>
                  </a:lnTo>
                  <a:lnTo>
                    <a:pt x="10" y="1"/>
                  </a:lnTo>
                  <a:lnTo>
                    <a:pt x="10" y="1"/>
                  </a:lnTo>
                  <a:lnTo>
                    <a:pt x="9" y="1"/>
                  </a:lnTo>
                  <a:lnTo>
                    <a:pt x="9" y="1"/>
                  </a:lnTo>
                  <a:lnTo>
                    <a:pt x="4" y="1"/>
                  </a:lnTo>
                  <a:lnTo>
                    <a:pt x="4" y="1"/>
                  </a:lnTo>
                  <a:lnTo>
                    <a:pt x="6" y="0"/>
                  </a:lnTo>
                  <a:lnTo>
                    <a:pt x="9" y="0"/>
                  </a:lnTo>
                  <a:lnTo>
                    <a:pt x="9" y="0"/>
                  </a:lnTo>
                  <a:lnTo>
                    <a:pt x="9" y="0"/>
                  </a:lnTo>
                  <a:lnTo>
                    <a:pt x="9" y="0"/>
                  </a:lnTo>
                  <a:lnTo>
                    <a:pt x="9" y="0"/>
                  </a:lnTo>
                  <a:lnTo>
                    <a:pt x="0" y="3"/>
                  </a:lnTo>
                  <a:lnTo>
                    <a:pt x="0" y="3"/>
                  </a:lnTo>
                  <a:lnTo>
                    <a:pt x="0" y="3"/>
                  </a:lnTo>
                  <a:lnTo>
                    <a:pt x="0" y="3"/>
                  </a:lnTo>
                  <a:lnTo>
                    <a:pt x="0" y="3"/>
                  </a:lnTo>
                  <a:lnTo>
                    <a:pt x="0" y="3"/>
                  </a:lnTo>
                  <a:lnTo>
                    <a:pt x="0" y="3"/>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8" name="Freeform 489"/>
            <p:cNvSpPr/>
            <p:nvPr/>
          </p:nvSpPr>
          <p:spPr bwMode="auto">
            <a:xfrm>
              <a:off x="3546435" y="346280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9" name="Freeform 490"/>
            <p:cNvSpPr/>
            <p:nvPr/>
          </p:nvSpPr>
          <p:spPr bwMode="auto">
            <a:xfrm>
              <a:off x="3546435" y="346280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0" name="Freeform 491"/>
            <p:cNvSpPr>
              <a:spLocks noEditPoints="1"/>
            </p:cNvSpPr>
            <p:nvPr/>
          </p:nvSpPr>
          <p:spPr bwMode="auto">
            <a:xfrm>
              <a:off x="3546435" y="3462800"/>
              <a:ext cx="0" cy="0"/>
            </a:xfrm>
            <a:custGeom>
              <a:avLst/>
              <a:gdLst>
                <a:gd name="T0" fmla="*/ 0 h 1"/>
                <a:gd name="T1" fmla="*/ 0 h 1"/>
                <a:gd name="T2" fmla="*/ 0 h 1"/>
                <a:gd name="T3" fmla="*/ 0 h 1"/>
                <a:gd name="T4" fmla="*/ 0 h 1"/>
                <a:gd name="T5" fmla="*/ 0 h 1"/>
                <a:gd name="T6" fmla="*/ 1 h 1"/>
                <a:gd name="T7" fmla="*/ 1 h 1"/>
                <a:gd name="T8" fmla="*/ 0 h 1"/>
                <a:gd name="T9" fmla="*/ 0 h 1"/>
                <a:gd name="T10" fmla="*/ 0 h 1"/>
                <a:gd name="T11" fmla="*/ 0 h 1"/>
                <a:gd name="T12" fmla="*/ 0 h 1"/>
                <a:gd name="T13" fmla="*/ 0 h 1"/>
                <a:gd name="T14" fmla="*/ 0 h 1"/>
                <a:gd name="T15" fmla="*/ 0 h 1"/>
                <a:gd name="T16" fmla="*/ 0 h 1"/>
                <a:gd name="T17" fmla="*/ 0 h 1"/>
                <a:gd name="T18" fmla="*/ 1 h 1"/>
                <a:gd name="T19" fmla="*/ 1 h 1"/>
                <a:gd name="T20" fmla="*/ 0 h 1"/>
                <a:gd name="T21" fmla="*/ 0 h 1"/>
                <a:gd name="T22" fmla="*/ 0 h 1"/>
                <a:gd name="T23" fmla="*/ 0 h 1"/>
                <a:gd name="T24" fmla="*/ 0 h 1"/>
                <a:gd name="T25" fmla="*/ 0 h 1"/>
                <a:gd name="T26" fmla="*/ 0 h 1"/>
                <a:gd name="T27" fmla="*/ 0 h 1"/>
                <a:gd name="T28" fmla="*/ 0 h 1"/>
                <a:gd name="T29" fmla="*/ 0 h 1"/>
                <a:gd name="T30" fmla="*/ 0 h 1"/>
                <a:gd name="T31" fmla="*/ 0 h 1"/>
                <a:gd name="T32" fmla="*/ 0 h 1"/>
                <a:gd name="T33" fmla="*/ 0 h 1"/>
                <a:gd name="T34" fmla="*/ 0 h 1"/>
                <a:gd name="T35" fmla="*/ 0 h 1"/>
                <a:gd name="T36" fmla="*/ 0 h 1"/>
                <a:gd name="T37" fmla="*/ 0 h 1"/>
                <a:gd name="T38" fmla="*/ 0 h 1"/>
                <a:gd name="T39" fmla="*/ 0 h 1"/>
                <a:gd name="T40" fmla="*/ 0 h 1"/>
                <a:gd name="T41" fmla="*/ 0 h 1"/>
                <a:gd name="T42" fmla="*/ 0 h 1"/>
                <a:gd name="T43" fmla="*/ 0 h 1"/>
                <a:gd name="T44" fmla="*/ 0 h 1"/>
                <a:gd name="T45" fmla="*/ 0 h 1"/>
                <a:gd name="T46" fmla="*/ 1 h 1"/>
                <a:gd name="T47" fmla="*/ 1 h 1"/>
                <a:gd name="T48" fmla="*/ 0 h 1"/>
                <a:gd name="T49" fmla="*/ 0 h 1"/>
                <a:gd name="T50"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 ang="0">
                  <a:pos x="0" y="T46"/>
                </a:cxn>
                <a:cxn ang="0">
                  <a:pos x="0" y="T47"/>
                </a:cxn>
                <a:cxn ang="0">
                  <a:pos x="0" y="T48"/>
                </a:cxn>
                <a:cxn ang="0">
                  <a:pos x="0" y="T49"/>
                </a:cxn>
                <a:cxn ang="0">
                  <a:pos x="0" y="T50"/>
                </a:cxn>
              </a:cxnLst>
              <a:rect l="0" t="0" r="r" b="b"/>
              <a:pathLst>
                <a:path h="1">
                  <a:moveTo>
                    <a:pt x="0" y="0"/>
                  </a:moveTo>
                  <a:lnTo>
                    <a:pt x="0" y="0"/>
                  </a:lnTo>
                  <a:lnTo>
                    <a:pt x="0" y="0"/>
                  </a:lnTo>
                  <a:lnTo>
                    <a:pt x="0" y="0"/>
                  </a:lnTo>
                  <a:lnTo>
                    <a:pt x="0" y="0"/>
                  </a:lnTo>
                  <a:lnTo>
                    <a:pt x="0" y="0"/>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0" y="1"/>
                  </a:moveTo>
                  <a:lnTo>
                    <a:pt x="0" y="1"/>
                  </a:lnTo>
                  <a:lnTo>
                    <a:pt x="0" y="0"/>
                  </a:lnTo>
                  <a:lnTo>
                    <a:pt x="0" y="0"/>
                  </a:lnTo>
                  <a:lnTo>
                    <a:pt x="0"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1" name="Freeform 492"/>
            <p:cNvSpPr/>
            <p:nvPr/>
          </p:nvSpPr>
          <p:spPr bwMode="auto">
            <a:xfrm>
              <a:off x="3546435" y="3462800"/>
              <a:ext cx="0" cy="0"/>
            </a:xfrm>
            <a:custGeom>
              <a:avLst/>
              <a:gdLst>
                <a:gd name="T0" fmla="*/ 0 h 1"/>
                <a:gd name="T1" fmla="*/ 0 h 1"/>
                <a:gd name="T2" fmla="*/ 0 h 1"/>
                <a:gd name="T3" fmla="*/ 0 h 1"/>
                <a:gd name="T4" fmla="*/ 0 h 1"/>
                <a:gd name="T5" fmla="*/ 0 h 1"/>
                <a:gd name="T6" fmla="*/ 1 h 1"/>
                <a:gd name="T7" fmla="*/ 1 h 1"/>
                <a:gd name="T8" fmla="*/ 0 h 1"/>
                <a:gd name="T9" fmla="*/ 0 h 1"/>
                <a:gd name="T10" fmla="*/ 0 h 1"/>
                <a:gd name="T11" fmla="*/ 0 h 1"/>
                <a:gd name="T12" fmla="*/ 0 h 1"/>
                <a:gd name="T13" fmla="*/ 0 h 1"/>
                <a:gd name="T14" fmla="*/ 0 h 1"/>
                <a:gd name="T15" fmla="*/ 0 h 1"/>
                <a:gd name="T16" fmla="*/ 0 h 1"/>
                <a:gd name="T17" fmla="*/ 0 h 1"/>
                <a:gd name="T18" fmla="*/ 1 h 1"/>
                <a:gd name="T19" fmla="*/ 1 h 1"/>
                <a:gd name="T20" fmla="*/ 0 h 1"/>
                <a:gd name="T21" fmla="*/ 0 h 1"/>
                <a:gd name="T22" fmla="*/ 0 h 1"/>
                <a:gd name="T23" fmla="*/ 0 h 1"/>
                <a:gd name="T24" fmla="*/ 0 h 1"/>
                <a:gd name="T25" fmla="*/ 0 h 1"/>
                <a:gd name="T26" fmla="*/ 0 h 1"/>
                <a:gd name="T27" fmla="*/ 0 h 1"/>
                <a:gd name="T28" fmla="*/ 0 h 1"/>
                <a:gd name="T29" fmla="*/ 0 h 1"/>
                <a:gd name="T30" fmla="*/ 0 h 1"/>
                <a:gd name="T31" fmla="*/ 0 h 1"/>
                <a:gd name="T32" fmla="*/ 0 h 1"/>
                <a:gd name="T33" fmla="*/ 0 h 1"/>
                <a:gd name="T34" fmla="*/ 0 h 1"/>
                <a:gd name="T35" fmla="*/ 0 h 1"/>
                <a:gd name="T36" fmla="*/ 0 h 1"/>
                <a:gd name="T37" fmla="*/ 0 h 1"/>
                <a:gd name="T38" fmla="*/ 0 h 1"/>
                <a:gd name="T39" fmla="*/ 0 h 1"/>
                <a:gd name="T40" fmla="*/ 0 h 1"/>
                <a:gd name="T41" fmla="*/ 0 h 1"/>
                <a:gd name="T42" fmla="*/ 0 h 1"/>
                <a:gd name="T43" fmla="*/ 0 h 1"/>
                <a:gd name="T44" fmla="*/ 0 h 1"/>
                <a:gd name="T45"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Lst>
              <a:rect l="0" t="0" r="r" b="b"/>
              <a:pathLst>
                <a:path h="1">
                  <a:moveTo>
                    <a:pt x="0" y="0"/>
                  </a:moveTo>
                  <a:lnTo>
                    <a:pt x="0" y="0"/>
                  </a:lnTo>
                  <a:lnTo>
                    <a:pt x="0" y="0"/>
                  </a:lnTo>
                  <a:lnTo>
                    <a:pt x="0" y="0"/>
                  </a:lnTo>
                  <a:lnTo>
                    <a:pt x="0" y="0"/>
                  </a:lnTo>
                  <a:lnTo>
                    <a:pt x="0" y="0"/>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2" name="Rectangle 493"/>
            <p:cNvSpPr>
              <a:spLocks noChangeArrowheads="1"/>
            </p:cNvSpPr>
            <p:nvPr/>
          </p:nvSpPr>
          <p:spPr bwMode="auto">
            <a:xfrm>
              <a:off x="3546435" y="3462800"/>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493" name="Freeform 494"/>
            <p:cNvSpPr/>
            <p:nvPr/>
          </p:nvSpPr>
          <p:spPr bwMode="auto">
            <a:xfrm>
              <a:off x="3552577" y="3616386"/>
              <a:ext cx="0" cy="12287"/>
            </a:xfrm>
            <a:custGeom>
              <a:avLst/>
              <a:gdLst>
                <a:gd name="T0" fmla="*/ 3 h 4"/>
                <a:gd name="T1" fmla="*/ 3 h 4"/>
                <a:gd name="T2" fmla="*/ 4 h 4"/>
                <a:gd name="T3" fmla="*/ 4 h 4"/>
                <a:gd name="T4" fmla="*/ 4 h 4"/>
                <a:gd name="T5" fmla="*/ 1 h 4"/>
                <a:gd name="T6" fmla="*/ 1 h 4"/>
                <a:gd name="T7" fmla="*/ 0 h 4"/>
                <a:gd name="T8" fmla="*/ 1 h 4"/>
                <a:gd name="T9" fmla="*/ 3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4">
                  <a:moveTo>
                    <a:pt x="0" y="3"/>
                  </a:moveTo>
                  <a:lnTo>
                    <a:pt x="0" y="3"/>
                  </a:lnTo>
                  <a:lnTo>
                    <a:pt x="0" y="4"/>
                  </a:lnTo>
                  <a:lnTo>
                    <a:pt x="0" y="4"/>
                  </a:lnTo>
                  <a:lnTo>
                    <a:pt x="0" y="4"/>
                  </a:lnTo>
                  <a:lnTo>
                    <a:pt x="0" y="1"/>
                  </a:lnTo>
                  <a:lnTo>
                    <a:pt x="0" y="1"/>
                  </a:lnTo>
                  <a:lnTo>
                    <a:pt x="0" y="0"/>
                  </a:lnTo>
                  <a:lnTo>
                    <a:pt x="0" y="1"/>
                  </a:lnTo>
                  <a:lnTo>
                    <a:pt x="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4" name="Freeform 495"/>
            <p:cNvSpPr/>
            <p:nvPr/>
          </p:nvSpPr>
          <p:spPr bwMode="auto">
            <a:xfrm>
              <a:off x="3552577" y="3616386"/>
              <a:ext cx="0" cy="12287"/>
            </a:xfrm>
            <a:custGeom>
              <a:avLst/>
              <a:gdLst>
                <a:gd name="T0" fmla="*/ 3 h 4"/>
                <a:gd name="T1" fmla="*/ 3 h 4"/>
                <a:gd name="T2" fmla="*/ 4 h 4"/>
                <a:gd name="T3" fmla="*/ 4 h 4"/>
                <a:gd name="T4" fmla="*/ 4 h 4"/>
                <a:gd name="T5" fmla="*/ 1 h 4"/>
                <a:gd name="T6" fmla="*/ 1 h 4"/>
                <a:gd name="T7" fmla="*/ 0 h 4"/>
                <a:gd name="T8" fmla="*/ 1 h 4"/>
                <a:gd name="T9" fmla="*/ 3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4">
                  <a:moveTo>
                    <a:pt x="0" y="3"/>
                  </a:moveTo>
                  <a:lnTo>
                    <a:pt x="0" y="3"/>
                  </a:lnTo>
                  <a:lnTo>
                    <a:pt x="0" y="4"/>
                  </a:lnTo>
                  <a:lnTo>
                    <a:pt x="0" y="4"/>
                  </a:lnTo>
                  <a:lnTo>
                    <a:pt x="0" y="4"/>
                  </a:lnTo>
                  <a:lnTo>
                    <a:pt x="0" y="1"/>
                  </a:lnTo>
                  <a:lnTo>
                    <a:pt x="0" y="1"/>
                  </a:lnTo>
                  <a:lnTo>
                    <a:pt x="0" y="0"/>
                  </a:lnTo>
                  <a:lnTo>
                    <a:pt x="0" y="1"/>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5" name="Freeform 496"/>
            <p:cNvSpPr/>
            <p:nvPr/>
          </p:nvSpPr>
          <p:spPr bwMode="auto">
            <a:xfrm>
              <a:off x="3528003" y="3536523"/>
              <a:ext cx="6145" cy="12287"/>
            </a:xfrm>
            <a:custGeom>
              <a:avLst/>
              <a:gdLst>
                <a:gd name="T0" fmla="*/ 1 w 1"/>
                <a:gd name="T1" fmla="*/ 0 h 5"/>
                <a:gd name="T2" fmla="*/ 1 w 1"/>
                <a:gd name="T3" fmla="*/ 0 h 5"/>
                <a:gd name="T4" fmla="*/ 1 w 1"/>
                <a:gd name="T5" fmla="*/ 5 h 5"/>
                <a:gd name="T6" fmla="*/ 1 w 1"/>
                <a:gd name="T7" fmla="*/ 5 h 5"/>
                <a:gd name="T8" fmla="*/ 0 w 1"/>
                <a:gd name="T9" fmla="*/ 5 h 5"/>
                <a:gd name="T10" fmla="*/ 0 w 1"/>
                <a:gd name="T11" fmla="*/ 3 h 5"/>
                <a:gd name="T12" fmla="*/ 0 w 1"/>
                <a:gd name="T13" fmla="*/ 3 h 5"/>
                <a:gd name="T14" fmla="*/ 1 w 1"/>
                <a:gd name="T15" fmla="*/ 2 h 5"/>
                <a:gd name="T16" fmla="*/ 1 w 1"/>
                <a:gd name="T17" fmla="*/ 2 h 5"/>
                <a:gd name="T18" fmla="*/ 1 w 1"/>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1" y="0"/>
                  </a:moveTo>
                  <a:lnTo>
                    <a:pt x="1" y="0"/>
                  </a:lnTo>
                  <a:lnTo>
                    <a:pt x="1" y="5"/>
                  </a:lnTo>
                  <a:lnTo>
                    <a:pt x="1" y="5"/>
                  </a:lnTo>
                  <a:lnTo>
                    <a:pt x="0" y="5"/>
                  </a:lnTo>
                  <a:lnTo>
                    <a:pt x="0" y="3"/>
                  </a:lnTo>
                  <a:lnTo>
                    <a:pt x="0" y="3"/>
                  </a:lnTo>
                  <a:lnTo>
                    <a:pt x="1" y="2"/>
                  </a:lnTo>
                  <a:lnTo>
                    <a:pt x="1" y="2"/>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6" name="Freeform 497"/>
            <p:cNvSpPr/>
            <p:nvPr/>
          </p:nvSpPr>
          <p:spPr bwMode="auto">
            <a:xfrm>
              <a:off x="3528003" y="3536523"/>
              <a:ext cx="6145" cy="12287"/>
            </a:xfrm>
            <a:custGeom>
              <a:avLst/>
              <a:gdLst>
                <a:gd name="T0" fmla="*/ 1 w 1"/>
                <a:gd name="T1" fmla="*/ 0 h 5"/>
                <a:gd name="T2" fmla="*/ 1 w 1"/>
                <a:gd name="T3" fmla="*/ 0 h 5"/>
                <a:gd name="T4" fmla="*/ 1 w 1"/>
                <a:gd name="T5" fmla="*/ 5 h 5"/>
                <a:gd name="T6" fmla="*/ 1 w 1"/>
                <a:gd name="T7" fmla="*/ 5 h 5"/>
                <a:gd name="T8" fmla="*/ 0 w 1"/>
                <a:gd name="T9" fmla="*/ 5 h 5"/>
                <a:gd name="T10" fmla="*/ 0 w 1"/>
                <a:gd name="T11" fmla="*/ 3 h 5"/>
                <a:gd name="T12" fmla="*/ 0 w 1"/>
                <a:gd name="T13" fmla="*/ 3 h 5"/>
                <a:gd name="T14" fmla="*/ 1 w 1"/>
                <a:gd name="T15" fmla="*/ 2 h 5"/>
                <a:gd name="T16" fmla="*/ 1 w 1"/>
                <a:gd name="T17" fmla="*/ 2 h 5"/>
                <a:gd name="T18" fmla="*/ 1 w 1"/>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1" y="0"/>
                  </a:moveTo>
                  <a:lnTo>
                    <a:pt x="1" y="0"/>
                  </a:lnTo>
                  <a:lnTo>
                    <a:pt x="1" y="5"/>
                  </a:lnTo>
                  <a:lnTo>
                    <a:pt x="1" y="5"/>
                  </a:lnTo>
                  <a:lnTo>
                    <a:pt x="0" y="5"/>
                  </a:lnTo>
                  <a:lnTo>
                    <a:pt x="0" y="3"/>
                  </a:lnTo>
                  <a:lnTo>
                    <a:pt x="0" y="3"/>
                  </a:lnTo>
                  <a:lnTo>
                    <a:pt x="1" y="2"/>
                  </a:lnTo>
                  <a:lnTo>
                    <a:pt x="1" y="2"/>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7" name="Freeform 498"/>
            <p:cNvSpPr/>
            <p:nvPr/>
          </p:nvSpPr>
          <p:spPr bwMode="auto">
            <a:xfrm>
              <a:off x="3534149" y="3505802"/>
              <a:ext cx="6145" cy="24574"/>
            </a:xfrm>
            <a:custGeom>
              <a:avLst/>
              <a:gdLst>
                <a:gd name="T0" fmla="*/ 2 w 2"/>
                <a:gd name="T1" fmla="*/ 0 h 9"/>
                <a:gd name="T2" fmla="*/ 2 w 2"/>
                <a:gd name="T3" fmla="*/ 0 h 9"/>
                <a:gd name="T4" fmla="*/ 0 w 2"/>
                <a:gd name="T5" fmla="*/ 7 h 9"/>
                <a:gd name="T6" fmla="*/ 0 w 2"/>
                <a:gd name="T7" fmla="*/ 7 h 9"/>
                <a:gd name="T8" fmla="*/ 0 w 2"/>
                <a:gd name="T9" fmla="*/ 9 h 9"/>
                <a:gd name="T10" fmla="*/ 0 w 2"/>
                <a:gd name="T11" fmla="*/ 5 h 9"/>
                <a:gd name="T12" fmla="*/ 0 w 2"/>
                <a:gd name="T13" fmla="*/ 5 h 9"/>
                <a:gd name="T14" fmla="*/ 0 w 2"/>
                <a:gd name="T15" fmla="*/ 6 h 9"/>
                <a:gd name="T16" fmla="*/ 2 w 2"/>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9">
                  <a:moveTo>
                    <a:pt x="2" y="0"/>
                  </a:moveTo>
                  <a:lnTo>
                    <a:pt x="2" y="0"/>
                  </a:lnTo>
                  <a:lnTo>
                    <a:pt x="0" y="7"/>
                  </a:lnTo>
                  <a:lnTo>
                    <a:pt x="0" y="7"/>
                  </a:lnTo>
                  <a:lnTo>
                    <a:pt x="0" y="9"/>
                  </a:lnTo>
                  <a:lnTo>
                    <a:pt x="0" y="5"/>
                  </a:lnTo>
                  <a:lnTo>
                    <a:pt x="0" y="5"/>
                  </a:lnTo>
                  <a:lnTo>
                    <a:pt x="0" y="6"/>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8" name="Freeform 499"/>
            <p:cNvSpPr/>
            <p:nvPr/>
          </p:nvSpPr>
          <p:spPr bwMode="auto">
            <a:xfrm>
              <a:off x="3534149" y="3505802"/>
              <a:ext cx="6145" cy="24574"/>
            </a:xfrm>
            <a:custGeom>
              <a:avLst/>
              <a:gdLst>
                <a:gd name="T0" fmla="*/ 2 w 2"/>
                <a:gd name="T1" fmla="*/ 0 h 9"/>
                <a:gd name="T2" fmla="*/ 2 w 2"/>
                <a:gd name="T3" fmla="*/ 0 h 9"/>
                <a:gd name="T4" fmla="*/ 0 w 2"/>
                <a:gd name="T5" fmla="*/ 7 h 9"/>
                <a:gd name="T6" fmla="*/ 0 w 2"/>
                <a:gd name="T7" fmla="*/ 7 h 9"/>
                <a:gd name="T8" fmla="*/ 0 w 2"/>
                <a:gd name="T9" fmla="*/ 9 h 9"/>
                <a:gd name="T10" fmla="*/ 0 w 2"/>
                <a:gd name="T11" fmla="*/ 5 h 9"/>
                <a:gd name="T12" fmla="*/ 0 w 2"/>
                <a:gd name="T13" fmla="*/ 5 h 9"/>
                <a:gd name="T14" fmla="*/ 0 w 2"/>
                <a:gd name="T15" fmla="*/ 6 h 9"/>
                <a:gd name="T16" fmla="*/ 2 w 2"/>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9">
                  <a:moveTo>
                    <a:pt x="2" y="0"/>
                  </a:moveTo>
                  <a:lnTo>
                    <a:pt x="2" y="0"/>
                  </a:lnTo>
                  <a:lnTo>
                    <a:pt x="0" y="7"/>
                  </a:lnTo>
                  <a:lnTo>
                    <a:pt x="0" y="7"/>
                  </a:lnTo>
                  <a:lnTo>
                    <a:pt x="0" y="9"/>
                  </a:lnTo>
                  <a:lnTo>
                    <a:pt x="0" y="5"/>
                  </a:lnTo>
                  <a:lnTo>
                    <a:pt x="0" y="5"/>
                  </a:lnTo>
                  <a:lnTo>
                    <a:pt x="0" y="6"/>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9" name="Freeform 500"/>
            <p:cNvSpPr/>
            <p:nvPr/>
          </p:nvSpPr>
          <p:spPr bwMode="auto">
            <a:xfrm>
              <a:off x="3546435" y="3450512"/>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0" name="Freeform 501"/>
            <p:cNvSpPr/>
            <p:nvPr/>
          </p:nvSpPr>
          <p:spPr bwMode="auto">
            <a:xfrm>
              <a:off x="3546435" y="3450512"/>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3" name="Freeform 504"/>
            <p:cNvSpPr/>
            <p:nvPr/>
          </p:nvSpPr>
          <p:spPr bwMode="auto">
            <a:xfrm>
              <a:off x="3521861" y="3524235"/>
              <a:ext cx="6145" cy="24574"/>
            </a:xfrm>
            <a:custGeom>
              <a:avLst/>
              <a:gdLst>
                <a:gd name="T0" fmla="*/ 2 w 2"/>
                <a:gd name="T1" fmla="*/ 0 h 8"/>
                <a:gd name="T2" fmla="*/ 2 w 2"/>
                <a:gd name="T3" fmla="*/ 0 h 8"/>
                <a:gd name="T4" fmla="*/ 2 w 2"/>
                <a:gd name="T5" fmla="*/ 2 h 8"/>
                <a:gd name="T6" fmla="*/ 2 w 2"/>
                <a:gd name="T7" fmla="*/ 2 h 8"/>
                <a:gd name="T8" fmla="*/ 0 w 2"/>
                <a:gd name="T9" fmla="*/ 8 h 8"/>
                <a:gd name="T10" fmla="*/ 0 w 2"/>
                <a:gd name="T11" fmla="*/ 8 h 8"/>
                <a:gd name="T12" fmla="*/ 2 w 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2" h="8">
                  <a:moveTo>
                    <a:pt x="2" y="0"/>
                  </a:moveTo>
                  <a:lnTo>
                    <a:pt x="2" y="0"/>
                  </a:lnTo>
                  <a:lnTo>
                    <a:pt x="2" y="2"/>
                  </a:lnTo>
                  <a:lnTo>
                    <a:pt x="2" y="2"/>
                  </a:lnTo>
                  <a:lnTo>
                    <a:pt x="0" y="8"/>
                  </a:lnTo>
                  <a:lnTo>
                    <a:pt x="0" y="8"/>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4" name="Freeform 505"/>
            <p:cNvSpPr/>
            <p:nvPr/>
          </p:nvSpPr>
          <p:spPr bwMode="auto">
            <a:xfrm>
              <a:off x="3521861" y="3524235"/>
              <a:ext cx="6145" cy="24574"/>
            </a:xfrm>
            <a:custGeom>
              <a:avLst/>
              <a:gdLst>
                <a:gd name="T0" fmla="*/ 2 w 2"/>
                <a:gd name="T1" fmla="*/ 0 h 8"/>
                <a:gd name="T2" fmla="*/ 2 w 2"/>
                <a:gd name="T3" fmla="*/ 0 h 8"/>
                <a:gd name="T4" fmla="*/ 2 w 2"/>
                <a:gd name="T5" fmla="*/ 2 h 8"/>
                <a:gd name="T6" fmla="*/ 2 w 2"/>
                <a:gd name="T7" fmla="*/ 2 h 8"/>
                <a:gd name="T8" fmla="*/ 0 w 2"/>
                <a:gd name="T9" fmla="*/ 8 h 8"/>
                <a:gd name="T10" fmla="*/ 0 w 2"/>
                <a:gd name="T11" fmla="*/ 8 h 8"/>
                <a:gd name="T12" fmla="*/ 2 w 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2" h="8">
                  <a:moveTo>
                    <a:pt x="2" y="0"/>
                  </a:moveTo>
                  <a:lnTo>
                    <a:pt x="2" y="0"/>
                  </a:lnTo>
                  <a:lnTo>
                    <a:pt x="2" y="2"/>
                  </a:lnTo>
                  <a:lnTo>
                    <a:pt x="2" y="2"/>
                  </a:lnTo>
                  <a:lnTo>
                    <a:pt x="0" y="8"/>
                  </a:lnTo>
                  <a:lnTo>
                    <a:pt x="0" y="8"/>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5" name="Freeform 506"/>
            <p:cNvSpPr/>
            <p:nvPr/>
          </p:nvSpPr>
          <p:spPr bwMode="auto">
            <a:xfrm>
              <a:off x="3515716" y="3505802"/>
              <a:ext cx="12287" cy="18429"/>
            </a:xfrm>
            <a:custGeom>
              <a:avLst/>
              <a:gdLst>
                <a:gd name="T0" fmla="*/ 3 w 3"/>
                <a:gd name="T1" fmla="*/ 0 h 6"/>
                <a:gd name="T2" fmla="*/ 3 w 3"/>
                <a:gd name="T3" fmla="*/ 0 h 6"/>
                <a:gd name="T4" fmla="*/ 0 w 3"/>
                <a:gd name="T5" fmla="*/ 6 h 6"/>
                <a:gd name="T6" fmla="*/ 0 w 3"/>
                <a:gd name="T7" fmla="*/ 6 h 6"/>
                <a:gd name="T8" fmla="*/ 3 w 3"/>
                <a:gd name="T9" fmla="*/ 0 h 6"/>
                <a:gd name="T10" fmla="*/ 3 w 3"/>
                <a:gd name="T11" fmla="*/ 0 h 6"/>
              </a:gdLst>
              <a:ahLst/>
              <a:cxnLst>
                <a:cxn ang="0">
                  <a:pos x="T0" y="T1"/>
                </a:cxn>
                <a:cxn ang="0">
                  <a:pos x="T2" y="T3"/>
                </a:cxn>
                <a:cxn ang="0">
                  <a:pos x="T4" y="T5"/>
                </a:cxn>
                <a:cxn ang="0">
                  <a:pos x="T6" y="T7"/>
                </a:cxn>
                <a:cxn ang="0">
                  <a:pos x="T8" y="T9"/>
                </a:cxn>
                <a:cxn ang="0">
                  <a:pos x="T10" y="T11"/>
                </a:cxn>
              </a:cxnLst>
              <a:rect l="0" t="0" r="r" b="b"/>
              <a:pathLst>
                <a:path w="3" h="6">
                  <a:moveTo>
                    <a:pt x="3" y="0"/>
                  </a:moveTo>
                  <a:lnTo>
                    <a:pt x="3" y="0"/>
                  </a:lnTo>
                  <a:lnTo>
                    <a:pt x="0" y="6"/>
                  </a:lnTo>
                  <a:lnTo>
                    <a:pt x="0" y="6"/>
                  </a:lnTo>
                  <a:lnTo>
                    <a:pt x="3" y="0"/>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6" name="Freeform 507"/>
            <p:cNvSpPr/>
            <p:nvPr/>
          </p:nvSpPr>
          <p:spPr bwMode="auto">
            <a:xfrm>
              <a:off x="3515716" y="3505802"/>
              <a:ext cx="12287" cy="18429"/>
            </a:xfrm>
            <a:custGeom>
              <a:avLst/>
              <a:gdLst>
                <a:gd name="T0" fmla="*/ 3 w 3"/>
                <a:gd name="T1" fmla="*/ 0 h 6"/>
                <a:gd name="T2" fmla="*/ 3 w 3"/>
                <a:gd name="T3" fmla="*/ 0 h 6"/>
                <a:gd name="T4" fmla="*/ 0 w 3"/>
                <a:gd name="T5" fmla="*/ 6 h 6"/>
                <a:gd name="T6" fmla="*/ 0 w 3"/>
                <a:gd name="T7" fmla="*/ 6 h 6"/>
                <a:gd name="T8" fmla="*/ 3 w 3"/>
                <a:gd name="T9" fmla="*/ 0 h 6"/>
                <a:gd name="T10" fmla="*/ 3 w 3"/>
                <a:gd name="T11" fmla="*/ 0 h 6"/>
              </a:gdLst>
              <a:ahLst/>
              <a:cxnLst>
                <a:cxn ang="0">
                  <a:pos x="T0" y="T1"/>
                </a:cxn>
                <a:cxn ang="0">
                  <a:pos x="T2" y="T3"/>
                </a:cxn>
                <a:cxn ang="0">
                  <a:pos x="T4" y="T5"/>
                </a:cxn>
                <a:cxn ang="0">
                  <a:pos x="T6" y="T7"/>
                </a:cxn>
                <a:cxn ang="0">
                  <a:pos x="T8" y="T9"/>
                </a:cxn>
                <a:cxn ang="0">
                  <a:pos x="T10" y="T11"/>
                </a:cxn>
              </a:cxnLst>
              <a:rect l="0" t="0" r="r" b="b"/>
              <a:pathLst>
                <a:path w="3" h="6">
                  <a:moveTo>
                    <a:pt x="3" y="0"/>
                  </a:moveTo>
                  <a:lnTo>
                    <a:pt x="3" y="0"/>
                  </a:lnTo>
                  <a:lnTo>
                    <a:pt x="0" y="6"/>
                  </a:lnTo>
                  <a:lnTo>
                    <a:pt x="0" y="6"/>
                  </a:lnTo>
                  <a:lnTo>
                    <a:pt x="3" y="0"/>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7" name="Freeform 508"/>
            <p:cNvSpPr/>
            <p:nvPr/>
          </p:nvSpPr>
          <p:spPr bwMode="auto">
            <a:xfrm>
              <a:off x="3534149" y="3462800"/>
              <a:ext cx="6145" cy="12287"/>
            </a:xfrm>
            <a:custGeom>
              <a:avLst/>
              <a:gdLst>
                <a:gd name="T0" fmla="*/ 0 w 2"/>
                <a:gd name="T1" fmla="*/ 5 h 5"/>
                <a:gd name="T2" fmla="*/ 0 w 2"/>
                <a:gd name="T3" fmla="*/ 5 h 5"/>
                <a:gd name="T4" fmla="*/ 2 w 2"/>
                <a:gd name="T5" fmla="*/ 2 h 5"/>
                <a:gd name="T6" fmla="*/ 2 w 2"/>
                <a:gd name="T7" fmla="*/ 2 h 5"/>
                <a:gd name="T8" fmla="*/ 2 w 2"/>
                <a:gd name="T9" fmla="*/ 0 h 5"/>
                <a:gd name="T10" fmla="*/ 2 w 2"/>
                <a:gd name="T11" fmla="*/ 0 h 5"/>
                <a:gd name="T12" fmla="*/ 0 w 2"/>
                <a:gd name="T13" fmla="*/ 5 h 5"/>
                <a:gd name="T14" fmla="*/ 0 w 2"/>
                <a:gd name="T15" fmla="*/ 5 h 5"/>
                <a:gd name="T16" fmla="*/ 0 w 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0" y="5"/>
                  </a:moveTo>
                  <a:lnTo>
                    <a:pt x="0" y="5"/>
                  </a:lnTo>
                  <a:lnTo>
                    <a:pt x="2" y="2"/>
                  </a:lnTo>
                  <a:lnTo>
                    <a:pt x="2" y="2"/>
                  </a:lnTo>
                  <a:lnTo>
                    <a:pt x="2" y="0"/>
                  </a:lnTo>
                  <a:lnTo>
                    <a:pt x="2" y="0"/>
                  </a:lnTo>
                  <a:lnTo>
                    <a:pt x="0" y="5"/>
                  </a:lnTo>
                  <a:lnTo>
                    <a:pt x="0" y="5"/>
                  </a:lnTo>
                  <a:lnTo>
                    <a:pt x="0"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8" name="Freeform 509"/>
            <p:cNvSpPr/>
            <p:nvPr/>
          </p:nvSpPr>
          <p:spPr bwMode="auto">
            <a:xfrm>
              <a:off x="3534149" y="3462800"/>
              <a:ext cx="6145" cy="12287"/>
            </a:xfrm>
            <a:custGeom>
              <a:avLst/>
              <a:gdLst>
                <a:gd name="T0" fmla="*/ 0 w 2"/>
                <a:gd name="T1" fmla="*/ 5 h 5"/>
                <a:gd name="T2" fmla="*/ 0 w 2"/>
                <a:gd name="T3" fmla="*/ 5 h 5"/>
                <a:gd name="T4" fmla="*/ 2 w 2"/>
                <a:gd name="T5" fmla="*/ 2 h 5"/>
                <a:gd name="T6" fmla="*/ 2 w 2"/>
                <a:gd name="T7" fmla="*/ 2 h 5"/>
                <a:gd name="T8" fmla="*/ 2 w 2"/>
                <a:gd name="T9" fmla="*/ 0 h 5"/>
                <a:gd name="T10" fmla="*/ 2 w 2"/>
                <a:gd name="T11" fmla="*/ 0 h 5"/>
                <a:gd name="T12" fmla="*/ 0 w 2"/>
                <a:gd name="T13" fmla="*/ 5 h 5"/>
                <a:gd name="T14" fmla="*/ 0 w 2"/>
                <a:gd name="T15" fmla="*/ 5 h 5"/>
                <a:gd name="T16" fmla="*/ 0 w 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0" y="5"/>
                  </a:moveTo>
                  <a:lnTo>
                    <a:pt x="0" y="5"/>
                  </a:lnTo>
                  <a:lnTo>
                    <a:pt x="2" y="2"/>
                  </a:lnTo>
                  <a:lnTo>
                    <a:pt x="2" y="2"/>
                  </a:lnTo>
                  <a:lnTo>
                    <a:pt x="2" y="0"/>
                  </a:lnTo>
                  <a:lnTo>
                    <a:pt x="2" y="0"/>
                  </a:lnTo>
                  <a:lnTo>
                    <a:pt x="0" y="5"/>
                  </a:lnTo>
                  <a:lnTo>
                    <a:pt x="0" y="5"/>
                  </a:lnTo>
                  <a:lnTo>
                    <a:pt x="0"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13" name="Rectangle 514"/>
            <p:cNvSpPr>
              <a:spLocks noChangeArrowheads="1"/>
            </p:cNvSpPr>
            <p:nvPr/>
          </p:nvSpPr>
          <p:spPr bwMode="auto">
            <a:xfrm>
              <a:off x="3546435" y="3444368"/>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14" name="Rectangle 515"/>
            <p:cNvSpPr>
              <a:spLocks noChangeArrowheads="1"/>
            </p:cNvSpPr>
            <p:nvPr/>
          </p:nvSpPr>
          <p:spPr bwMode="auto">
            <a:xfrm>
              <a:off x="3546435" y="3444368"/>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30" name="Freeform 531"/>
            <p:cNvSpPr/>
            <p:nvPr/>
          </p:nvSpPr>
          <p:spPr bwMode="auto">
            <a:xfrm>
              <a:off x="1451491" y="3155624"/>
              <a:ext cx="104442" cy="411614"/>
            </a:xfrm>
            <a:custGeom>
              <a:avLst/>
              <a:gdLst>
                <a:gd name="T0" fmla="*/ 14 w 33"/>
                <a:gd name="T1" fmla="*/ 134 h 134"/>
                <a:gd name="T2" fmla="*/ 11 w 33"/>
                <a:gd name="T3" fmla="*/ 131 h 134"/>
                <a:gd name="T4" fmla="*/ 8 w 33"/>
                <a:gd name="T5" fmla="*/ 125 h 134"/>
                <a:gd name="T6" fmla="*/ 7 w 33"/>
                <a:gd name="T7" fmla="*/ 127 h 134"/>
                <a:gd name="T8" fmla="*/ 6 w 33"/>
                <a:gd name="T9" fmla="*/ 129 h 134"/>
                <a:gd name="T10" fmla="*/ 0 w 33"/>
                <a:gd name="T11" fmla="*/ 121 h 134"/>
                <a:gd name="T12" fmla="*/ 0 w 33"/>
                <a:gd name="T13" fmla="*/ 111 h 134"/>
                <a:gd name="T14" fmla="*/ 0 w 33"/>
                <a:gd name="T15" fmla="*/ 98 h 134"/>
                <a:gd name="T16" fmla="*/ 0 w 33"/>
                <a:gd name="T17" fmla="*/ 87 h 134"/>
                <a:gd name="T18" fmla="*/ 3 w 33"/>
                <a:gd name="T19" fmla="*/ 87 h 134"/>
                <a:gd name="T20" fmla="*/ 6 w 33"/>
                <a:gd name="T21" fmla="*/ 84 h 134"/>
                <a:gd name="T22" fmla="*/ 8 w 33"/>
                <a:gd name="T23" fmla="*/ 71 h 134"/>
                <a:gd name="T24" fmla="*/ 8 w 33"/>
                <a:gd name="T25" fmla="*/ 64 h 134"/>
                <a:gd name="T26" fmla="*/ 7 w 33"/>
                <a:gd name="T27" fmla="*/ 52 h 134"/>
                <a:gd name="T28" fmla="*/ 4 w 33"/>
                <a:gd name="T29" fmla="*/ 50 h 134"/>
                <a:gd name="T30" fmla="*/ 6 w 33"/>
                <a:gd name="T31" fmla="*/ 45 h 134"/>
                <a:gd name="T32" fmla="*/ 8 w 33"/>
                <a:gd name="T33" fmla="*/ 44 h 134"/>
                <a:gd name="T34" fmla="*/ 6 w 33"/>
                <a:gd name="T35" fmla="*/ 38 h 134"/>
                <a:gd name="T36" fmla="*/ 1 w 33"/>
                <a:gd name="T37" fmla="*/ 31 h 134"/>
                <a:gd name="T38" fmla="*/ 4 w 33"/>
                <a:gd name="T39" fmla="*/ 32 h 134"/>
                <a:gd name="T40" fmla="*/ 8 w 33"/>
                <a:gd name="T41" fmla="*/ 34 h 134"/>
                <a:gd name="T42" fmla="*/ 8 w 33"/>
                <a:gd name="T43" fmla="*/ 28 h 134"/>
                <a:gd name="T44" fmla="*/ 17 w 33"/>
                <a:gd name="T45" fmla="*/ 22 h 134"/>
                <a:gd name="T46" fmla="*/ 21 w 33"/>
                <a:gd name="T47" fmla="*/ 18 h 134"/>
                <a:gd name="T48" fmla="*/ 18 w 33"/>
                <a:gd name="T49" fmla="*/ 12 h 134"/>
                <a:gd name="T50" fmla="*/ 20 w 33"/>
                <a:gd name="T51" fmla="*/ 7 h 134"/>
                <a:gd name="T52" fmla="*/ 24 w 33"/>
                <a:gd name="T53" fmla="*/ 8 h 134"/>
                <a:gd name="T54" fmla="*/ 26 w 33"/>
                <a:gd name="T55" fmla="*/ 0 h 134"/>
                <a:gd name="T56" fmla="*/ 28 w 33"/>
                <a:gd name="T57" fmla="*/ 5 h 134"/>
                <a:gd name="T58" fmla="*/ 33 w 33"/>
                <a:gd name="T59" fmla="*/ 15 h 134"/>
                <a:gd name="T60" fmla="*/ 33 w 33"/>
                <a:gd name="T61" fmla="*/ 22 h 134"/>
                <a:gd name="T62" fmla="*/ 28 w 33"/>
                <a:gd name="T63" fmla="*/ 18 h 134"/>
                <a:gd name="T64" fmla="*/ 26 w 33"/>
                <a:gd name="T65" fmla="*/ 22 h 134"/>
                <a:gd name="T66" fmla="*/ 23 w 33"/>
                <a:gd name="T67" fmla="*/ 34 h 134"/>
                <a:gd name="T68" fmla="*/ 23 w 33"/>
                <a:gd name="T69" fmla="*/ 40 h 134"/>
                <a:gd name="T70" fmla="*/ 18 w 33"/>
                <a:gd name="T71" fmla="*/ 41 h 134"/>
                <a:gd name="T72" fmla="*/ 14 w 33"/>
                <a:gd name="T73" fmla="*/ 40 h 134"/>
                <a:gd name="T74" fmla="*/ 16 w 33"/>
                <a:gd name="T75" fmla="*/ 41 h 134"/>
                <a:gd name="T76" fmla="*/ 16 w 33"/>
                <a:gd name="T77" fmla="*/ 51 h 134"/>
                <a:gd name="T78" fmla="*/ 17 w 33"/>
                <a:gd name="T79" fmla="*/ 58 h 134"/>
                <a:gd name="T80" fmla="*/ 21 w 33"/>
                <a:gd name="T81" fmla="*/ 62 h 134"/>
                <a:gd name="T82" fmla="*/ 18 w 33"/>
                <a:gd name="T83" fmla="*/ 67 h 134"/>
                <a:gd name="T84" fmla="*/ 17 w 33"/>
                <a:gd name="T85" fmla="*/ 74 h 134"/>
                <a:gd name="T86" fmla="*/ 16 w 33"/>
                <a:gd name="T87" fmla="*/ 70 h 134"/>
                <a:gd name="T88" fmla="*/ 17 w 33"/>
                <a:gd name="T89" fmla="*/ 64 h 134"/>
                <a:gd name="T90" fmla="*/ 16 w 33"/>
                <a:gd name="T91" fmla="*/ 62 h 134"/>
                <a:gd name="T92" fmla="*/ 13 w 33"/>
                <a:gd name="T93" fmla="*/ 61 h 134"/>
                <a:gd name="T94" fmla="*/ 13 w 33"/>
                <a:gd name="T95" fmla="*/ 77 h 134"/>
                <a:gd name="T96" fmla="*/ 11 w 33"/>
                <a:gd name="T97" fmla="*/ 87 h 134"/>
                <a:gd name="T98" fmla="*/ 11 w 33"/>
                <a:gd name="T99" fmla="*/ 95 h 134"/>
                <a:gd name="T100" fmla="*/ 13 w 33"/>
                <a:gd name="T101" fmla="*/ 11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 h="134">
                  <a:moveTo>
                    <a:pt x="14" y="134"/>
                  </a:moveTo>
                  <a:lnTo>
                    <a:pt x="14" y="134"/>
                  </a:lnTo>
                  <a:lnTo>
                    <a:pt x="11" y="134"/>
                  </a:lnTo>
                  <a:lnTo>
                    <a:pt x="11" y="131"/>
                  </a:lnTo>
                  <a:lnTo>
                    <a:pt x="10" y="127"/>
                  </a:lnTo>
                  <a:lnTo>
                    <a:pt x="8" y="125"/>
                  </a:lnTo>
                  <a:lnTo>
                    <a:pt x="8" y="125"/>
                  </a:lnTo>
                  <a:lnTo>
                    <a:pt x="7" y="127"/>
                  </a:lnTo>
                  <a:lnTo>
                    <a:pt x="6" y="129"/>
                  </a:lnTo>
                  <a:lnTo>
                    <a:pt x="6" y="129"/>
                  </a:lnTo>
                  <a:lnTo>
                    <a:pt x="3" y="127"/>
                  </a:lnTo>
                  <a:lnTo>
                    <a:pt x="0" y="121"/>
                  </a:lnTo>
                  <a:lnTo>
                    <a:pt x="0" y="117"/>
                  </a:lnTo>
                  <a:lnTo>
                    <a:pt x="0" y="111"/>
                  </a:lnTo>
                  <a:lnTo>
                    <a:pt x="0" y="111"/>
                  </a:lnTo>
                  <a:lnTo>
                    <a:pt x="0" y="98"/>
                  </a:lnTo>
                  <a:lnTo>
                    <a:pt x="0" y="87"/>
                  </a:lnTo>
                  <a:lnTo>
                    <a:pt x="0" y="87"/>
                  </a:lnTo>
                  <a:lnTo>
                    <a:pt x="1" y="87"/>
                  </a:lnTo>
                  <a:lnTo>
                    <a:pt x="3" y="87"/>
                  </a:lnTo>
                  <a:lnTo>
                    <a:pt x="6" y="84"/>
                  </a:lnTo>
                  <a:lnTo>
                    <a:pt x="6" y="84"/>
                  </a:lnTo>
                  <a:lnTo>
                    <a:pt x="7" y="78"/>
                  </a:lnTo>
                  <a:lnTo>
                    <a:pt x="8" y="71"/>
                  </a:lnTo>
                  <a:lnTo>
                    <a:pt x="8" y="71"/>
                  </a:lnTo>
                  <a:lnTo>
                    <a:pt x="8" y="64"/>
                  </a:lnTo>
                  <a:lnTo>
                    <a:pt x="8" y="58"/>
                  </a:lnTo>
                  <a:lnTo>
                    <a:pt x="7" y="52"/>
                  </a:lnTo>
                  <a:lnTo>
                    <a:pt x="4" y="50"/>
                  </a:lnTo>
                  <a:lnTo>
                    <a:pt x="4" y="50"/>
                  </a:lnTo>
                  <a:lnTo>
                    <a:pt x="4" y="47"/>
                  </a:lnTo>
                  <a:lnTo>
                    <a:pt x="6" y="45"/>
                  </a:lnTo>
                  <a:lnTo>
                    <a:pt x="7" y="45"/>
                  </a:lnTo>
                  <a:lnTo>
                    <a:pt x="8" y="44"/>
                  </a:lnTo>
                  <a:lnTo>
                    <a:pt x="8" y="44"/>
                  </a:lnTo>
                  <a:lnTo>
                    <a:pt x="6" y="38"/>
                  </a:lnTo>
                  <a:lnTo>
                    <a:pt x="3" y="35"/>
                  </a:lnTo>
                  <a:lnTo>
                    <a:pt x="1" y="31"/>
                  </a:lnTo>
                  <a:lnTo>
                    <a:pt x="1" y="31"/>
                  </a:lnTo>
                  <a:lnTo>
                    <a:pt x="4" y="32"/>
                  </a:lnTo>
                  <a:lnTo>
                    <a:pt x="8" y="34"/>
                  </a:lnTo>
                  <a:lnTo>
                    <a:pt x="8" y="34"/>
                  </a:lnTo>
                  <a:lnTo>
                    <a:pt x="8" y="31"/>
                  </a:lnTo>
                  <a:lnTo>
                    <a:pt x="8" y="28"/>
                  </a:lnTo>
                  <a:lnTo>
                    <a:pt x="13" y="25"/>
                  </a:lnTo>
                  <a:lnTo>
                    <a:pt x="17" y="22"/>
                  </a:lnTo>
                  <a:lnTo>
                    <a:pt x="21" y="18"/>
                  </a:lnTo>
                  <a:lnTo>
                    <a:pt x="21" y="18"/>
                  </a:lnTo>
                  <a:lnTo>
                    <a:pt x="18" y="15"/>
                  </a:lnTo>
                  <a:lnTo>
                    <a:pt x="18" y="12"/>
                  </a:lnTo>
                  <a:lnTo>
                    <a:pt x="20" y="7"/>
                  </a:lnTo>
                  <a:lnTo>
                    <a:pt x="20" y="7"/>
                  </a:lnTo>
                  <a:lnTo>
                    <a:pt x="23" y="10"/>
                  </a:lnTo>
                  <a:lnTo>
                    <a:pt x="24" y="8"/>
                  </a:lnTo>
                  <a:lnTo>
                    <a:pt x="26" y="4"/>
                  </a:lnTo>
                  <a:lnTo>
                    <a:pt x="26" y="0"/>
                  </a:lnTo>
                  <a:lnTo>
                    <a:pt x="26" y="0"/>
                  </a:lnTo>
                  <a:lnTo>
                    <a:pt x="28" y="5"/>
                  </a:lnTo>
                  <a:lnTo>
                    <a:pt x="31" y="11"/>
                  </a:lnTo>
                  <a:lnTo>
                    <a:pt x="33" y="15"/>
                  </a:lnTo>
                  <a:lnTo>
                    <a:pt x="33" y="22"/>
                  </a:lnTo>
                  <a:lnTo>
                    <a:pt x="33" y="22"/>
                  </a:lnTo>
                  <a:lnTo>
                    <a:pt x="31" y="21"/>
                  </a:lnTo>
                  <a:lnTo>
                    <a:pt x="28" y="18"/>
                  </a:lnTo>
                  <a:lnTo>
                    <a:pt x="28" y="18"/>
                  </a:lnTo>
                  <a:lnTo>
                    <a:pt x="26" y="22"/>
                  </a:lnTo>
                  <a:lnTo>
                    <a:pt x="23" y="28"/>
                  </a:lnTo>
                  <a:lnTo>
                    <a:pt x="23" y="34"/>
                  </a:lnTo>
                  <a:lnTo>
                    <a:pt x="23" y="40"/>
                  </a:lnTo>
                  <a:lnTo>
                    <a:pt x="23" y="40"/>
                  </a:lnTo>
                  <a:lnTo>
                    <a:pt x="20" y="41"/>
                  </a:lnTo>
                  <a:lnTo>
                    <a:pt x="18" y="41"/>
                  </a:lnTo>
                  <a:lnTo>
                    <a:pt x="16" y="40"/>
                  </a:lnTo>
                  <a:lnTo>
                    <a:pt x="14" y="40"/>
                  </a:lnTo>
                  <a:lnTo>
                    <a:pt x="14" y="40"/>
                  </a:lnTo>
                  <a:lnTo>
                    <a:pt x="16" y="41"/>
                  </a:lnTo>
                  <a:lnTo>
                    <a:pt x="16" y="44"/>
                  </a:lnTo>
                  <a:lnTo>
                    <a:pt x="16" y="51"/>
                  </a:lnTo>
                  <a:lnTo>
                    <a:pt x="16" y="51"/>
                  </a:lnTo>
                  <a:lnTo>
                    <a:pt x="17" y="58"/>
                  </a:lnTo>
                  <a:lnTo>
                    <a:pt x="18" y="61"/>
                  </a:lnTo>
                  <a:lnTo>
                    <a:pt x="21" y="62"/>
                  </a:lnTo>
                  <a:lnTo>
                    <a:pt x="21" y="62"/>
                  </a:lnTo>
                  <a:lnTo>
                    <a:pt x="18" y="67"/>
                  </a:lnTo>
                  <a:lnTo>
                    <a:pt x="17" y="74"/>
                  </a:lnTo>
                  <a:lnTo>
                    <a:pt x="17" y="74"/>
                  </a:lnTo>
                  <a:lnTo>
                    <a:pt x="14" y="72"/>
                  </a:lnTo>
                  <a:lnTo>
                    <a:pt x="16" y="70"/>
                  </a:lnTo>
                  <a:lnTo>
                    <a:pt x="17" y="67"/>
                  </a:lnTo>
                  <a:lnTo>
                    <a:pt x="17" y="64"/>
                  </a:lnTo>
                  <a:lnTo>
                    <a:pt x="17" y="64"/>
                  </a:lnTo>
                  <a:lnTo>
                    <a:pt x="16" y="62"/>
                  </a:lnTo>
                  <a:lnTo>
                    <a:pt x="13" y="61"/>
                  </a:lnTo>
                  <a:lnTo>
                    <a:pt x="13" y="61"/>
                  </a:lnTo>
                  <a:lnTo>
                    <a:pt x="13" y="77"/>
                  </a:lnTo>
                  <a:lnTo>
                    <a:pt x="13" y="77"/>
                  </a:lnTo>
                  <a:lnTo>
                    <a:pt x="11" y="87"/>
                  </a:lnTo>
                  <a:lnTo>
                    <a:pt x="11" y="87"/>
                  </a:lnTo>
                  <a:lnTo>
                    <a:pt x="11" y="95"/>
                  </a:lnTo>
                  <a:lnTo>
                    <a:pt x="11" y="95"/>
                  </a:lnTo>
                  <a:lnTo>
                    <a:pt x="13" y="115"/>
                  </a:lnTo>
                  <a:lnTo>
                    <a:pt x="13" y="115"/>
                  </a:lnTo>
                  <a:lnTo>
                    <a:pt x="14" y="13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31" name="Freeform 532"/>
            <p:cNvSpPr/>
            <p:nvPr/>
          </p:nvSpPr>
          <p:spPr bwMode="auto">
            <a:xfrm>
              <a:off x="1451491" y="3155624"/>
              <a:ext cx="104442" cy="411614"/>
            </a:xfrm>
            <a:custGeom>
              <a:avLst/>
              <a:gdLst>
                <a:gd name="T0" fmla="*/ 14 w 33"/>
                <a:gd name="T1" fmla="*/ 134 h 134"/>
                <a:gd name="T2" fmla="*/ 11 w 33"/>
                <a:gd name="T3" fmla="*/ 131 h 134"/>
                <a:gd name="T4" fmla="*/ 8 w 33"/>
                <a:gd name="T5" fmla="*/ 125 h 134"/>
                <a:gd name="T6" fmla="*/ 7 w 33"/>
                <a:gd name="T7" fmla="*/ 127 h 134"/>
                <a:gd name="T8" fmla="*/ 6 w 33"/>
                <a:gd name="T9" fmla="*/ 129 h 134"/>
                <a:gd name="T10" fmla="*/ 0 w 33"/>
                <a:gd name="T11" fmla="*/ 121 h 134"/>
                <a:gd name="T12" fmla="*/ 0 w 33"/>
                <a:gd name="T13" fmla="*/ 111 h 134"/>
                <a:gd name="T14" fmla="*/ 0 w 33"/>
                <a:gd name="T15" fmla="*/ 98 h 134"/>
                <a:gd name="T16" fmla="*/ 0 w 33"/>
                <a:gd name="T17" fmla="*/ 87 h 134"/>
                <a:gd name="T18" fmla="*/ 3 w 33"/>
                <a:gd name="T19" fmla="*/ 87 h 134"/>
                <a:gd name="T20" fmla="*/ 6 w 33"/>
                <a:gd name="T21" fmla="*/ 84 h 134"/>
                <a:gd name="T22" fmla="*/ 8 w 33"/>
                <a:gd name="T23" fmla="*/ 71 h 134"/>
                <a:gd name="T24" fmla="*/ 8 w 33"/>
                <a:gd name="T25" fmla="*/ 64 h 134"/>
                <a:gd name="T26" fmla="*/ 7 w 33"/>
                <a:gd name="T27" fmla="*/ 52 h 134"/>
                <a:gd name="T28" fmla="*/ 4 w 33"/>
                <a:gd name="T29" fmla="*/ 50 h 134"/>
                <a:gd name="T30" fmla="*/ 6 w 33"/>
                <a:gd name="T31" fmla="*/ 45 h 134"/>
                <a:gd name="T32" fmla="*/ 8 w 33"/>
                <a:gd name="T33" fmla="*/ 44 h 134"/>
                <a:gd name="T34" fmla="*/ 6 w 33"/>
                <a:gd name="T35" fmla="*/ 38 h 134"/>
                <a:gd name="T36" fmla="*/ 1 w 33"/>
                <a:gd name="T37" fmla="*/ 31 h 134"/>
                <a:gd name="T38" fmla="*/ 4 w 33"/>
                <a:gd name="T39" fmla="*/ 32 h 134"/>
                <a:gd name="T40" fmla="*/ 8 w 33"/>
                <a:gd name="T41" fmla="*/ 34 h 134"/>
                <a:gd name="T42" fmla="*/ 8 w 33"/>
                <a:gd name="T43" fmla="*/ 28 h 134"/>
                <a:gd name="T44" fmla="*/ 17 w 33"/>
                <a:gd name="T45" fmla="*/ 22 h 134"/>
                <a:gd name="T46" fmla="*/ 21 w 33"/>
                <a:gd name="T47" fmla="*/ 18 h 134"/>
                <a:gd name="T48" fmla="*/ 18 w 33"/>
                <a:gd name="T49" fmla="*/ 12 h 134"/>
                <a:gd name="T50" fmla="*/ 20 w 33"/>
                <a:gd name="T51" fmla="*/ 7 h 134"/>
                <a:gd name="T52" fmla="*/ 24 w 33"/>
                <a:gd name="T53" fmla="*/ 8 h 134"/>
                <a:gd name="T54" fmla="*/ 26 w 33"/>
                <a:gd name="T55" fmla="*/ 0 h 134"/>
                <a:gd name="T56" fmla="*/ 28 w 33"/>
                <a:gd name="T57" fmla="*/ 5 h 134"/>
                <a:gd name="T58" fmla="*/ 33 w 33"/>
                <a:gd name="T59" fmla="*/ 15 h 134"/>
                <a:gd name="T60" fmla="*/ 33 w 33"/>
                <a:gd name="T61" fmla="*/ 22 h 134"/>
                <a:gd name="T62" fmla="*/ 28 w 33"/>
                <a:gd name="T63" fmla="*/ 18 h 134"/>
                <a:gd name="T64" fmla="*/ 26 w 33"/>
                <a:gd name="T65" fmla="*/ 22 h 134"/>
                <a:gd name="T66" fmla="*/ 23 w 33"/>
                <a:gd name="T67" fmla="*/ 34 h 134"/>
                <a:gd name="T68" fmla="*/ 23 w 33"/>
                <a:gd name="T69" fmla="*/ 40 h 134"/>
                <a:gd name="T70" fmla="*/ 18 w 33"/>
                <a:gd name="T71" fmla="*/ 41 h 134"/>
                <a:gd name="T72" fmla="*/ 14 w 33"/>
                <a:gd name="T73" fmla="*/ 40 h 134"/>
                <a:gd name="T74" fmla="*/ 16 w 33"/>
                <a:gd name="T75" fmla="*/ 41 h 134"/>
                <a:gd name="T76" fmla="*/ 16 w 33"/>
                <a:gd name="T77" fmla="*/ 51 h 134"/>
                <a:gd name="T78" fmla="*/ 17 w 33"/>
                <a:gd name="T79" fmla="*/ 58 h 134"/>
                <a:gd name="T80" fmla="*/ 21 w 33"/>
                <a:gd name="T81" fmla="*/ 62 h 134"/>
                <a:gd name="T82" fmla="*/ 18 w 33"/>
                <a:gd name="T83" fmla="*/ 67 h 134"/>
                <a:gd name="T84" fmla="*/ 17 w 33"/>
                <a:gd name="T85" fmla="*/ 74 h 134"/>
                <a:gd name="T86" fmla="*/ 16 w 33"/>
                <a:gd name="T87" fmla="*/ 70 h 134"/>
                <a:gd name="T88" fmla="*/ 17 w 33"/>
                <a:gd name="T89" fmla="*/ 64 h 134"/>
                <a:gd name="T90" fmla="*/ 16 w 33"/>
                <a:gd name="T91" fmla="*/ 62 h 134"/>
                <a:gd name="T92" fmla="*/ 13 w 33"/>
                <a:gd name="T93" fmla="*/ 61 h 134"/>
                <a:gd name="T94" fmla="*/ 13 w 33"/>
                <a:gd name="T95" fmla="*/ 77 h 134"/>
                <a:gd name="T96" fmla="*/ 11 w 33"/>
                <a:gd name="T97" fmla="*/ 87 h 134"/>
                <a:gd name="T98" fmla="*/ 11 w 33"/>
                <a:gd name="T99" fmla="*/ 95 h 134"/>
                <a:gd name="T100" fmla="*/ 13 w 33"/>
                <a:gd name="T101" fmla="*/ 11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 h="134">
                  <a:moveTo>
                    <a:pt x="14" y="134"/>
                  </a:moveTo>
                  <a:lnTo>
                    <a:pt x="14" y="134"/>
                  </a:lnTo>
                  <a:lnTo>
                    <a:pt x="11" y="134"/>
                  </a:lnTo>
                  <a:lnTo>
                    <a:pt x="11" y="131"/>
                  </a:lnTo>
                  <a:lnTo>
                    <a:pt x="10" y="127"/>
                  </a:lnTo>
                  <a:lnTo>
                    <a:pt x="8" y="125"/>
                  </a:lnTo>
                  <a:lnTo>
                    <a:pt x="8" y="125"/>
                  </a:lnTo>
                  <a:lnTo>
                    <a:pt x="7" y="127"/>
                  </a:lnTo>
                  <a:lnTo>
                    <a:pt x="6" y="129"/>
                  </a:lnTo>
                  <a:lnTo>
                    <a:pt x="6" y="129"/>
                  </a:lnTo>
                  <a:lnTo>
                    <a:pt x="3" y="127"/>
                  </a:lnTo>
                  <a:lnTo>
                    <a:pt x="0" y="121"/>
                  </a:lnTo>
                  <a:lnTo>
                    <a:pt x="0" y="117"/>
                  </a:lnTo>
                  <a:lnTo>
                    <a:pt x="0" y="111"/>
                  </a:lnTo>
                  <a:lnTo>
                    <a:pt x="0" y="111"/>
                  </a:lnTo>
                  <a:lnTo>
                    <a:pt x="0" y="98"/>
                  </a:lnTo>
                  <a:lnTo>
                    <a:pt x="0" y="87"/>
                  </a:lnTo>
                  <a:lnTo>
                    <a:pt x="0" y="87"/>
                  </a:lnTo>
                  <a:lnTo>
                    <a:pt x="1" y="87"/>
                  </a:lnTo>
                  <a:lnTo>
                    <a:pt x="3" y="87"/>
                  </a:lnTo>
                  <a:lnTo>
                    <a:pt x="6" y="84"/>
                  </a:lnTo>
                  <a:lnTo>
                    <a:pt x="6" y="84"/>
                  </a:lnTo>
                  <a:lnTo>
                    <a:pt x="7" y="78"/>
                  </a:lnTo>
                  <a:lnTo>
                    <a:pt x="8" y="71"/>
                  </a:lnTo>
                  <a:lnTo>
                    <a:pt x="8" y="71"/>
                  </a:lnTo>
                  <a:lnTo>
                    <a:pt x="8" y="64"/>
                  </a:lnTo>
                  <a:lnTo>
                    <a:pt x="8" y="58"/>
                  </a:lnTo>
                  <a:lnTo>
                    <a:pt x="7" y="52"/>
                  </a:lnTo>
                  <a:lnTo>
                    <a:pt x="4" y="50"/>
                  </a:lnTo>
                  <a:lnTo>
                    <a:pt x="4" y="50"/>
                  </a:lnTo>
                  <a:lnTo>
                    <a:pt x="4" y="47"/>
                  </a:lnTo>
                  <a:lnTo>
                    <a:pt x="6" y="45"/>
                  </a:lnTo>
                  <a:lnTo>
                    <a:pt x="7" y="45"/>
                  </a:lnTo>
                  <a:lnTo>
                    <a:pt x="8" y="44"/>
                  </a:lnTo>
                  <a:lnTo>
                    <a:pt x="8" y="44"/>
                  </a:lnTo>
                  <a:lnTo>
                    <a:pt x="6" y="38"/>
                  </a:lnTo>
                  <a:lnTo>
                    <a:pt x="3" y="35"/>
                  </a:lnTo>
                  <a:lnTo>
                    <a:pt x="1" y="31"/>
                  </a:lnTo>
                  <a:lnTo>
                    <a:pt x="1" y="31"/>
                  </a:lnTo>
                  <a:lnTo>
                    <a:pt x="4" y="32"/>
                  </a:lnTo>
                  <a:lnTo>
                    <a:pt x="8" y="34"/>
                  </a:lnTo>
                  <a:lnTo>
                    <a:pt x="8" y="34"/>
                  </a:lnTo>
                  <a:lnTo>
                    <a:pt x="8" y="31"/>
                  </a:lnTo>
                  <a:lnTo>
                    <a:pt x="8" y="28"/>
                  </a:lnTo>
                  <a:lnTo>
                    <a:pt x="13" y="25"/>
                  </a:lnTo>
                  <a:lnTo>
                    <a:pt x="17" y="22"/>
                  </a:lnTo>
                  <a:lnTo>
                    <a:pt x="21" y="18"/>
                  </a:lnTo>
                  <a:lnTo>
                    <a:pt x="21" y="18"/>
                  </a:lnTo>
                  <a:lnTo>
                    <a:pt x="18" y="15"/>
                  </a:lnTo>
                  <a:lnTo>
                    <a:pt x="18" y="12"/>
                  </a:lnTo>
                  <a:lnTo>
                    <a:pt x="20" y="7"/>
                  </a:lnTo>
                  <a:lnTo>
                    <a:pt x="20" y="7"/>
                  </a:lnTo>
                  <a:lnTo>
                    <a:pt x="23" y="10"/>
                  </a:lnTo>
                  <a:lnTo>
                    <a:pt x="24" y="8"/>
                  </a:lnTo>
                  <a:lnTo>
                    <a:pt x="26" y="4"/>
                  </a:lnTo>
                  <a:lnTo>
                    <a:pt x="26" y="0"/>
                  </a:lnTo>
                  <a:lnTo>
                    <a:pt x="26" y="0"/>
                  </a:lnTo>
                  <a:lnTo>
                    <a:pt x="28" y="5"/>
                  </a:lnTo>
                  <a:lnTo>
                    <a:pt x="31" y="11"/>
                  </a:lnTo>
                  <a:lnTo>
                    <a:pt x="33" y="15"/>
                  </a:lnTo>
                  <a:lnTo>
                    <a:pt x="33" y="22"/>
                  </a:lnTo>
                  <a:lnTo>
                    <a:pt x="33" y="22"/>
                  </a:lnTo>
                  <a:lnTo>
                    <a:pt x="31" y="21"/>
                  </a:lnTo>
                  <a:lnTo>
                    <a:pt x="28" y="18"/>
                  </a:lnTo>
                  <a:lnTo>
                    <a:pt x="28" y="18"/>
                  </a:lnTo>
                  <a:lnTo>
                    <a:pt x="26" y="22"/>
                  </a:lnTo>
                  <a:lnTo>
                    <a:pt x="23" y="28"/>
                  </a:lnTo>
                  <a:lnTo>
                    <a:pt x="23" y="34"/>
                  </a:lnTo>
                  <a:lnTo>
                    <a:pt x="23" y="40"/>
                  </a:lnTo>
                  <a:lnTo>
                    <a:pt x="23" y="40"/>
                  </a:lnTo>
                  <a:lnTo>
                    <a:pt x="20" y="41"/>
                  </a:lnTo>
                  <a:lnTo>
                    <a:pt x="18" y="41"/>
                  </a:lnTo>
                  <a:lnTo>
                    <a:pt x="16" y="40"/>
                  </a:lnTo>
                  <a:lnTo>
                    <a:pt x="14" y="40"/>
                  </a:lnTo>
                  <a:lnTo>
                    <a:pt x="14" y="40"/>
                  </a:lnTo>
                  <a:lnTo>
                    <a:pt x="16" y="41"/>
                  </a:lnTo>
                  <a:lnTo>
                    <a:pt x="16" y="44"/>
                  </a:lnTo>
                  <a:lnTo>
                    <a:pt x="16" y="51"/>
                  </a:lnTo>
                  <a:lnTo>
                    <a:pt x="16" y="51"/>
                  </a:lnTo>
                  <a:lnTo>
                    <a:pt x="17" y="58"/>
                  </a:lnTo>
                  <a:lnTo>
                    <a:pt x="18" y="61"/>
                  </a:lnTo>
                  <a:lnTo>
                    <a:pt x="21" y="62"/>
                  </a:lnTo>
                  <a:lnTo>
                    <a:pt x="21" y="62"/>
                  </a:lnTo>
                  <a:lnTo>
                    <a:pt x="18" y="67"/>
                  </a:lnTo>
                  <a:lnTo>
                    <a:pt x="17" y="74"/>
                  </a:lnTo>
                  <a:lnTo>
                    <a:pt x="17" y="74"/>
                  </a:lnTo>
                  <a:lnTo>
                    <a:pt x="14" y="72"/>
                  </a:lnTo>
                  <a:lnTo>
                    <a:pt x="16" y="70"/>
                  </a:lnTo>
                  <a:lnTo>
                    <a:pt x="17" y="67"/>
                  </a:lnTo>
                  <a:lnTo>
                    <a:pt x="17" y="64"/>
                  </a:lnTo>
                  <a:lnTo>
                    <a:pt x="17" y="64"/>
                  </a:lnTo>
                  <a:lnTo>
                    <a:pt x="16" y="62"/>
                  </a:lnTo>
                  <a:lnTo>
                    <a:pt x="13" y="61"/>
                  </a:lnTo>
                  <a:lnTo>
                    <a:pt x="13" y="61"/>
                  </a:lnTo>
                  <a:lnTo>
                    <a:pt x="13" y="77"/>
                  </a:lnTo>
                  <a:lnTo>
                    <a:pt x="13" y="77"/>
                  </a:lnTo>
                  <a:lnTo>
                    <a:pt x="11" y="87"/>
                  </a:lnTo>
                  <a:lnTo>
                    <a:pt x="11" y="87"/>
                  </a:lnTo>
                  <a:lnTo>
                    <a:pt x="11" y="95"/>
                  </a:lnTo>
                  <a:lnTo>
                    <a:pt x="11" y="95"/>
                  </a:lnTo>
                  <a:lnTo>
                    <a:pt x="13" y="115"/>
                  </a:lnTo>
                  <a:lnTo>
                    <a:pt x="13" y="115"/>
                  </a:lnTo>
                  <a:lnTo>
                    <a:pt x="14" y="13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32" name="Freeform 533"/>
            <p:cNvSpPr/>
            <p:nvPr/>
          </p:nvSpPr>
          <p:spPr bwMode="auto">
            <a:xfrm>
              <a:off x="1654231" y="3493516"/>
              <a:ext cx="24574" cy="61435"/>
            </a:xfrm>
            <a:custGeom>
              <a:avLst/>
              <a:gdLst>
                <a:gd name="T0" fmla="*/ 8 w 8"/>
                <a:gd name="T1" fmla="*/ 6 h 20"/>
                <a:gd name="T2" fmla="*/ 8 w 8"/>
                <a:gd name="T3" fmla="*/ 6 h 20"/>
                <a:gd name="T4" fmla="*/ 5 w 8"/>
                <a:gd name="T5" fmla="*/ 9 h 20"/>
                <a:gd name="T6" fmla="*/ 3 w 8"/>
                <a:gd name="T7" fmla="*/ 13 h 20"/>
                <a:gd name="T8" fmla="*/ 2 w 8"/>
                <a:gd name="T9" fmla="*/ 18 h 20"/>
                <a:gd name="T10" fmla="*/ 0 w 8"/>
                <a:gd name="T11" fmla="*/ 20 h 20"/>
                <a:gd name="T12" fmla="*/ 0 w 8"/>
                <a:gd name="T13" fmla="*/ 20 h 20"/>
                <a:gd name="T14" fmla="*/ 2 w 8"/>
                <a:gd name="T15" fmla="*/ 10 h 20"/>
                <a:gd name="T16" fmla="*/ 2 w 8"/>
                <a:gd name="T17" fmla="*/ 5 h 20"/>
                <a:gd name="T18" fmla="*/ 2 w 8"/>
                <a:gd name="T19" fmla="*/ 2 h 20"/>
                <a:gd name="T20" fmla="*/ 2 w 8"/>
                <a:gd name="T21" fmla="*/ 2 h 20"/>
                <a:gd name="T22" fmla="*/ 3 w 8"/>
                <a:gd name="T23" fmla="*/ 0 h 20"/>
                <a:gd name="T24" fmla="*/ 5 w 8"/>
                <a:gd name="T25" fmla="*/ 2 h 20"/>
                <a:gd name="T26" fmla="*/ 8 w 8"/>
                <a:gd name="T27"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20">
                  <a:moveTo>
                    <a:pt x="8" y="6"/>
                  </a:moveTo>
                  <a:lnTo>
                    <a:pt x="8" y="6"/>
                  </a:lnTo>
                  <a:lnTo>
                    <a:pt x="5" y="9"/>
                  </a:lnTo>
                  <a:lnTo>
                    <a:pt x="3" y="13"/>
                  </a:lnTo>
                  <a:lnTo>
                    <a:pt x="2" y="18"/>
                  </a:lnTo>
                  <a:lnTo>
                    <a:pt x="0" y="20"/>
                  </a:lnTo>
                  <a:lnTo>
                    <a:pt x="0" y="20"/>
                  </a:lnTo>
                  <a:lnTo>
                    <a:pt x="2" y="10"/>
                  </a:lnTo>
                  <a:lnTo>
                    <a:pt x="2" y="5"/>
                  </a:lnTo>
                  <a:lnTo>
                    <a:pt x="2" y="2"/>
                  </a:lnTo>
                  <a:lnTo>
                    <a:pt x="2" y="2"/>
                  </a:lnTo>
                  <a:lnTo>
                    <a:pt x="3" y="0"/>
                  </a:lnTo>
                  <a:lnTo>
                    <a:pt x="5" y="2"/>
                  </a:lnTo>
                  <a:lnTo>
                    <a:pt x="8"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33" name="Freeform 534"/>
            <p:cNvSpPr/>
            <p:nvPr/>
          </p:nvSpPr>
          <p:spPr bwMode="auto">
            <a:xfrm>
              <a:off x="1654231" y="3493516"/>
              <a:ext cx="24574" cy="61435"/>
            </a:xfrm>
            <a:custGeom>
              <a:avLst/>
              <a:gdLst>
                <a:gd name="T0" fmla="*/ 8 w 8"/>
                <a:gd name="T1" fmla="*/ 6 h 20"/>
                <a:gd name="T2" fmla="*/ 8 w 8"/>
                <a:gd name="T3" fmla="*/ 6 h 20"/>
                <a:gd name="T4" fmla="*/ 5 w 8"/>
                <a:gd name="T5" fmla="*/ 9 h 20"/>
                <a:gd name="T6" fmla="*/ 3 w 8"/>
                <a:gd name="T7" fmla="*/ 13 h 20"/>
                <a:gd name="T8" fmla="*/ 2 w 8"/>
                <a:gd name="T9" fmla="*/ 18 h 20"/>
                <a:gd name="T10" fmla="*/ 0 w 8"/>
                <a:gd name="T11" fmla="*/ 20 h 20"/>
                <a:gd name="T12" fmla="*/ 0 w 8"/>
                <a:gd name="T13" fmla="*/ 20 h 20"/>
                <a:gd name="T14" fmla="*/ 2 w 8"/>
                <a:gd name="T15" fmla="*/ 10 h 20"/>
                <a:gd name="T16" fmla="*/ 2 w 8"/>
                <a:gd name="T17" fmla="*/ 5 h 20"/>
                <a:gd name="T18" fmla="*/ 2 w 8"/>
                <a:gd name="T19" fmla="*/ 2 h 20"/>
                <a:gd name="T20" fmla="*/ 2 w 8"/>
                <a:gd name="T21" fmla="*/ 2 h 20"/>
                <a:gd name="T22" fmla="*/ 3 w 8"/>
                <a:gd name="T23" fmla="*/ 0 h 20"/>
                <a:gd name="T24" fmla="*/ 5 w 8"/>
                <a:gd name="T25" fmla="*/ 2 h 20"/>
                <a:gd name="T26" fmla="*/ 8 w 8"/>
                <a:gd name="T27"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20">
                  <a:moveTo>
                    <a:pt x="8" y="6"/>
                  </a:moveTo>
                  <a:lnTo>
                    <a:pt x="8" y="6"/>
                  </a:lnTo>
                  <a:lnTo>
                    <a:pt x="5" y="9"/>
                  </a:lnTo>
                  <a:lnTo>
                    <a:pt x="3" y="13"/>
                  </a:lnTo>
                  <a:lnTo>
                    <a:pt x="2" y="18"/>
                  </a:lnTo>
                  <a:lnTo>
                    <a:pt x="0" y="20"/>
                  </a:lnTo>
                  <a:lnTo>
                    <a:pt x="0" y="20"/>
                  </a:lnTo>
                  <a:lnTo>
                    <a:pt x="2" y="10"/>
                  </a:lnTo>
                  <a:lnTo>
                    <a:pt x="2" y="5"/>
                  </a:lnTo>
                  <a:lnTo>
                    <a:pt x="2" y="2"/>
                  </a:lnTo>
                  <a:lnTo>
                    <a:pt x="2" y="2"/>
                  </a:lnTo>
                  <a:lnTo>
                    <a:pt x="3" y="0"/>
                  </a:lnTo>
                  <a:lnTo>
                    <a:pt x="5" y="2"/>
                  </a:lnTo>
                  <a:lnTo>
                    <a:pt x="8"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34" name="Oval 535"/>
            <p:cNvSpPr>
              <a:spLocks noChangeArrowheads="1"/>
            </p:cNvSpPr>
            <p:nvPr/>
          </p:nvSpPr>
          <p:spPr bwMode="auto">
            <a:xfrm>
              <a:off x="3534149" y="3450512"/>
              <a:ext cx="6145" cy="614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1" name="Freeform 542"/>
            <p:cNvSpPr/>
            <p:nvPr/>
          </p:nvSpPr>
          <p:spPr bwMode="auto">
            <a:xfrm>
              <a:off x="1832391" y="3155624"/>
              <a:ext cx="30720" cy="30716"/>
            </a:xfrm>
            <a:custGeom>
              <a:avLst/>
              <a:gdLst>
                <a:gd name="T0" fmla="*/ 7 w 9"/>
                <a:gd name="T1" fmla="*/ 5 h 8"/>
                <a:gd name="T2" fmla="*/ 7 w 9"/>
                <a:gd name="T3" fmla="*/ 5 h 8"/>
                <a:gd name="T4" fmla="*/ 5 w 9"/>
                <a:gd name="T5" fmla="*/ 7 h 8"/>
                <a:gd name="T6" fmla="*/ 5 w 9"/>
                <a:gd name="T7" fmla="*/ 5 h 8"/>
                <a:gd name="T8" fmla="*/ 5 w 9"/>
                <a:gd name="T9" fmla="*/ 5 h 8"/>
                <a:gd name="T10" fmla="*/ 2 w 9"/>
                <a:gd name="T11" fmla="*/ 7 h 8"/>
                <a:gd name="T12" fmla="*/ 1 w 9"/>
                <a:gd name="T13" fmla="*/ 8 h 8"/>
                <a:gd name="T14" fmla="*/ 0 w 9"/>
                <a:gd name="T15" fmla="*/ 8 h 8"/>
                <a:gd name="T16" fmla="*/ 0 w 9"/>
                <a:gd name="T17" fmla="*/ 8 h 8"/>
                <a:gd name="T18" fmla="*/ 1 w 9"/>
                <a:gd name="T19" fmla="*/ 5 h 8"/>
                <a:gd name="T20" fmla="*/ 4 w 9"/>
                <a:gd name="T21" fmla="*/ 4 h 8"/>
                <a:gd name="T22" fmla="*/ 8 w 9"/>
                <a:gd name="T23" fmla="*/ 0 h 8"/>
                <a:gd name="T24" fmla="*/ 8 w 9"/>
                <a:gd name="T25" fmla="*/ 0 h 8"/>
                <a:gd name="T26" fmla="*/ 9 w 9"/>
                <a:gd name="T27" fmla="*/ 0 h 8"/>
                <a:gd name="T28" fmla="*/ 8 w 9"/>
                <a:gd name="T29" fmla="*/ 1 h 8"/>
                <a:gd name="T30" fmla="*/ 5 w 9"/>
                <a:gd name="T31" fmla="*/ 4 h 8"/>
                <a:gd name="T32" fmla="*/ 5 w 9"/>
                <a:gd name="T33" fmla="*/ 5 h 8"/>
                <a:gd name="T34" fmla="*/ 7 w 9"/>
                <a:gd name="T3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8">
                  <a:moveTo>
                    <a:pt x="7" y="5"/>
                  </a:moveTo>
                  <a:lnTo>
                    <a:pt x="7" y="5"/>
                  </a:lnTo>
                  <a:lnTo>
                    <a:pt x="5" y="7"/>
                  </a:lnTo>
                  <a:lnTo>
                    <a:pt x="5" y="5"/>
                  </a:lnTo>
                  <a:lnTo>
                    <a:pt x="5" y="5"/>
                  </a:lnTo>
                  <a:lnTo>
                    <a:pt x="2" y="7"/>
                  </a:lnTo>
                  <a:lnTo>
                    <a:pt x="1" y="8"/>
                  </a:lnTo>
                  <a:lnTo>
                    <a:pt x="0" y="8"/>
                  </a:lnTo>
                  <a:lnTo>
                    <a:pt x="0" y="8"/>
                  </a:lnTo>
                  <a:lnTo>
                    <a:pt x="1" y="5"/>
                  </a:lnTo>
                  <a:lnTo>
                    <a:pt x="4" y="4"/>
                  </a:lnTo>
                  <a:lnTo>
                    <a:pt x="8" y="0"/>
                  </a:lnTo>
                  <a:lnTo>
                    <a:pt x="8" y="0"/>
                  </a:lnTo>
                  <a:lnTo>
                    <a:pt x="9" y="0"/>
                  </a:lnTo>
                  <a:lnTo>
                    <a:pt x="8" y="1"/>
                  </a:lnTo>
                  <a:lnTo>
                    <a:pt x="5" y="4"/>
                  </a:lnTo>
                  <a:lnTo>
                    <a:pt x="5" y="5"/>
                  </a:lnTo>
                  <a:lnTo>
                    <a:pt x="7"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2" name="Freeform 543"/>
            <p:cNvSpPr/>
            <p:nvPr/>
          </p:nvSpPr>
          <p:spPr bwMode="auto">
            <a:xfrm>
              <a:off x="1832391" y="3155624"/>
              <a:ext cx="30720" cy="30716"/>
            </a:xfrm>
            <a:custGeom>
              <a:avLst/>
              <a:gdLst>
                <a:gd name="T0" fmla="*/ 7 w 9"/>
                <a:gd name="T1" fmla="*/ 5 h 8"/>
                <a:gd name="T2" fmla="*/ 7 w 9"/>
                <a:gd name="T3" fmla="*/ 5 h 8"/>
                <a:gd name="T4" fmla="*/ 5 w 9"/>
                <a:gd name="T5" fmla="*/ 7 h 8"/>
                <a:gd name="T6" fmla="*/ 5 w 9"/>
                <a:gd name="T7" fmla="*/ 5 h 8"/>
                <a:gd name="T8" fmla="*/ 5 w 9"/>
                <a:gd name="T9" fmla="*/ 5 h 8"/>
                <a:gd name="T10" fmla="*/ 2 w 9"/>
                <a:gd name="T11" fmla="*/ 7 h 8"/>
                <a:gd name="T12" fmla="*/ 1 w 9"/>
                <a:gd name="T13" fmla="*/ 8 h 8"/>
                <a:gd name="T14" fmla="*/ 0 w 9"/>
                <a:gd name="T15" fmla="*/ 8 h 8"/>
                <a:gd name="T16" fmla="*/ 0 w 9"/>
                <a:gd name="T17" fmla="*/ 8 h 8"/>
                <a:gd name="T18" fmla="*/ 1 w 9"/>
                <a:gd name="T19" fmla="*/ 5 h 8"/>
                <a:gd name="T20" fmla="*/ 4 w 9"/>
                <a:gd name="T21" fmla="*/ 4 h 8"/>
                <a:gd name="T22" fmla="*/ 8 w 9"/>
                <a:gd name="T23" fmla="*/ 0 h 8"/>
                <a:gd name="T24" fmla="*/ 8 w 9"/>
                <a:gd name="T25" fmla="*/ 0 h 8"/>
                <a:gd name="T26" fmla="*/ 9 w 9"/>
                <a:gd name="T27" fmla="*/ 0 h 8"/>
                <a:gd name="T28" fmla="*/ 8 w 9"/>
                <a:gd name="T29" fmla="*/ 1 h 8"/>
                <a:gd name="T30" fmla="*/ 5 w 9"/>
                <a:gd name="T31" fmla="*/ 4 h 8"/>
                <a:gd name="T32" fmla="*/ 5 w 9"/>
                <a:gd name="T33" fmla="*/ 5 h 8"/>
                <a:gd name="T34" fmla="*/ 7 w 9"/>
                <a:gd name="T3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8">
                  <a:moveTo>
                    <a:pt x="7" y="5"/>
                  </a:moveTo>
                  <a:lnTo>
                    <a:pt x="7" y="5"/>
                  </a:lnTo>
                  <a:lnTo>
                    <a:pt x="5" y="7"/>
                  </a:lnTo>
                  <a:lnTo>
                    <a:pt x="5" y="5"/>
                  </a:lnTo>
                  <a:lnTo>
                    <a:pt x="5" y="5"/>
                  </a:lnTo>
                  <a:lnTo>
                    <a:pt x="2" y="7"/>
                  </a:lnTo>
                  <a:lnTo>
                    <a:pt x="1" y="8"/>
                  </a:lnTo>
                  <a:lnTo>
                    <a:pt x="0" y="8"/>
                  </a:lnTo>
                  <a:lnTo>
                    <a:pt x="0" y="8"/>
                  </a:lnTo>
                  <a:lnTo>
                    <a:pt x="1" y="5"/>
                  </a:lnTo>
                  <a:lnTo>
                    <a:pt x="4" y="4"/>
                  </a:lnTo>
                  <a:lnTo>
                    <a:pt x="8" y="0"/>
                  </a:lnTo>
                  <a:lnTo>
                    <a:pt x="8" y="0"/>
                  </a:lnTo>
                  <a:lnTo>
                    <a:pt x="9" y="0"/>
                  </a:lnTo>
                  <a:lnTo>
                    <a:pt x="8" y="1"/>
                  </a:lnTo>
                  <a:lnTo>
                    <a:pt x="5" y="4"/>
                  </a:lnTo>
                  <a:lnTo>
                    <a:pt x="5" y="5"/>
                  </a:lnTo>
                  <a:lnTo>
                    <a:pt x="7"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3" name="Freeform 544"/>
            <p:cNvSpPr/>
            <p:nvPr/>
          </p:nvSpPr>
          <p:spPr bwMode="auto">
            <a:xfrm>
              <a:off x="1721807" y="2817728"/>
              <a:ext cx="129016" cy="301031"/>
            </a:xfrm>
            <a:custGeom>
              <a:avLst/>
              <a:gdLst>
                <a:gd name="T0" fmla="*/ 7 w 41"/>
                <a:gd name="T1" fmla="*/ 97 h 97"/>
                <a:gd name="T2" fmla="*/ 1 w 41"/>
                <a:gd name="T3" fmla="*/ 91 h 97"/>
                <a:gd name="T4" fmla="*/ 3 w 41"/>
                <a:gd name="T5" fmla="*/ 88 h 97"/>
                <a:gd name="T6" fmla="*/ 6 w 41"/>
                <a:gd name="T7" fmla="*/ 90 h 97"/>
                <a:gd name="T8" fmla="*/ 4 w 41"/>
                <a:gd name="T9" fmla="*/ 85 h 97"/>
                <a:gd name="T10" fmla="*/ 4 w 41"/>
                <a:gd name="T11" fmla="*/ 80 h 97"/>
                <a:gd name="T12" fmla="*/ 6 w 41"/>
                <a:gd name="T13" fmla="*/ 75 h 97"/>
                <a:gd name="T14" fmla="*/ 3 w 41"/>
                <a:gd name="T15" fmla="*/ 72 h 97"/>
                <a:gd name="T16" fmla="*/ 0 w 41"/>
                <a:gd name="T17" fmla="*/ 72 h 97"/>
                <a:gd name="T18" fmla="*/ 3 w 41"/>
                <a:gd name="T19" fmla="*/ 65 h 97"/>
                <a:gd name="T20" fmla="*/ 7 w 41"/>
                <a:gd name="T21" fmla="*/ 55 h 97"/>
                <a:gd name="T22" fmla="*/ 13 w 41"/>
                <a:gd name="T23" fmla="*/ 44 h 97"/>
                <a:gd name="T24" fmla="*/ 18 w 41"/>
                <a:gd name="T25" fmla="*/ 37 h 97"/>
                <a:gd name="T26" fmla="*/ 16 w 41"/>
                <a:gd name="T27" fmla="*/ 35 h 97"/>
                <a:gd name="T28" fmla="*/ 17 w 41"/>
                <a:gd name="T29" fmla="*/ 30 h 97"/>
                <a:gd name="T30" fmla="*/ 18 w 41"/>
                <a:gd name="T31" fmla="*/ 24 h 97"/>
                <a:gd name="T32" fmla="*/ 16 w 41"/>
                <a:gd name="T33" fmla="*/ 23 h 97"/>
                <a:gd name="T34" fmla="*/ 20 w 41"/>
                <a:gd name="T35" fmla="*/ 21 h 97"/>
                <a:gd name="T36" fmla="*/ 23 w 41"/>
                <a:gd name="T37" fmla="*/ 21 h 97"/>
                <a:gd name="T38" fmla="*/ 23 w 41"/>
                <a:gd name="T39" fmla="*/ 18 h 97"/>
                <a:gd name="T40" fmla="*/ 26 w 41"/>
                <a:gd name="T41" fmla="*/ 11 h 97"/>
                <a:gd name="T42" fmla="*/ 31 w 41"/>
                <a:gd name="T43" fmla="*/ 3 h 97"/>
                <a:gd name="T44" fmla="*/ 33 w 41"/>
                <a:gd name="T45" fmla="*/ 3 h 97"/>
                <a:gd name="T46" fmla="*/ 38 w 41"/>
                <a:gd name="T47" fmla="*/ 4 h 97"/>
                <a:gd name="T48" fmla="*/ 38 w 41"/>
                <a:gd name="T49" fmla="*/ 0 h 97"/>
                <a:gd name="T50" fmla="*/ 40 w 41"/>
                <a:gd name="T51" fmla="*/ 1 h 97"/>
                <a:gd name="T52" fmla="*/ 40 w 41"/>
                <a:gd name="T53" fmla="*/ 4 h 97"/>
                <a:gd name="T54" fmla="*/ 33 w 41"/>
                <a:gd name="T55" fmla="*/ 7 h 97"/>
                <a:gd name="T56" fmla="*/ 30 w 41"/>
                <a:gd name="T57" fmla="*/ 15 h 97"/>
                <a:gd name="T58" fmla="*/ 24 w 41"/>
                <a:gd name="T59" fmla="*/ 21 h 97"/>
                <a:gd name="T60" fmla="*/ 26 w 41"/>
                <a:gd name="T61" fmla="*/ 25 h 97"/>
                <a:gd name="T62" fmla="*/ 30 w 41"/>
                <a:gd name="T63" fmla="*/ 27 h 97"/>
                <a:gd name="T64" fmla="*/ 24 w 41"/>
                <a:gd name="T65" fmla="*/ 37 h 97"/>
                <a:gd name="T66" fmla="*/ 26 w 41"/>
                <a:gd name="T67" fmla="*/ 41 h 97"/>
                <a:gd name="T68" fmla="*/ 18 w 41"/>
                <a:gd name="T69" fmla="*/ 41 h 97"/>
                <a:gd name="T70" fmla="*/ 16 w 41"/>
                <a:gd name="T71" fmla="*/ 50 h 97"/>
                <a:gd name="T72" fmla="*/ 13 w 41"/>
                <a:gd name="T73" fmla="*/ 60 h 97"/>
                <a:gd name="T74" fmla="*/ 7 w 41"/>
                <a:gd name="T75" fmla="*/ 65 h 97"/>
                <a:gd name="T76" fmla="*/ 8 w 41"/>
                <a:gd name="T77" fmla="*/ 72 h 97"/>
                <a:gd name="T78" fmla="*/ 7 w 41"/>
                <a:gd name="T79" fmla="*/ 80 h 97"/>
                <a:gd name="T80" fmla="*/ 7 w 41"/>
                <a:gd name="T81"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 h="97">
                  <a:moveTo>
                    <a:pt x="7" y="97"/>
                  </a:moveTo>
                  <a:lnTo>
                    <a:pt x="7" y="97"/>
                  </a:lnTo>
                  <a:lnTo>
                    <a:pt x="3" y="94"/>
                  </a:lnTo>
                  <a:lnTo>
                    <a:pt x="1" y="91"/>
                  </a:lnTo>
                  <a:lnTo>
                    <a:pt x="3" y="88"/>
                  </a:lnTo>
                  <a:lnTo>
                    <a:pt x="3" y="88"/>
                  </a:lnTo>
                  <a:lnTo>
                    <a:pt x="4" y="90"/>
                  </a:lnTo>
                  <a:lnTo>
                    <a:pt x="6" y="90"/>
                  </a:lnTo>
                  <a:lnTo>
                    <a:pt x="4" y="85"/>
                  </a:lnTo>
                  <a:lnTo>
                    <a:pt x="4" y="85"/>
                  </a:lnTo>
                  <a:lnTo>
                    <a:pt x="4" y="80"/>
                  </a:lnTo>
                  <a:lnTo>
                    <a:pt x="4" y="80"/>
                  </a:lnTo>
                  <a:lnTo>
                    <a:pt x="4" y="77"/>
                  </a:lnTo>
                  <a:lnTo>
                    <a:pt x="6" y="75"/>
                  </a:lnTo>
                  <a:lnTo>
                    <a:pt x="6" y="75"/>
                  </a:lnTo>
                  <a:lnTo>
                    <a:pt x="3" y="72"/>
                  </a:lnTo>
                  <a:lnTo>
                    <a:pt x="1" y="71"/>
                  </a:lnTo>
                  <a:lnTo>
                    <a:pt x="0" y="72"/>
                  </a:lnTo>
                  <a:lnTo>
                    <a:pt x="0" y="72"/>
                  </a:lnTo>
                  <a:lnTo>
                    <a:pt x="3" y="65"/>
                  </a:lnTo>
                  <a:lnTo>
                    <a:pt x="7" y="55"/>
                  </a:lnTo>
                  <a:lnTo>
                    <a:pt x="7" y="55"/>
                  </a:lnTo>
                  <a:lnTo>
                    <a:pt x="13" y="44"/>
                  </a:lnTo>
                  <a:lnTo>
                    <a:pt x="13" y="44"/>
                  </a:lnTo>
                  <a:lnTo>
                    <a:pt x="16" y="40"/>
                  </a:lnTo>
                  <a:lnTo>
                    <a:pt x="18" y="37"/>
                  </a:lnTo>
                  <a:lnTo>
                    <a:pt x="18" y="37"/>
                  </a:lnTo>
                  <a:lnTo>
                    <a:pt x="16" y="35"/>
                  </a:lnTo>
                  <a:lnTo>
                    <a:pt x="16" y="33"/>
                  </a:lnTo>
                  <a:lnTo>
                    <a:pt x="17" y="30"/>
                  </a:lnTo>
                  <a:lnTo>
                    <a:pt x="18" y="25"/>
                  </a:lnTo>
                  <a:lnTo>
                    <a:pt x="18" y="24"/>
                  </a:lnTo>
                  <a:lnTo>
                    <a:pt x="16" y="23"/>
                  </a:lnTo>
                  <a:lnTo>
                    <a:pt x="16" y="23"/>
                  </a:lnTo>
                  <a:lnTo>
                    <a:pt x="17" y="21"/>
                  </a:lnTo>
                  <a:lnTo>
                    <a:pt x="20" y="21"/>
                  </a:lnTo>
                  <a:lnTo>
                    <a:pt x="21" y="21"/>
                  </a:lnTo>
                  <a:lnTo>
                    <a:pt x="23" y="21"/>
                  </a:lnTo>
                  <a:lnTo>
                    <a:pt x="23" y="21"/>
                  </a:lnTo>
                  <a:lnTo>
                    <a:pt x="23" y="18"/>
                  </a:lnTo>
                  <a:lnTo>
                    <a:pt x="23" y="15"/>
                  </a:lnTo>
                  <a:lnTo>
                    <a:pt x="26" y="11"/>
                  </a:lnTo>
                  <a:lnTo>
                    <a:pt x="28" y="7"/>
                  </a:lnTo>
                  <a:lnTo>
                    <a:pt x="31" y="3"/>
                  </a:lnTo>
                  <a:lnTo>
                    <a:pt x="31" y="3"/>
                  </a:lnTo>
                  <a:lnTo>
                    <a:pt x="33" y="3"/>
                  </a:lnTo>
                  <a:lnTo>
                    <a:pt x="37" y="4"/>
                  </a:lnTo>
                  <a:lnTo>
                    <a:pt x="38" y="4"/>
                  </a:lnTo>
                  <a:lnTo>
                    <a:pt x="40" y="3"/>
                  </a:lnTo>
                  <a:lnTo>
                    <a:pt x="38" y="0"/>
                  </a:lnTo>
                  <a:lnTo>
                    <a:pt x="38" y="0"/>
                  </a:lnTo>
                  <a:lnTo>
                    <a:pt x="40" y="1"/>
                  </a:lnTo>
                  <a:lnTo>
                    <a:pt x="41" y="1"/>
                  </a:lnTo>
                  <a:lnTo>
                    <a:pt x="40" y="4"/>
                  </a:lnTo>
                  <a:lnTo>
                    <a:pt x="37" y="7"/>
                  </a:lnTo>
                  <a:lnTo>
                    <a:pt x="33" y="7"/>
                  </a:lnTo>
                  <a:lnTo>
                    <a:pt x="33" y="7"/>
                  </a:lnTo>
                  <a:lnTo>
                    <a:pt x="30" y="15"/>
                  </a:lnTo>
                  <a:lnTo>
                    <a:pt x="24" y="21"/>
                  </a:lnTo>
                  <a:lnTo>
                    <a:pt x="24" y="21"/>
                  </a:lnTo>
                  <a:lnTo>
                    <a:pt x="24" y="24"/>
                  </a:lnTo>
                  <a:lnTo>
                    <a:pt x="26" y="25"/>
                  </a:lnTo>
                  <a:lnTo>
                    <a:pt x="30" y="27"/>
                  </a:lnTo>
                  <a:lnTo>
                    <a:pt x="30" y="27"/>
                  </a:lnTo>
                  <a:lnTo>
                    <a:pt x="26" y="34"/>
                  </a:lnTo>
                  <a:lnTo>
                    <a:pt x="24" y="37"/>
                  </a:lnTo>
                  <a:lnTo>
                    <a:pt x="26" y="41"/>
                  </a:lnTo>
                  <a:lnTo>
                    <a:pt x="26" y="41"/>
                  </a:lnTo>
                  <a:lnTo>
                    <a:pt x="21" y="41"/>
                  </a:lnTo>
                  <a:lnTo>
                    <a:pt x="18" y="41"/>
                  </a:lnTo>
                  <a:lnTo>
                    <a:pt x="16" y="45"/>
                  </a:lnTo>
                  <a:lnTo>
                    <a:pt x="16" y="50"/>
                  </a:lnTo>
                  <a:lnTo>
                    <a:pt x="16" y="50"/>
                  </a:lnTo>
                  <a:lnTo>
                    <a:pt x="13" y="60"/>
                  </a:lnTo>
                  <a:lnTo>
                    <a:pt x="11" y="62"/>
                  </a:lnTo>
                  <a:lnTo>
                    <a:pt x="7" y="65"/>
                  </a:lnTo>
                  <a:lnTo>
                    <a:pt x="7" y="65"/>
                  </a:lnTo>
                  <a:lnTo>
                    <a:pt x="8" y="72"/>
                  </a:lnTo>
                  <a:lnTo>
                    <a:pt x="7" y="80"/>
                  </a:lnTo>
                  <a:lnTo>
                    <a:pt x="7" y="80"/>
                  </a:lnTo>
                  <a:lnTo>
                    <a:pt x="7" y="88"/>
                  </a:lnTo>
                  <a:lnTo>
                    <a:pt x="7" y="9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4" name="Freeform 545"/>
            <p:cNvSpPr/>
            <p:nvPr/>
          </p:nvSpPr>
          <p:spPr bwMode="auto">
            <a:xfrm>
              <a:off x="1721807" y="2817728"/>
              <a:ext cx="129016" cy="301031"/>
            </a:xfrm>
            <a:custGeom>
              <a:avLst/>
              <a:gdLst>
                <a:gd name="T0" fmla="*/ 7 w 41"/>
                <a:gd name="T1" fmla="*/ 97 h 97"/>
                <a:gd name="T2" fmla="*/ 1 w 41"/>
                <a:gd name="T3" fmla="*/ 91 h 97"/>
                <a:gd name="T4" fmla="*/ 3 w 41"/>
                <a:gd name="T5" fmla="*/ 88 h 97"/>
                <a:gd name="T6" fmla="*/ 6 w 41"/>
                <a:gd name="T7" fmla="*/ 90 h 97"/>
                <a:gd name="T8" fmla="*/ 4 w 41"/>
                <a:gd name="T9" fmla="*/ 85 h 97"/>
                <a:gd name="T10" fmla="*/ 4 w 41"/>
                <a:gd name="T11" fmla="*/ 80 h 97"/>
                <a:gd name="T12" fmla="*/ 6 w 41"/>
                <a:gd name="T13" fmla="*/ 75 h 97"/>
                <a:gd name="T14" fmla="*/ 3 w 41"/>
                <a:gd name="T15" fmla="*/ 72 h 97"/>
                <a:gd name="T16" fmla="*/ 0 w 41"/>
                <a:gd name="T17" fmla="*/ 72 h 97"/>
                <a:gd name="T18" fmla="*/ 3 w 41"/>
                <a:gd name="T19" fmla="*/ 65 h 97"/>
                <a:gd name="T20" fmla="*/ 7 w 41"/>
                <a:gd name="T21" fmla="*/ 55 h 97"/>
                <a:gd name="T22" fmla="*/ 13 w 41"/>
                <a:gd name="T23" fmla="*/ 44 h 97"/>
                <a:gd name="T24" fmla="*/ 18 w 41"/>
                <a:gd name="T25" fmla="*/ 37 h 97"/>
                <a:gd name="T26" fmla="*/ 16 w 41"/>
                <a:gd name="T27" fmla="*/ 35 h 97"/>
                <a:gd name="T28" fmla="*/ 17 w 41"/>
                <a:gd name="T29" fmla="*/ 30 h 97"/>
                <a:gd name="T30" fmla="*/ 18 w 41"/>
                <a:gd name="T31" fmla="*/ 24 h 97"/>
                <a:gd name="T32" fmla="*/ 16 w 41"/>
                <a:gd name="T33" fmla="*/ 23 h 97"/>
                <a:gd name="T34" fmla="*/ 20 w 41"/>
                <a:gd name="T35" fmla="*/ 21 h 97"/>
                <a:gd name="T36" fmla="*/ 23 w 41"/>
                <a:gd name="T37" fmla="*/ 21 h 97"/>
                <a:gd name="T38" fmla="*/ 23 w 41"/>
                <a:gd name="T39" fmla="*/ 18 h 97"/>
                <a:gd name="T40" fmla="*/ 26 w 41"/>
                <a:gd name="T41" fmla="*/ 11 h 97"/>
                <a:gd name="T42" fmla="*/ 31 w 41"/>
                <a:gd name="T43" fmla="*/ 3 h 97"/>
                <a:gd name="T44" fmla="*/ 33 w 41"/>
                <a:gd name="T45" fmla="*/ 3 h 97"/>
                <a:gd name="T46" fmla="*/ 38 w 41"/>
                <a:gd name="T47" fmla="*/ 4 h 97"/>
                <a:gd name="T48" fmla="*/ 38 w 41"/>
                <a:gd name="T49" fmla="*/ 0 h 97"/>
                <a:gd name="T50" fmla="*/ 40 w 41"/>
                <a:gd name="T51" fmla="*/ 1 h 97"/>
                <a:gd name="T52" fmla="*/ 40 w 41"/>
                <a:gd name="T53" fmla="*/ 4 h 97"/>
                <a:gd name="T54" fmla="*/ 33 w 41"/>
                <a:gd name="T55" fmla="*/ 7 h 97"/>
                <a:gd name="T56" fmla="*/ 30 w 41"/>
                <a:gd name="T57" fmla="*/ 15 h 97"/>
                <a:gd name="T58" fmla="*/ 24 w 41"/>
                <a:gd name="T59" fmla="*/ 21 h 97"/>
                <a:gd name="T60" fmla="*/ 26 w 41"/>
                <a:gd name="T61" fmla="*/ 25 h 97"/>
                <a:gd name="T62" fmla="*/ 30 w 41"/>
                <a:gd name="T63" fmla="*/ 27 h 97"/>
                <a:gd name="T64" fmla="*/ 24 w 41"/>
                <a:gd name="T65" fmla="*/ 37 h 97"/>
                <a:gd name="T66" fmla="*/ 26 w 41"/>
                <a:gd name="T67" fmla="*/ 41 h 97"/>
                <a:gd name="T68" fmla="*/ 18 w 41"/>
                <a:gd name="T69" fmla="*/ 41 h 97"/>
                <a:gd name="T70" fmla="*/ 16 w 41"/>
                <a:gd name="T71" fmla="*/ 50 h 97"/>
                <a:gd name="T72" fmla="*/ 13 w 41"/>
                <a:gd name="T73" fmla="*/ 60 h 97"/>
                <a:gd name="T74" fmla="*/ 7 w 41"/>
                <a:gd name="T75" fmla="*/ 65 h 97"/>
                <a:gd name="T76" fmla="*/ 8 w 41"/>
                <a:gd name="T77" fmla="*/ 72 h 97"/>
                <a:gd name="T78" fmla="*/ 7 w 41"/>
                <a:gd name="T79" fmla="*/ 80 h 97"/>
                <a:gd name="T80" fmla="*/ 7 w 41"/>
                <a:gd name="T81"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 h="97">
                  <a:moveTo>
                    <a:pt x="7" y="97"/>
                  </a:moveTo>
                  <a:lnTo>
                    <a:pt x="7" y="97"/>
                  </a:lnTo>
                  <a:lnTo>
                    <a:pt x="3" y="94"/>
                  </a:lnTo>
                  <a:lnTo>
                    <a:pt x="1" y="91"/>
                  </a:lnTo>
                  <a:lnTo>
                    <a:pt x="3" y="88"/>
                  </a:lnTo>
                  <a:lnTo>
                    <a:pt x="3" y="88"/>
                  </a:lnTo>
                  <a:lnTo>
                    <a:pt x="4" y="90"/>
                  </a:lnTo>
                  <a:lnTo>
                    <a:pt x="6" y="90"/>
                  </a:lnTo>
                  <a:lnTo>
                    <a:pt x="4" y="85"/>
                  </a:lnTo>
                  <a:lnTo>
                    <a:pt x="4" y="85"/>
                  </a:lnTo>
                  <a:lnTo>
                    <a:pt x="4" y="80"/>
                  </a:lnTo>
                  <a:lnTo>
                    <a:pt x="4" y="80"/>
                  </a:lnTo>
                  <a:lnTo>
                    <a:pt x="4" y="77"/>
                  </a:lnTo>
                  <a:lnTo>
                    <a:pt x="6" y="75"/>
                  </a:lnTo>
                  <a:lnTo>
                    <a:pt x="6" y="75"/>
                  </a:lnTo>
                  <a:lnTo>
                    <a:pt x="3" y="72"/>
                  </a:lnTo>
                  <a:lnTo>
                    <a:pt x="1" y="71"/>
                  </a:lnTo>
                  <a:lnTo>
                    <a:pt x="0" y="72"/>
                  </a:lnTo>
                  <a:lnTo>
                    <a:pt x="0" y="72"/>
                  </a:lnTo>
                  <a:lnTo>
                    <a:pt x="3" y="65"/>
                  </a:lnTo>
                  <a:lnTo>
                    <a:pt x="7" y="55"/>
                  </a:lnTo>
                  <a:lnTo>
                    <a:pt x="7" y="55"/>
                  </a:lnTo>
                  <a:lnTo>
                    <a:pt x="13" y="44"/>
                  </a:lnTo>
                  <a:lnTo>
                    <a:pt x="13" y="44"/>
                  </a:lnTo>
                  <a:lnTo>
                    <a:pt x="16" y="40"/>
                  </a:lnTo>
                  <a:lnTo>
                    <a:pt x="18" y="37"/>
                  </a:lnTo>
                  <a:lnTo>
                    <a:pt x="18" y="37"/>
                  </a:lnTo>
                  <a:lnTo>
                    <a:pt x="16" y="35"/>
                  </a:lnTo>
                  <a:lnTo>
                    <a:pt x="16" y="33"/>
                  </a:lnTo>
                  <a:lnTo>
                    <a:pt x="17" y="30"/>
                  </a:lnTo>
                  <a:lnTo>
                    <a:pt x="18" y="25"/>
                  </a:lnTo>
                  <a:lnTo>
                    <a:pt x="18" y="24"/>
                  </a:lnTo>
                  <a:lnTo>
                    <a:pt x="16" y="23"/>
                  </a:lnTo>
                  <a:lnTo>
                    <a:pt x="16" y="23"/>
                  </a:lnTo>
                  <a:lnTo>
                    <a:pt x="17" y="21"/>
                  </a:lnTo>
                  <a:lnTo>
                    <a:pt x="20" y="21"/>
                  </a:lnTo>
                  <a:lnTo>
                    <a:pt x="21" y="21"/>
                  </a:lnTo>
                  <a:lnTo>
                    <a:pt x="23" y="21"/>
                  </a:lnTo>
                  <a:lnTo>
                    <a:pt x="23" y="21"/>
                  </a:lnTo>
                  <a:lnTo>
                    <a:pt x="23" y="18"/>
                  </a:lnTo>
                  <a:lnTo>
                    <a:pt x="23" y="15"/>
                  </a:lnTo>
                  <a:lnTo>
                    <a:pt x="26" y="11"/>
                  </a:lnTo>
                  <a:lnTo>
                    <a:pt x="28" y="7"/>
                  </a:lnTo>
                  <a:lnTo>
                    <a:pt x="31" y="3"/>
                  </a:lnTo>
                  <a:lnTo>
                    <a:pt x="31" y="3"/>
                  </a:lnTo>
                  <a:lnTo>
                    <a:pt x="33" y="3"/>
                  </a:lnTo>
                  <a:lnTo>
                    <a:pt x="37" y="4"/>
                  </a:lnTo>
                  <a:lnTo>
                    <a:pt x="38" y="4"/>
                  </a:lnTo>
                  <a:lnTo>
                    <a:pt x="40" y="3"/>
                  </a:lnTo>
                  <a:lnTo>
                    <a:pt x="38" y="0"/>
                  </a:lnTo>
                  <a:lnTo>
                    <a:pt x="38" y="0"/>
                  </a:lnTo>
                  <a:lnTo>
                    <a:pt x="40" y="1"/>
                  </a:lnTo>
                  <a:lnTo>
                    <a:pt x="41" y="1"/>
                  </a:lnTo>
                  <a:lnTo>
                    <a:pt x="40" y="4"/>
                  </a:lnTo>
                  <a:lnTo>
                    <a:pt x="37" y="7"/>
                  </a:lnTo>
                  <a:lnTo>
                    <a:pt x="33" y="7"/>
                  </a:lnTo>
                  <a:lnTo>
                    <a:pt x="33" y="7"/>
                  </a:lnTo>
                  <a:lnTo>
                    <a:pt x="30" y="15"/>
                  </a:lnTo>
                  <a:lnTo>
                    <a:pt x="24" y="21"/>
                  </a:lnTo>
                  <a:lnTo>
                    <a:pt x="24" y="21"/>
                  </a:lnTo>
                  <a:lnTo>
                    <a:pt x="24" y="24"/>
                  </a:lnTo>
                  <a:lnTo>
                    <a:pt x="26" y="25"/>
                  </a:lnTo>
                  <a:lnTo>
                    <a:pt x="30" y="27"/>
                  </a:lnTo>
                  <a:lnTo>
                    <a:pt x="30" y="27"/>
                  </a:lnTo>
                  <a:lnTo>
                    <a:pt x="26" y="34"/>
                  </a:lnTo>
                  <a:lnTo>
                    <a:pt x="24" y="37"/>
                  </a:lnTo>
                  <a:lnTo>
                    <a:pt x="26" y="41"/>
                  </a:lnTo>
                  <a:lnTo>
                    <a:pt x="26" y="41"/>
                  </a:lnTo>
                  <a:lnTo>
                    <a:pt x="21" y="41"/>
                  </a:lnTo>
                  <a:lnTo>
                    <a:pt x="18" y="41"/>
                  </a:lnTo>
                  <a:lnTo>
                    <a:pt x="16" y="45"/>
                  </a:lnTo>
                  <a:lnTo>
                    <a:pt x="16" y="50"/>
                  </a:lnTo>
                  <a:lnTo>
                    <a:pt x="16" y="50"/>
                  </a:lnTo>
                  <a:lnTo>
                    <a:pt x="13" y="60"/>
                  </a:lnTo>
                  <a:lnTo>
                    <a:pt x="11" y="62"/>
                  </a:lnTo>
                  <a:lnTo>
                    <a:pt x="7" y="65"/>
                  </a:lnTo>
                  <a:lnTo>
                    <a:pt x="7" y="65"/>
                  </a:lnTo>
                  <a:lnTo>
                    <a:pt x="8" y="72"/>
                  </a:lnTo>
                  <a:lnTo>
                    <a:pt x="7" y="80"/>
                  </a:lnTo>
                  <a:lnTo>
                    <a:pt x="7" y="80"/>
                  </a:lnTo>
                  <a:lnTo>
                    <a:pt x="7" y="88"/>
                  </a:lnTo>
                  <a:lnTo>
                    <a:pt x="7" y="9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5" name="Freeform 546"/>
            <p:cNvSpPr/>
            <p:nvPr/>
          </p:nvSpPr>
          <p:spPr bwMode="auto">
            <a:xfrm>
              <a:off x="1390056" y="2627281"/>
              <a:ext cx="233453" cy="448475"/>
            </a:xfrm>
            <a:custGeom>
              <a:avLst/>
              <a:gdLst>
                <a:gd name="T0" fmla="*/ 9 w 76"/>
                <a:gd name="T1" fmla="*/ 104 h 145"/>
                <a:gd name="T2" fmla="*/ 9 w 76"/>
                <a:gd name="T3" fmla="*/ 94 h 145"/>
                <a:gd name="T4" fmla="*/ 3 w 76"/>
                <a:gd name="T5" fmla="*/ 94 h 145"/>
                <a:gd name="T6" fmla="*/ 2 w 76"/>
                <a:gd name="T7" fmla="*/ 88 h 145"/>
                <a:gd name="T8" fmla="*/ 0 w 76"/>
                <a:gd name="T9" fmla="*/ 73 h 145"/>
                <a:gd name="T10" fmla="*/ 3 w 76"/>
                <a:gd name="T11" fmla="*/ 73 h 145"/>
                <a:gd name="T12" fmla="*/ 12 w 76"/>
                <a:gd name="T13" fmla="*/ 58 h 145"/>
                <a:gd name="T14" fmla="*/ 20 w 76"/>
                <a:gd name="T15" fmla="*/ 46 h 145"/>
                <a:gd name="T16" fmla="*/ 28 w 76"/>
                <a:gd name="T17" fmla="*/ 40 h 145"/>
                <a:gd name="T18" fmla="*/ 29 w 76"/>
                <a:gd name="T19" fmla="*/ 37 h 145"/>
                <a:gd name="T20" fmla="*/ 33 w 76"/>
                <a:gd name="T21" fmla="*/ 31 h 145"/>
                <a:gd name="T22" fmla="*/ 43 w 76"/>
                <a:gd name="T23" fmla="*/ 21 h 145"/>
                <a:gd name="T24" fmla="*/ 52 w 76"/>
                <a:gd name="T25" fmla="*/ 16 h 145"/>
                <a:gd name="T26" fmla="*/ 72 w 76"/>
                <a:gd name="T27" fmla="*/ 0 h 145"/>
                <a:gd name="T28" fmla="*/ 75 w 76"/>
                <a:gd name="T29" fmla="*/ 3 h 145"/>
                <a:gd name="T30" fmla="*/ 73 w 76"/>
                <a:gd name="T31" fmla="*/ 11 h 145"/>
                <a:gd name="T32" fmla="*/ 70 w 76"/>
                <a:gd name="T33" fmla="*/ 21 h 145"/>
                <a:gd name="T34" fmla="*/ 52 w 76"/>
                <a:gd name="T35" fmla="*/ 60 h 145"/>
                <a:gd name="T36" fmla="*/ 43 w 76"/>
                <a:gd name="T37" fmla="*/ 86 h 145"/>
                <a:gd name="T38" fmla="*/ 45 w 76"/>
                <a:gd name="T39" fmla="*/ 103 h 145"/>
                <a:gd name="T40" fmla="*/ 48 w 76"/>
                <a:gd name="T41" fmla="*/ 107 h 145"/>
                <a:gd name="T42" fmla="*/ 46 w 76"/>
                <a:gd name="T43" fmla="*/ 100 h 145"/>
                <a:gd name="T44" fmla="*/ 48 w 76"/>
                <a:gd name="T45" fmla="*/ 86 h 145"/>
                <a:gd name="T46" fmla="*/ 53 w 76"/>
                <a:gd name="T47" fmla="*/ 97 h 145"/>
                <a:gd name="T48" fmla="*/ 57 w 76"/>
                <a:gd name="T49" fmla="*/ 111 h 145"/>
                <a:gd name="T50" fmla="*/ 60 w 76"/>
                <a:gd name="T51" fmla="*/ 107 h 145"/>
                <a:gd name="T52" fmla="*/ 65 w 76"/>
                <a:gd name="T53" fmla="*/ 104 h 145"/>
                <a:gd name="T54" fmla="*/ 63 w 76"/>
                <a:gd name="T55" fmla="*/ 108 h 145"/>
                <a:gd name="T56" fmla="*/ 62 w 76"/>
                <a:gd name="T57" fmla="*/ 115 h 145"/>
                <a:gd name="T58" fmla="*/ 53 w 76"/>
                <a:gd name="T59" fmla="*/ 115 h 145"/>
                <a:gd name="T60" fmla="*/ 49 w 76"/>
                <a:gd name="T61" fmla="*/ 134 h 145"/>
                <a:gd name="T62" fmla="*/ 48 w 76"/>
                <a:gd name="T63" fmla="*/ 131 h 145"/>
                <a:gd name="T64" fmla="*/ 43 w 76"/>
                <a:gd name="T65" fmla="*/ 130 h 145"/>
                <a:gd name="T66" fmla="*/ 48 w 76"/>
                <a:gd name="T67" fmla="*/ 118 h 145"/>
                <a:gd name="T68" fmla="*/ 43 w 76"/>
                <a:gd name="T69" fmla="*/ 117 h 145"/>
                <a:gd name="T70" fmla="*/ 38 w 76"/>
                <a:gd name="T71" fmla="*/ 127 h 145"/>
                <a:gd name="T72" fmla="*/ 35 w 76"/>
                <a:gd name="T73" fmla="*/ 145 h 145"/>
                <a:gd name="T74" fmla="*/ 33 w 76"/>
                <a:gd name="T75" fmla="*/ 135 h 145"/>
                <a:gd name="T76" fmla="*/ 23 w 76"/>
                <a:gd name="T77" fmla="*/ 114 h 145"/>
                <a:gd name="T78" fmla="*/ 22 w 76"/>
                <a:gd name="T79" fmla="*/ 97 h 145"/>
                <a:gd name="T80" fmla="*/ 20 w 76"/>
                <a:gd name="T81" fmla="*/ 86 h 145"/>
                <a:gd name="T82" fmla="*/ 20 w 76"/>
                <a:gd name="T83" fmla="*/ 83 h 145"/>
                <a:gd name="T84" fmla="*/ 25 w 76"/>
                <a:gd name="T85" fmla="*/ 77 h 145"/>
                <a:gd name="T86" fmla="*/ 20 w 76"/>
                <a:gd name="T87" fmla="*/ 73 h 145"/>
                <a:gd name="T88" fmla="*/ 22 w 76"/>
                <a:gd name="T89" fmla="*/ 64 h 145"/>
                <a:gd name="T90" fmla="*/ 18 w 76"/>
                <a:gd name="T91" fmla="*/ 58 h 145"/>
                <a:gd name="T92" fmla="*/ 10 w 76"/>
                <a:gd name="T93" fmla="*/ 70 h 145"/>
                <a:gd name="T94" fmla="*/ 6 w 76"/>
                <a:gd name="T95" fmla="*/ 76 h 145"/>
                <a:gd name="T96" fmla="*/ 6 w 76"/>
                <a:gd name="T97" fmla="*/ 78 h 145"/>
                <a:gd name="T98" fmla="*/ 8 w 76"/>
                <a:gd name="T99" fmla="*/ 81 h 145"/>
                <a:gd name="T100" fmla="*/ 10 w 76"/>
                <a:gd name="T101" fmla="*/ 78 h 145"/>
                <a:gd name="T102" fmla="*/ 13 w 76"/>
                <a:gd name="T103" fmla="*/ 77 h 145"/>
                <a:gd name="T104" fmla="*/ 10 w 76"/>
                <a:gd name="T105" fmla="*/ 84 h 145"/>
                <a:gd name="T106" fmla="*/ 8 w 76"/>
                <a:gd name="T107" fmla="*/ 88 h 145"/>
                <a:gd name="T108" fmla="*/ 10 w 76"/>
                <a:gd name="T109" fmla="*/ 10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6" h="145">
                  <a:moveTo>
                    <a:pt x="10" y="105"/>
                  </a:moveTo>
                  <a:lnTo>
                    <a:pt x="10" y="105"/>
                  </a:lnTo>
                  <a:lnTo>
                    <a:pt x="9" y="104"/>
                  </a:lnTo>
                  <a:lnTo>
                    <a:pt x="8" y="101"/>
                  </a:lnTo>
                  <a:lnTo>
                    <a:pt x="9" y="94"/>
                  </a:lnTo>
                  <a:lnTo>
                    <a:pt x="9" y="94"/>
                  </a:lnTo>
                  <a:lnTo>
                    <a:pt x="6" y="94"/>
                  </a:lnTo>
                  <a:lnTo>
                    <a:pt x="5" y="94"/>
                  </a:lnTo>
                  <a:lnTo>
                    <a:pt x="3" y="94"/>
                  </a:lnTo>
                  <a:lnTo>
                    <a:pt x="0" y="94"/>
                  </a:lnTo>
                  <a:lnTo>
                    <a:pt x="0" y="94"/>
                  </a:lnTo>
                  <a:lnTo>
                    <a:pt x="2" y="88"/>
                  </a:lnTo>
                  <a:lnTo>
                    <a:pt x="2" y="83"/>
                  </a:lnTo>
                  <a:lnTo>
                    <a:pt x="2" y="83"/>
                  </a:lnTo>
                  <a:lnTo>
                    <a:pt x="0" y="73"/>
                  </a:lnTo>
                  <a:lnTo>
                    <a:pt x="0" y="73"/>
                  </a:lnTo>
                  <a:lnTo>
                    <a:pt x="2" y="73"/>
                  </a:lnTo>
                  <a:lnTo>
                    <a:pt x="3" y="73"/>
                  </a:lnTo>
                  <a:lnTo>
                    <a:pt x="6" y="70"/>
                  </a:lnTo>
                  <a:lnTo>
                    <a:pt x="12" y="58"/>
                  </a:lnTo>
                  <a:lnTo>
                    <a:pt x="12" y="58"/>
                  </a:lnTo>
                  <a:lnTo>
                    <a:pt x="16" y="51"/>
                  </a:lnTo>
                  <a:lnTo>
                    <a:pt x="16" y="51"/>
                  </a:lnTo>
                  <a:lnTo>
                    <a:pt x="20" y="46"/>
                  </a:lnTo>
                  <a:lnTo>
                    <a:pt x="20" y="46"/>
                  </a:lnTo>
                  <a:lnTo>
                    <a:pt x="25" y="41"/>
                  </a:lnTo>
                  <a:lnTo>
                    <a:pt x="28" y="40"/>
                  </a:lnTo>
                  <a:lnTo>
                    <a:pt x="29" y="40"/>
                  </a:lnTo>
                  <a:lnTo>
                    <a:pt x="29" y="40"/>
                  </a:lnTo>
                  <a:lnTo>
                    <a:pt x="29" y="37"/>
                  </a:lnTo>
                  <a:lnTo>
                    <a:pt x="30" y="33"/>
                  </a:lnTo>
                  <a:lnTo>
                    <a:pt x="30" y="33"/>
                  </a:lnTo>
                  <a:lnTo>
                    <a:pt x="33" y="31"/>
                  </a:lnTo>
                  <a:lnTo>
                    <a:pt x="38" y="28"/>
                  </a:lnTo>
                  <a:lnTo>
                    <a:pt x="40" y="26"/>
                  </a:lnTo>
                  <a:lnTo>
                    <a:pt x="43" y="21"/>
                  </a:lnTo>
                  <a:lnTo>
                    <a:pt x="43" y="21"/>
                  </a:lnTo>
                  <a:lnTo>
                    <a:pt x="48" y="18"/>
                  </a:lnTo>
                  <a:lnTo>
                    <a:pt x="52" y="16"/>
                  </a:lnTo>
                  <a:lnTo>
                    <a:pt x="60" y="8"/>
                  </a:lnTo>
                  <a:lnTo>
                    <a:pt x="69" y="3"/>
                  </a:lnTo>
                  <a:lnTo>
                    <a:pt x="72" y="0"/>
                  </a:lnTo>
                  <a:lnTo>
                    <a:pt x="76" y="0"/>
                  </a:lnTo>
                  <a:lnTo>
                    <a:pt x="76" y="0"/>
                  </a:lnTo>
                  <a:lnTo>
                    <a:pt x="75" y="3"/>
                  </a:lnTo>
                  <a:lnTo>
                    <a:pt x="73" y="7"/>
                  </a:lnTo>
                  <a:lnTo>
                    <a:pt x="73" y="10"/>
                  </a:lnTo>
                  <a:lnTo>
                    <a:pt x="73" y="11"/>
                  </a:lnTo>
                  <a:lnTo>
                    <a:pt x="73" y="11"/>
                  </a:lnTo>
                  <a:lnTo>
                    <a:pt x="73" y="11"/>
                  </a:lnTo>
                  <a:lnTo>
                    <a:pt x="70" y="21"/>
                  </a:lnTo>
                  <a:lnTo>
                    <a:pt x="65" y="34"/>
                  </a:lnTo>
                  <a:lnTo>
                    <a:pt x="65" y="34"/>
                  </a:lnTo>
                  <a:lnTo>
                    <a:pt x="52" y="60"/>
                  </a:lnTo>
                  <a:lnTo>
                    <a:pt x="52" y="60"/>
                  </a:lnTo>
                  <a:lnTo>
                    <a:pt x="46" y="73"/>
                  </a:lnTo>
                  <a:lnTo>
                    <a:pt x="43" y="86"/>
                  </a:lnTo>
                  <a:lnTo>
                    <a:pt x="43" y="91"/>
                  </a:lnTo>
                  <a:lnTo>
                    <a:pt x="43" y="97"/>
                  </a:lnTo>
                  <a:lnTo>
                    <a:pt x="45" y="103"/>
                  </a:lnTo>
                  <a:lnTo>
                    <a:pt x="46" y="108"/>
                  </a:lnTo>
                  <a:lnTo>
                    <a:pt x="46" y="108"/>
                  </a:lnTo>
                  <a:lnTo>
                    <a:pt x="48" y="107"/>
                  </a:lnTo>
                  <a:lnTo>
                    <a:pt x="48" y="104"/>
                  </a:lnTo>
                  <a:lnTo>
                    <a:pt x="46" y="100"/>
                  </a:lnTo>
                  <a:lnTo>
                    <a:pt x="46" y="100"/>
                  </a:lnTo>
                  <a:lnTo>
                    <a:pt x="45" y="94"/>
                  </a:lnTo>
                  <a:lnTo>
                    <a:pt x="46" y="90"/>
                  </a:lnTo>
                  <a:lnTo>
                    <a:pt x="48" y="86"/>
                  </a:lnTo>
                  <a:lnTo>
                    <a:pt x="48" y="86"/>
                  </a:lnTo>
                  <a:lnTo>
                    <a:pt x="49" y="93"/>
                  </a:lnTo>
                  <a:lnTo>
                    <a:pt x="53" y="97"/>
                  </a:lnTo>
                  <a:lnTo>
                    <a:pt x="56" y="103"/>
                  </a:lnTo>
                  <a:lnTo>
                    <a:pt x="57" y="111"/>
                  </a:lnTo>
                  <a:lnTo>
                    <a:pt x="57" y="111"/>
                  </a:lnTo>
                  <a:lnTo>
                    <a:pt x="59" y="111"/>
                  </a:lnTo>
                  <a:lnTo>
                    <a:pt x="59" y="110"/>
                  </a:lnTo>
                  <a:lnTo>
                    <a:pt x="60" y="107"/>
                  </a:lnTo>
                  <a:lnTo>
                    <a:pt x="62" y="104"/>
                  </a:lnTo>
                  <a:lnTo>
                    <a:pt x="62" y="103"/>
                  </a:lnTo>
                  <a:lnTo>
                    <a:pt x="65" y="104"/>
                  </a:lnTo>
                  <a:lnTo>
                    <a:pt x="65" y="104"/>
                  </a:lnTo>
                  <a:lnTo>
                    <a:pt x="65" y="107"/>
                  </a:lnTo>
                  <a:lnTo>
                    <a:pt x="63" y="108"/>
                  </a:lnTo>
                  <a:lnTo>
                    <a:pt x="62" y="111"/>
                  </a:lnTo>
                  <a:lnTo>
                    <a:pt x="62" y="115"/>
                  </a:lnTo>
                  <a:lnTo>
                    <a:pt x="62" y="115"/>
                  </a:lnTo>
                  <a:lnTo>
                    <a:pt x="59" y="113"/>
                  </a:lnTo>
                  <a:lnTo>
                    <a:pt x="56" y="113"/>
                  </a:lnTo>
                  <a:lnTo>
                    <a:pt x="53" y="115"/>
                  </a:lnTo>
                  <a:lnTo>
                    <a:pt x="52" y="118"/>
                  </a:lnTo>
                  <a:lnTo>
                    <a:pt x="50" y="127"/>
                  </a:lnTo>
                  <a:lnTo>
                    <a:pt x="49" y="134"/>
                  </a:lnTo>
                  <a:lnTo>
                    <a:pt x="49" y="134"/>
                  </a:lnTo>
                  <a:lnTo>
                    <a:pt x="48" y="133"/>
                  </a:lnTo>
                  <a:lnTo>
                    <a:pt x="48" y="131"/>
                  </a:lnTo>
                  <a:lnTo>
                    <a:pt x="46" y="130"/>
                  </a:lnTo>
                  <a:lnTo>
                    <a:pt x="43" y="130"/>
                  </a:lnTo>
                  <a:lnTo>
                    <a:pt x="43" y="130"/>
                  </a:lnTo>
                  <a:lnTo>
                    <a:pt x="45" y="125"/>
                  </a:lnTo>
                  <a:lnTo>
                    <a:pt x="46" y="123"/>
                  </a:lnTo>
                  <a:lnTo>
                    <a:pt x="48" y="118"/>
                  </a:lnTo>
                  <a:lnTo>
                    <a:pt x="48" y="115"/>
                  </a:lnTo>
                  <a:lnTo>
                    <a:pt x="48" y="115"/>
                  </a:lnTo>
                  <a:lnTo>
                    <a:pt x="43" y="117"/>
                  </a:lnTo>
                  <a:lnTo>
                    <a:pt x="40" y="120"/>
                  </a:lnTo>
                  <a:lnTo>
                    <a:pt x="39" y="124"/>
                  </a:lnTo>
                  <a:lnTo>
                    <a:pt x="38" y="127"/>
                  </a:lnTo>
                  <a:lnTo>
                    <a:pt x="38" y="127"/>
                  </a:lnTo>
                  <a:lnTo>
                    <a:pt x="36" y="135"/>
                  </a:lnTo>
                  <a:lnTo>
                    <a:pt x="35" y="145"/>
                  </a:lnTo>
                  <a:lnTo>
                    <a:pt x="35" y="145"/>
                  </a:lnTo>
                  <a:lnTo>
                    <a:pt x="35" y="140"/>
                  </a:lnTo>
                  <a:lnTo>
                    <a:pt x="33" y="135"/>
                  </a:lnTo>
                  <a:lnTo>
                    <a:pt x="28" y="125"/>
                  </a:lnTo>
                  <a:lnTo>
                    <a:pt x="28" y="125"/>
                  </a:lnTo>
                  <a:lnTo>
                    <a:pt x="23" y="114"/>
                  </a:lnTo>
                  <a:lnTo>
                    <a:pt x="20" y="103"/>
                  </a:lnTo>
                  <a:lnTo>
                    <a:pt x="20" y="103"/>
                  </a:lnTo>
                  <a:lnTo>
                    <a:pt x="22" y="97"/>
                  </a:lnTo>
                  <a:lnTo>
                    <a:pt x="23" y="91"/>
                  </a:lnTo>
                  <a:lnTo>
                    <a:pt x="22" y="87"/>
                  </a:lnTo>
                  <a:lnTo>
                    <a:pt x="20" y="86"/>
                  </a:lnTo>
                  <a:lnTo>
                    <a:pt x="18" y="84"/>
                  </a:lnTo>
                  <a:lnTo>
                    <a:pt x="18" y="84"/>
                  </a:lnTo>
                  <a:lnTo>
                    <a:pt x="20" y="83"/>
                  </a:lnTo>
                  <a:lnTo>
                    <a:pt x="22" y="81"/>
                  </a:lnTo>
                  <a:lnTo>
                    <a:pt x="23" y="80"/>
                  </a:lnTo>
                  <a:lnTo>
                    <a:pt x="25" y="77"/>
                  </a:lnTo>
                  <a:lnTo>
                    <a:pt x="25" y="77"/>
                  </a:lnTo>
                  <a:lnTo>
                    <a:pt x="23" y="74"/>
                  </a:lnTo>
                  <a:lnTo>
                    <a:pt x="20" y="73"/>
                  </a:lnTo>
                  <a:lnTo>
                    <a:pt x="20" y="70"/>
                  </a:lnTo>
                  <a:lnTo>
                    <a:pt x="22" y="64"/>
                  </a:lnTo>
                  <a:lnTo>
                    <a:pt x="22" y="64"/>
                  </a:lnTo>
                  <a:lnTo>
                    <a:pt x="20" y="60"/>
                  </a:lnTo>
                  <a:lnTo>
                    <a:pt x="18" y="58"/>
                  </a:lnTo>
                  <a:lnTo>
                    <a:pt x="18" y="58"/>
                  </a:lnTo>
                  <a:lnTo>
                    <a:pt x="15" y="60"/>
                  </a:lnTo>
                  <a:lnTo>
                    <a:pt x="13" y="63"/>
                  </a:lnTo>
                  <a:lnTo>
                    <a:pt x="10" y="70"/>
                  </a:lnTo>
                  <a:lnTo>
                    <a:pt x="9" y="76"/>
                  </a:lnTo>
                  <a:lnTo>
                    <a:pt x="8" y="77"/>
                  </a:lnTo>
                  <a:lnTo>
                    <a:pt x="6" y="76"/>
                  </a:lnTo>
                  <a:lnTo>
                    <a:pt x="6" y="76"/>
                  </a:lnTo>
                  <a:lnTo>
                    <a:pt x="5" y="77"/>
                  </a:lnTo>
                  <a:lnTo>
                    <a:pt x="6" y="78"/>
                  </a:lnTo>
                  <a:lnTo>
                    <a:pt x="8" y="80"/>
                  </a:lnTo>
                  <a:lnTo>
                    <a:pt x="8" y="81"/>
                  </a:lnTo>
                  <a:lnTo>
                    <a:pt x="8" y="81"/>
                  </a:lnTo>
                  <a:lnTo>
                    <a:pt x="9" y="81"/>
                  </a:lnTo>
                  <a:lnTo>
                    <a:pt x="9" y="81"/>
                  </a:lnTo>
                  <a:lnTo>
                    <a:pt x="10" y="78"/>
                  </a:lnTo>
                  <a:lnTo>
                    <a:pt x="10" y="77"/>
                  </a:lnTo>
                  <a:lnTo>
                    <a:pt x="13" y="77"/>
                  </a:lnTo>
                  <a:lnTo>
                    <a:pt x="13" y="77"/>
                  </a:lnTo>
                  <a:lnTo>
                    <a:pt x="15" y="80"/>
                  </a:lnTo>
                  <a:lnTo>
                    <a:pt x="13" y="83"/>
                  </a:lnTo>
                  <a:lnTo>
                    <a:pt x="10" y="84"/>
                  </a:lnTo>
                  <a:lnTo>
                    <a:pt x="8" y="83"/>
                  </a:lnTo>
                  <a:lnTo>
                    <a:pt x="8" y="83"/>
                  </a:lnTo>
                  <a:lnTo>
                    <a:pt x="8" y="88"/>
                  </a:lnTo>
                  <a:lnTo>
                    <a:pt x="9" y="94"/>
                  </a:lnTo>
                  <a:lnTo>
                    <a:pt x="10" y="98"/>
                  </a:lnTo>
                  <a:lnTo>
                    <a:pt x="10" y="10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6" name="Freeform 547"/>
            <p:cNvSpPr/>
            <p:nvPr/>
          </p:nvSpPr>
          <p:spPr bwMode="auto">
            <a:xfrm>
              <a:off x="1390055" y="2627281"/>
              <a:ext cx="233453" cy="448475"/>
            </a:xfrm>
            <a:custGeom>
              <a:avLst/>
              <a:gdLst>
                <a:gd name="T0" fmla="*/ 9 w 76"/>
                <a:gd name="T1" fmla="*/ 104 h 145"/>
                <a:gd name="T2" fmla="*/ 9 w 76"/>
                <a:gd name="T3" fmla="*/ 94 h 145"/>
                <a:gd name="T4" fmla="*/ 3 w 76"/>
                <a:gd name="T5" fmla="*/ 94 h 145"/>
                <a:gd name="T6" fmla="*/ 2 w 76"/>
                <a:gd name="T7" fmla="*/ 88 h 145"/>
                <a:gd name="T8" fmla="*/ 0 w 76"/>
                <a:gd name="T9" fmla="*/ 73 h 145"/>
                <a:gd name="T10" fmla="*/ 3 w 76"/>
                <a:gd name="T11" fmla="*/ 73 h 145"/>
                <a:gd name="T12" fmla="*/ 12 w 76"/>
                <a:gd name="T13" fmla="*/ 58 h 145"/>
                <a:gd name="T14" fmla="*/ 20 w 76"/>
                <a:gd name="T15" fmla="*/ 46 h 145"/>
                <a:gd name="T16" fmla="*/ 28 w 76"/>
                <a:gd name="T17" fmla="*/ 40 h 145"/>
                <a:gd name="T18" fmla="*/ 29 w 76"/>
                <a:gd name="T19" fmla="*/ 37 h 145"/>
                <a:gd name="T20" fmla="*/ 33 w 76"/>
                <a:gd name="T21" fmla="*/ 31 h 145"/>
                <a:gd name="T22" fmla="*/ 43 w 76"/>
                <a:gd name="T23" fmla="*/ 21 h 145"/>
                <a:gd name="T24" fmla="*/ 52 w 76"/>
                <a:gd name="T25" fmla="*/ 16 h 145"/>
                <a:gd name="T26" fmla="*/ 72 w 76"/>
                <a:gd name="T27" fmla="*/ 0 h 145"/>
                <a:gd name="T28" fmla="*/ 75 w 76"/>
                <a:gd name="T29" fmla="*/ 3 h 145"/>
                <a:gd name="T30" fmla="*/ 73 w 76"/>
                <a:gd name="T31" fmla="*/ 11 h 145"/>
                <a:gd name="T32" fmla="*/ 70 w 76"/>
                <a:gd name="T33" fmla="*/ 21 h 145"/>
                <a:gd name="T34" fmla="*/ 52 w 76"/>
                <a:gd name="T35" fmla="*/ 60 h 145"/>
                <a:gd name="T36" fmla="*/ 43 w 76"/>
                <a:gd name="T37" fmla="*/ 86 h 145"/>
                <a:gd name="T38" fmla="*/ 45 w 76"/>
                <a:gd name="T39" fmla="*/ 103 h 145"/>
                <a:gd name="T40" fmla="*/ 48 w 76"/>
                <a:gd name="T41" fmla="*/ 107 h 145"/>
                <a:gd name="T42" fmla="*/ 46 w 76"/>
                <a:gd name="T43" fmla="*/ 100 h 145"/>
                <a:gd name="T44" fmla="*/ 48 w 76"/>
                <a:gd name="T45" fmla="*/ 86 h 145"/>
                <a:gd name="T46" fmla="*/ 53 w 76"/>
                <a:gd name="T47" fmla="*/ 97 h 145"/>
                <a:gd name="T48" fmla="*/ 57 w 76"/>
                <a:gd name="T49" fmla="*/ 111 h 145"/>
                <a:gd name="T50" fmla="*/ 60 w 76"/>
                <a:gd name="T51" fmla="*/ 107 h 145"/>
                <a:gd name="T52" fmla="*/ 65 w 76"/>
                <a:gd name="T53" fmla="*/ 104 h 145"/>
                <a:gd name="T54" fmla="*/ 63 w 76"/>
                <a:gd name="T55" fmla="*/ 108 h 145"/>
                <a:gd name="T56" fmla="*/ 62 w 76"/>
                <a:gd name="T57" fmla="*/ 115 h 145"/>
                <a:gd name="T58" fmla="*/ 53 w 76"/>
                <a:gd name="T59" fmla="*/ 115 h 145"/>
                <a:gd name="T60" fmla="*/ 49 w 76"/>
                <a:gd name="T61" fmla="*/ 134 h 145"/>
                <a:gd name="T62" fmla="*/ 48 w 76"/>
                <a:gd name="T63" fmla="*/ 131 h 145"/>
                <a:gd name="T64" fmla="*/ 43 w 76"/>
                <a:gd name="T65" fmla="*/ 130 h 145"/>
                <a:gd name="T66" fmla="*/ 48 w 76"/>
                <a:gd name="T67" fmla="*/ 118 h 145"/>
                <a:gd name="T68" fmla="*/ 43 w 76"/>
                <a:gd name="T69" fmla="*/ 117 h 145"/>
                <a:gd name="T70" fmla="*/ 38 w 76"/>
                <a:gd name="T71" fmla="*/ 127 h 145"/>
                <a:gd name="T72" fmla="*/ 35 w 76"/>
                <a:gd name="T73" fmla="*/ 145 h 145"/>
                <a:gd name="T74" fmla="*/ 33 w 76"/>
                <a:gd name="T75" fmla="*/ 135 h 145"/>
                <a:gd name="T76" fmla="*/ 23 w 76"/>
                <a:gd name="T77" fmla="*/ 114 h 145"/>
                <a:gd name="T78" fmla="*/ 22 w 76"/>
                <a:gd name="T79" fmla="*/ 97 h 145"/>
                <a:gd name="T80" fmla="*/ 20 w 76"/>
                <a:gd name="T81" fmla="*/ 86 h 145"/>
                <a:gd name="T82" fmla="*/ 20 w 76"/>
                <a:gd name="T83" fmla="*/ 83 h 145"/>
                <a:gd name="T84" fmla="*/ 25 w 76"/>
                <a:gd name="T85" fmla="*/ 77 h 145"/>
                <a:gd name="T86" fmla="*/ 20 w 76"/>
                <a:gd name="T87" fmla="*/ 73 h 145"/>
                <a:gd name="T88" fmla="*/ 22 w 76"/>
                <a:gd name="T89" fmla="*/ 64 h 145"/>
                <a:gd name="T90" fmla="*/ 18 w 76"/>
                <a:gd name="T91" fmla="*/ 58 h 145"/>
                <a:gd name="T92" fmla="*/ 10 w 76"/>
                <a:gd name="T93" fmla="*/ 70 h 145"/>
                <a:gd name="T94" fmla="*/ 6 w 76"/>
                <a:gd name="T95" fmla="*/ 76 h 145"/>
                <a:gd name="T96" fmla="*/ 6 w 76"/>
                <a:gd name="T97" fmla="*/ 78 h 145"/>
                <a:gd name="T98" fmla="*/ 8 w 76"/>
                <a:gd name="T99" fmla="*/ 81 h 145"/>
                <a:gd name="T100" fmla="*/ 10 w 76"/>
                <a:gd name="T101" fmla="*/ 78 h 145"/>
                <a:gd name="T102" fmla="*/ 13 w 76"/>
                <a:gd name="T103" fmla="*/ 77 h 145"/>
                <a:gd name="T104" fmla="*/ 10 w 76"/>
                <a:gd name="T105" fmla="*/ 84 h 145"/>
                <a:gd name="T106" fmla="*/ 8 w 76"/>
                <a:gd name="T107" fmla="*/ 88 h 145"/>
                <a:gd name="T108" fmla="*/ 10 w 76"/>
                <a:gd name="T109" fmla="*/ 10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6" h="145">
                  <a:moveTo>
                    <a:pt x="10" y="105"/>
                  </a:moveTo>
                  <a:lnTo>
                    <a:pt x="10" y="105"/>
                  </a:lnTo>
                  <a:lnTo>
                    <a:pt x="9" y="104"/>
                  </a:lnTo>
                  <a:lnTo>
                    <a:pt x="8" y="101"/>
                  </a:lnTo>
                  <a:lnTo>
                    <a:pt x="9" y="94"/>
                  </a:lnTo>
                  <a:lnTo>
                    <a:pt x="9" y="94"/>
                  </a:lnTo>
                  <a:lnTo>
                    <a:pt x="6" y="94"/>
                  </a:lnTo>
                  <a:lnTo>
                    <a:pt x="5" y="94"/>
                  </a:lnTo>
                  <a:lnTo>
                    <a:pt x="3" y="94"/>
                  </a:lnTo>
                  <a:lnTo>
                    <a:pt x="0" y="94"/>
                  </a:lnTo>
                  <a:lnTo>
                    <a:pt x="0" y="94"/>
                  </a:lnTo>
                  <a:lnTo>
                    <a:pt x="2" y="88"/>
                  </a:lnTo>
                  <a:lnTo>
                    <a:pt x="2" y="83"/>
                  </a:lnTo>
                  <a:lnTo>
                    <a:pt x="2" y="83"/>
                  </a:lnTo>
                  <a:lnTo>
                    <a:pt x="0" y="73"/>
                  </a:lnTo>
                  <a:lnTo>
                    <a:pt x="0" y="73"/>
                  </a:lnTo>
                  <a:lnTo>
                    <a:pt x="2" y="73"/>
                  </a:lnTo>
                  <a:lnTo>
                    <a:pt x="3" y="73"/>
                  </a:lnTo>
                  <a:lnTo>
                    <a:pt x="6" y="70"/>
                  </a:lnTo>
                  <a:lnTo>
                    <a:pt x="12" y="58"/>
                  </a:lnTo>
                  <a:lnTo>
                    <a:pt x="12" y="58"/>
                  </a:lnTo>
                  <a:lnTo>
                    <a:pt x="16" y="51"/>
                  </a:lnTo>
                  <a:lnTo>
                    <a:pt x="16" y="51"/>
                  </a:lnTo>
                  <a:lnTo>
                    <a:pt x="20" y="46"/>
                  </a:lnTo>
                  <a:lnTo>
                    <a:pt x="20" y="46"/>
                  </a:lnTo>
                  <a:lnTo>
                    <a:pt x="25" y="41"/>
                  </a:lnTo>
                  <a:lnTo>
                    <a:pt x="28" y="40"/>
                  </a:lnTo>
                  <a:lnTo>
                    <a:pt x="29" y="40"/>
                  </a:lnTo>
                  <a:lnTo>
                    <a:pt x="29" y="40"/>
                  </a:lnTo>
                  <a:lnTo>
                    <a:pt x="29" y="37"/>
                  </a:lnTo>
                  <a:lnTo>
                    <a:pt x="30" y="33"/>
                  </a:lnTo>
                  <a:lnTo>
                    <a:pt x="30" y="33"/>
                  </a:lnTo>
                  <a:lnTo>
                    <a:pt x="33" y="31"/>
                  </a:lnTo>
                  <a:lnTo>
                    <a:pt x="38" y="28"/>
                  </a:lnTo>
                  <a:lnTo>
                    <a:pt x="40" y="26"/>
                  </a:lnTo>
                  <a:lnTo>
                    <a:pt x="43" y="21"/>
                  </a:lnTo>
                  <a:lnTo>
                    <a:pt x="43" y="21"/>
                  </a:lnTo>
                  <a:lnTo>
                    <a:pt x="48" y="18"/>
                  </a:lnTo>
                  <a:lnTo>
                    <a:pt x="52" y="16"/>
                  </a:lnTo>
                  <a:lnTo>
                    <a:pt x="60" y="8"/>
                  </a:lnTo>
                  <a:lnTo>
                    <a:pt x="69" y="3"/>
                  </a:lnTo>
                  <a:lnTo>
                    <a:pt x="72" y="0"/>
                  </a:lnTo>
                  <a:lnTo>
                    <a:pt x="76" y="0"/>
                  </a:lnTo>
                  <a:lnTo>
                    <a:pt x="76" y="0"/>
                  </a:lnTo>
                  <a:lnTo>
                    <a:pt x="75" y="3"/>
                  </a:lnTo>
                  <a:lnTo>
                    <a:pt x="73" y="7"/>
                  </a:lnTo>
                  <a:lnTo>
                    <a:pt x="73" y="10"/>
                  </a:lnTo>
                  <a:lnTo>
                    <a:pt x="73" y="11"/>
                  </a:lnTo>
                  <a:lnTo>
                    <a:pt x="73" y="11"/>
                  </a:lnTo>
                  <a:lnTo>
                    <a:pt x="73" y="11"/>
                  </a:lnTo>
                  <a:lnTo>
                    <a:pt x="70" y="21"/>
                  </a:lnTo>
                  <a:lnTo>
                    <a:pt x="65" y="34"/>
                  </a:lnTo>
                  <a:lnTo>
                    <a:pt x="65" y="34"/>
                  </a:lnTo>
                  <a:lnTo>
                    <a:pt x="52" y="60"/>
                  </a:lnTo>
                  <a:lnTo>
                    <a:pt x="52" y="60"/>
                  </a:lnTo>
                  <a:lnTo>
                    <a:pt x="46" y="73"/>
                  </a:lnTo>
                  <a:lnTo>
                    <a:pt x="43" y="86"/>
                  </a:lnTo>
                  <a:lnTo>
                    <a:pt x="43" y="91"/>
                  </a:lnTo>
                  <a:lnTo>
                    <a:pt x="43" y="97"/>
                  </a:lnTo>
                  <a:lnTo>
                    <a:pt x="45" y="103"/>
                  </a:lnTo>
                  <a:lnTo>
                    <a:pt x="46" y="108"/>
                  </a:lnTo>
                  <a:lnTo>
                    <a:pt x="46" y="108"/>
                  </a:lnTo>
                  <a:lnTo>
                    <a:pt x="48" y="107"/>
                  </a:lnTo>
                  <a:lnTo>
                    <a:pt x="48" y="104"/>
                  </a:lnTo>
                  <a:lnTo>
                    <a:pt x="46" y="100"/>
                  </a:lnTo>
                  <a:lnTo>
                    <a:pt x="46" y="100"/>
                  </a:lnTo>
                  <a:lnTo>
                    <a:pt x="45" y="94"/>
                  </a:lnTo>
                  <a:lnTo>
                    <a:pt x="46" y="90"/>
                  </a:lnTo>
                  <a:lnTo>
                    <a:pt x="48" y="86"/>
                  </a:lnTo>
                  <a:lnTo>
                    <a:pt x="48" y="86"/>
                  </a:lnTo>
                  <a:lnTo>
                    <a:pt x="49" y="93"/>
                  </a:lnTo>
                  <a:lnTo>
                    <a:pt x="53" y="97"/>
                  </a:lnTo>
                  <a:lnTo>
                    <a:pt x="56" y="103"/>
                  </a:lnTo>
                  <a:lnTo>
                    <a:pt x="57" y="111"/>
                  </a:lnTo>
                  <a:lnTo>
                    <a:pt x="57" y="111"/>
                  </a:lnTo>
                  <a:lnTo>
                    <a:pt x="59" y="111"/>
                  </a:lnTo>
                  <a:lnTo>
                    <a:pt x="59" y="110"/>
                  </a:lnTo>
                  <a:lnTo>
                    <a:pt x="60" y="107"/>
                  </a:lnTo>
                  <a:lnTo>
                    <a:pt x="62" y="104"/>
                  </a:lnTo>
                  <a:lnTo>
                    <a:pt x="62" y="103"/>
                  </a:lnTo>
                  <a:lnTo>
                    <a:pt x="65" y="104"/>
                  </a:lnTo>
                  <a:lnTo>
                    <a:pt x="65" y="104"/>
                  </a:lnTo>
                  <a:lnTo>
                    <a:pt x="65" y="107"/>
                  </a:lnTo>
                  <a:lnTo>
                    <a:pt x="63" y="108"/>
                  </a:lnTo>
                  <a:lnTo>
                    <a:pt x="62" y="111"/>
                  </a:lnTo>
                  <a:lnTo>
                    <a:pt x="62" y="115"/>
                  </a:lnTo>
                  <a:lnTo>
                    <a:pt x="62" y="115"/>
                  </a:lnTo>
                  <a:lnTo>
                    <a:pt x="59" y="113"/>
                  </a:lnTo>
                  <a:lnTo>
                    <a:pt x="56" y="113"/>
                  </a:lnTo>
                  <a:lnTo>
                    <a:pt x="53" y="115"/>
                  </a:lnTo>
                  <a:lnTo>
                    <a:pt x="52" y="118"/>
                  </a:lnTo>
                  <a:lnTo>
                    <a:pt x="50" y="127"/>
                  </a:lnTo>
                  <a:lnTo>
                    <a:pt x="49" y="134"/>
                  </a:lnTo>
                  <a:lnTo>
                    <a:pt x="49" y="134"/>
                  </a:lnTo>
                  <a:lnTo>
                    <a:pt x="48" y="133"/>
                  </a:lnTo>
                  <a:lnTo>
                    <a:pt x="48" y="131"/>
                  </a:lnTo>
                  <a:lnTo>
                    <a:pt x="46" y="130"/>
                  </a:lnTo>
                  <a:lnTo>
                    <a:pt x="43" y="130"/>
                  </a:lnTo>
                  <a:lnTo>
                    <a:pt x="43" y="130"/>
                  </a:lnTo>
                  <a:lnTo>
                    <a:pt x="45" y="125"/>
                  </a:lnTo>
                  <a:lnTo>
                    <a:pt x="46" y="123"/>
                  </a:lnTo>
                  <a:lnTo>
                    <a:pt x="48" y="118"/>
                  </a:lnTo>
                  <a:lnTo>
                    <a:pt x="48" y="115"/>
                  </a:lnTo>
                  <a:lnTo>
                    <a:pt x="48" y="115"/>
                  </a:lnTo>
                  <a:lnTo>
                    <a:pt x="43" y="117"/>
                  </a:lnTo>
                  <a:lnTo>
                    <a:pt x="40" y="120"/>
                  </a:lnTo>
                  <a:lnTo>
                    <a:pt x="39" y="124"/>
                  </a:lnTo>
                  <a:lnTo>
                    <a:pt x="38" y="127"/>
                  </a:lnTo>
                  <a:lnTo>
                    <a:pt x="38" y="127"/>
                  </a:lnTo>
                  <a:lnTo>
                    <a:pt x="36" y="135"/>
                  </a:lnTo>
                  <a:lnTo>
                    <a:pt x="35" y="145"/>
                  </a:lnTo>
                  <a:lnTo>
                    <a:pt x="35" y="145"/>
                  </a:lnTo>
                  <a:lnTo>
                    <a:pt x="35" y="140"/>
                  </a:lnTo>
                  <a:lnTo>
                    <a:pt x="33" y="135"/>
                  </a:lnTo>
                  <a:lnTo>
                    <a:pt x="28" y="125"/>
                  </a:lnTo>
                  <a:lnTo>
                    <a:pt x="28" y="125"/>
                  </a:lnTo>
                  <a:lnTo>
                    <a:pt x="23" y="114"/>
                  </a:lnTo>
                  <a:lnTo>
                    <a:pt x="20" y="103"/>
                  </a:lnTo>
                  <a:lnTo>
                    <a:pt x="20" y="103"/>
                  </a:lnTo>
                  <a:lnTo>
                    <a:pt x="22" y="97"/>
                  </a:lnTo>
                  <a:lnTo>
                    <a:pt x="23" y="91"/>
                  </a:lnTo>
                  <a:lnTo>
                    <a:pt x="22" y="87"/>
                  </a:lnTo>
                  <a:lnTo>
                    <a:pt x="20" y="86"/>
                  </a:lnTo>
                  <a:lnTo>
                    <a:pt x="18" y="84"/>
                  </a:lnTo>
                  <a:lnTo>
                    <a:pt x="18" y="84"/>
                  </a:lnTo>
                  <a:lnTo>
                    <a:pt x="20" y="83"/>
                  </a:lnTo>
                  <a:lnTo>
                    <a:pt x="22" y="81"/>
                  </a:lnTo>
                  <a:lnTo>
                    <a:pt x="23" y="80"/>
                  </a:lnTo>
                  <a:lnTo>
                    <a:pt x="25" y="77"/>
                  </a:lnTo>
                  <a:lnTo>
                    <a:pt x="25" y="77"/>
                  </a:lnTo>
                  <a:lnTo>
                    <a:pt x="23" y="74"/>
                  </a:lnTo>
                  <a:lnTo>
                    <a:pt x="20" y="73"/>
                  </a:lnTo>
                  <a:lnTo>
                    <a:pt x="20" y="70"/>
                  </a:lnTo>
                  <a:lnTo>
                    <a:pt x="22" y="64"/>
                  </a:lnTo>
                  <a:lnTo>
                    <a:pt x="22" y="64"/>
                  </a:lnTo>
                  <a:lnTo>
                    <a:pt x="20" y="60"/>
                  </a:lnTo>
                  <a:lnTo>
                    <a:pt x="18" y="58"/>
                  </a:lnTo>
                  <a:lnTo>
                    <a:pt x="18" y="58"/>
                  </a:lnTo>
                  <a:lnTo>
                    <a:pt x="15" y="60"/>
                  </a:lnTo>
                  <a:lnTo>
                    <a:pt x="13" y="63"/>
                  </a:lnTo>
                  <a:lnTo>
                    <a:pt x="10" y="70"/>
                  </a:lnTo>
                  <a:lnTo>
                    <a:pt x="9" y="76"/>
                  </a:lnTo>
                  <a:lnTo>
                    <a:pt x="8" y="77"/>
                  </a:lnTo>
                  <a:lnTo>
                    <a:pt x="6" y="76"/>
                  </a:lnTo>
                  <a:lnTo>
                    <a:pt x="6" y="76"/>
                  </a:lnTo>
                  <a:lnTo>
                    <a:pt x="5" y="77"/>
                  </a:lnTo>
                  <a:lnTo>
                    <a:pt x="6" y="78"/>
                  </a:lnTo>
                  <a:lnTo>
                    <a:pt x="8" y="80"/>
                  </a:lnTo>
                  <a:lnTo>
                    <a:pt x="8" y="81"/>
                  </a:lnTo>
                  <a:lnTo>
                    <a:pt x="8" y="81"/>
                  </a:lnTo>
                  <a:lnTo>
                    <a:pt x="9" y="81"/>
                  </a:lnTo>
                  <a:lnTo>
                    <a:pt x="9" y="81"/>
                  </a:lnTo>
                  <a:lnTo>
                    <a:pt x="10" y="78"/>
                  </a:lnTo>
                  <a:lnTo>
                    <a:pt x="10" y="77"/>
                  </a:lnTo>
                  <a:lnTo>
                    <a:pt x="13" y="77"/>
                  </a:lnTo>
                  <a:lnTo>
                    <a:pt x="13" y="77"/>
                  </a:lnTo>
                  <a:lnTo>
                    <a:pt x="15" y="80"/>
                  </a:lnTo>
                  <a:lnTo>
                    <a:pt x="13" y="83"/>
                  </a:lnTo>
                  <a:lnTo>
                    <a:pt x="10" y="84"/>
                  </a:lnTo>
                  <a:lnTo>
                    <a:pt x="8" y="83"/>
                  </a:lnTo>
                  <a:lnTo>
                    <a:pt x="8" y="83"/>
                  </a:lnTo>
                  <a:lnTo>
                    <a:pt x="8" y="88"/>
                  </a:lnTo>
                  <a:lnTo>
                    <a:pt x="9" y="94"/>
                  </a:lnTo>
                  <a:lnTo>
                    <a:pt x="10" y="98"/>
                  </a:lnTo>
                  <a:lnTo>
                    <a:pt x="10" y="10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7" name="Freeform 548"/>
            <p:cNvSpPr/>
            <p:nvPr/>
          </p:nvSpPr>
          <p:spPr bwMode="auto">
            <a:xfrm>
              <a:off x="1789387" y="3051181"/>
              <a:ext cx="30720" cy="24574"/>
            </a:xfrm>
            <a:custGeom>
              <a:avLst/>
              <a:gdLst>
                <a:gd name="T0" fmla="*/ 2 w 10"/>
                <a:gd name="T1" fmla="*/ 7 h 7"/>
                <a:gd name="T2" fmla="*/ 2 w 10"/>
                <a:gd name="T3" fmla="*/ 7 h 7"/>
                <a:gd name="T4" fmla="*/ 0 w 10"/>
                <a:gd name="T5" fmla="*/ 6 h 7"/>
                <a:gd name="T6" fmla="*/ 2 w 10"/>
                <a:gd name="T7" fmla="*/ 5 h 7"/>
                <a:gd name="T8" fmla="*/ 3 w 10"/>
                <a:gd name="T9" fmla="*/ 3 h 7"/>
                <a:gd name="T10" fmla="*/ 3 w 10"/>
                <a:gd name="T11" fmla="*/ 0 h 7"/>
                <a:gd name="T12" fmla="*/ 3 w 10"/>
                <a:gd name="T13" fmla="*/ 0 h 7"/>
                <a:gd name="T14" fmla="*/ 7 w 10"/>
                <a:gd name="T15" fmla="*/ 0 h 7"/>
                <a:gd name="T16" fmla="*/ 10 w 10"/>
                <a:gd name="T17" fmla="*/ 3 h 7"/>
                <a:gd name="T18" fmla="*/ 10 w 10"/>
                <a:gd name="T19" fmla="*/ 3 h 7"/>
                <a:gd name="T20" fmla="*/ 5 w 10"/>
                <a:gd name="T21" fmla="*/ 3 h 7"/>
                <a:gd name="T22" fmla="*/ 3 w 10"/>
                <a:gd name="T23" fmla="*/ 5 h 7"/>
                <a:gd name="T24" fmla="*/ 2 w 10"/>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7">
                  <a:moveTo>
                    <a:pt x="2" y="7"/>
                  </a:moveTo>
                  <a:lnTo>
                    <a:pt x="2" y="7"/>
                  </a:lnTo>
                  <a:lnTo>
                    <a:pt x="0" y="6"/>
                  </a:lnTo>
                  <a:lnTo>
                    <a:pt x="2" y="5"/>
                  </a:lnTo>
                  <a:lnTo>
                    <a:pt x="3" y="3"/>
                  </a:lnTo>
                  <a:lnTo>
                    <a:pt x="3" y="0"/>
                  </a:lnTo>
                  <a:lnTo>
                    <a:pt x="3" y="0"/>
                  </a:lnTo>
                  <a:lnTo>
                    <a:pt x="7" y="0"/>
                  </a:lnTo>
                  <a:lnTo>
                    <a:pt x="10" y="3"/>
                  </a:lnTo>
                  <a:lnTo>
                    <a:pt x="10" y="3"/>
                  </a:lnTo>
                  <a:lnTo>
                    <a:pt x="5" y="3"/>
                  </a:lnTo>
                  <a:lnTo>
                    <a:pt x="3" y="5"/>
                  </a:lnTo>
                  <a:lnTo>
                    <a:pt x="2" y="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8" name="Freeform 549"/>
            <p:cNvSpPr/>
            <p:nvPr/>
          </p:nvSpPr>
          <p:spPr bwMode="auto">
            <a:xfrm>
              <a:off x="1789387" y="3051181"/>
              <a:ext cx="30720" cy="24574"/>
            </a:xfrm>
            <a:custGeom>
              <a:avLst/>
              <a:gdLst>
                <a:gd name="T0" fmla="*/ 2 w 10"/>
                <a:gd name="T1" fmla="*/ 7 h 7"/>
                <a:gd name="T2" fmla="*/ 2 w 10"/>
                <a:gd name="T3" fmla="*/ 7 h 7"/>
                <a:gd name="T4" fmla="*/ 0 w 10"/>
                <a:gd name="T5" fmla="*/ 6 h 7"/>
                <a:gd name="T6" fmla="*/ 2 w 10"/>
                <a:gd name="T7" fmla="*/ 5 h 7"/>
                <a:gd name="T8" fmla="*/ 3 w 10"/>
                <a:gd name="T9" fmla="*/ 3 h 7"/>
                <a:gd name="T10" fmla="*/ 3 w 10"/>
                <a:gd name="T11" fmla="*/ 0 h 7"/>
                <a:gd name="T12" fmla="*/ 3 w 10"/>
                <a:gd name="T13" fmla="*/ 0 h 7"/>
                <a:gd name="T14" fmla="*/ 7 w 10"/>
                <a:gd name="T15" fmla="*/ 0 h 7"/>
                <a:gd name="T16" fmla="*/ 10 w 10"/>
                <a:gd name="T17" fmla="*/ 3 h 7"/>
                <a:gd name="T18" fmla="*/ 10 w 10"/>
                <a:gd name="T19" fmla="*/ 3 h 7"/>
                <a:gd name="T20" fmla="*/ 5 w 10"/>
                <a:gd name="T21" fmla="*/ 3 h 7"/>
                <a:gd name="T22" fmla="*/ 3 w 10"/>
                <a:gd name="T23" fmla="*/ 5 h 7"/>
                <a:gd name="T24" fmla="*/ 2 w 10"/>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7">
                  <a:moveTo>
                    <a:pt x="2" y="7"/>
                  </a:moveTo>
                  <a:lnTo>
                    <a:pt x="2" y="7"/>
                  </a:lnTo>
                  <a:lnTo>
                    <a:pt x="0" y="6"/>
                  </a:lnTo>
                  <a:lnTo>
                    <a:pt x="2" y="5"/>
                  </a:lnTo>
                  <a:lnTo>
                    <a:pt x="3" y="3"/>
                  </a:lnTo>
                  <a:lnTo>
                    <a:pt x="3" y="0"/>
                  </a:lnTo>
                  <a:lnTo>
                    <a:pt x="3" y="0"/>
                  </a:lnTo>
                  <a:lnTo>
                    <a:pt x="7" y="0"/>
                  </a:lnTo>
                  <a:lnTo>
                    <a:pt x="10" y="3"/>
                  </a:lnTo>
                  <a:lnTo>
                    <a:pt x="10" y="3"/>
                  </a:lnTo>
                  <a:lnTo>
                    <a:pt x="5" y="3"/>
                  </a:lnTo>
                  <a:lnTo>
                    <a:pt x="3" y="5"/>
                  </a:lnTo>
                  <a:lnTo>
                    <a:pt x="2"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9" name="Freeform 550"/>
            <p:cNvSpPr/>
            <p:nvPr/>
          </p:nvSpPr>
          <p:spPr bwMode="auto">
            <a:xfrm>
              <a:off x="1826248" y="2842302"/>
              <a:ext cx="24574" cy="49148"/>
            </a:xfrm>
            <a:custGeom>
              <a:avLst/>
              <a:gdLst>
                <a:gd name="T0" fmla="*/ 0 w 9"/>
                <a:gd name="T1" fmla="*/ 16 h 16"/>
                <a:gd name="T2" fmla="*/ 0 w 9"/>
                <a:gd name="T3" fmla="*/ 16 h 16"/>
                <a:gd name="T4" fmla="*/ 3 w 9"/>
                <a:gd name="T5" fmla="*/ 8 h 16"/>
                <a:gd name="T6" fmla="*/ 6 w 9"/>
                <a:gd name="T7" fmla="*/ 4 h 16"/>
                <a:gd name="T8" fmla="*/ 9 w 9"/>
                <a:gd name="T9" fmla="*/ 0 h 16"/>
                <a:gd name="T10" fmla="*/ 9 w 9"/>
                <a:gd name="T11" fmla="*/ 0 h 16"/>
                <a:gd name="T12" fmla="*/ 6 w 9"/>
                <a:gd name="T13" fmla="*/ 8 h 16"/>
                <a:gd name="T14" fmla="*/ 4 w 9"/>
                <a:gd name="T15" fmla="*/ 14 h 16"/>
                <a:gd name="T16" fmla="*/ 2 w 9"/>
                <a:gd name="T17" fmla="*/ 16 h 16"/>
                <a:gd name="T18" fmla="*/ 0 w 9"/>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6">
                  <a:moveTo>
                    <a:pt x="0" y="16"/>
                  </a:moveTo>
                  <a:lnTo>
                    <a:pt x="0" y="16"/>
                  </a:lnTo>
                  <a:lnTo>
                    <a:pt x="3" y="8"/>
                  </a:lnTo>
                  <a:lnTo>
                    <a:pt x="6" y="4"/>
                  </a:lnTo>
                  <a:lnTo>
                    <a:pt x="9" y="0"/>
                  </a:lnTo>
                  <a:lnTo>
                    <a:pt x="9" y="0"/>
                  </a:lnTo>
                  <a:lnTo>
                    <a:pt x="6" y="8"/>
                  </a:lnTo>
                  <a:lnTo>
                    <a:pt x="4" y="14"/>
                  </a:lnTo>
                  <a:lnTo>
                    <a:pt x="2" y="16"/>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0" name="Freeform 551"/>
            <p:cNvSpPr/>
            <p:nvPr/>
          </p:nvSpPr>
          <p:spPr bwMode="auto">
            <a:xfrm>
              <a:off x="1826248" y="2842302"/>
              <a:ext cx="24574" cy="49148"/>
            </a:xfrm>
            <a:custGeom>
              <a:avLst/>
              <a:gdLst>
                <a:gd name="T0" fmla="*/ 0 w 9"/>
                <a:gd name="T1" fmla="*/ 16 h 16"/>
                <a:gd name="T2" fmla="*/ 0 w 9"/>
                <a:gd name="T3" fmla="*/ 16 h 16"/>
                <a:gd name="T4" fmla="*/ 3 w 9"/>
                <a:gd name="T5" fmla="*/ 8 h 16"/>
                <a:gd name="T6" fmla="*/ 6 w 9"/>
                <a:gd name="T7" fmla="*/ 4 h 16"/>
                <a:gd name="T8" fmla="*/ 9 w 9"/>
                <a:gd name="T9" fmla="*/ 0 h 16"/>
                <a:gd name="T10" fmla="*/ 9 w 9"/>
                <a:gd name="T11" fmla="*/ 0 h 16"/>
                <a:gd name="T12" fmla="*/ 6 w 9"/>
                <a:gd name="T13" fmla="*/ 8 h 16"/>
                <a:gd name="T14" fmla="*/ 4 w 9"/>
                <a:gd name="T15" fmla="*/ 14 h 16"/>
                <a:gd name="T16" fmla="*/ 2 w 9"/>
                <a:gd name="T17" fmla="*/ 16 h 16"/>
                <a:gd name="T18" fmla="*/ 0 w 9"/>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6">
                  <a:moveTo>
                    <a:pt x="0" y="16"/>
                  </a:moveTo>
                  <a:lnTo>
                    <a:pt x="0" y="16"/>
                  </a:lnTo>
                  <a:lnTo>
                    <a:pt x="3" y="8"/>
                  </a:lnTo>
                  <a:lnTo>
                    <a:pt x="6" y="4"/>
                  </a:lnTo>
                  <a:lnTo>
                    <a:pt x="9" y="0"/>
                  </a:lnTo>
                  <a:lnTo>
                    <a:pt x="9" y="0"/>
                  </a:lnTo>
                  <a:lnTo>
                    <a:pt x="6" y="8"/>
                  </a:lnTo>
                  <a:lnTo>
                    <a:pt x="4" y="14"/>
                  </a:lnTo>
                  <a:lnTo>
                    <a:pt x="2" y="16"/>
                  </a:lnTo>
                  <a:lnTo>
                    <a:pt x="0" y="1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1" name="Freeform 552"/>
            <p:cNvSpPr/>
            <p:nvPr/>
          </p:nvSpPr>
          <p:spPr bwMode="auto">
            <a:xfrm>
              <a:off x="2747776" y="3106476"/>
              <a:ext cx="30720" cy="6142"/>
            </a:xfrm>
            <a:custGeom>
              <a:avLst/>
              <a:gdLst>
                <a:gd name="T0" fmla="*/ 0 w 10"/>
                <a:gd name="T1" fmla="*/ 2 h 3"/>
                <a:gd name="T2" fmla="*/ 0 w 10"/>
                <a:gd name="T3" fmla="*/ 2 h 3"/>
                <a:gd name="T4" fmla="*/ 1 w 10"/>
                <a:gd name="T5" fmla="*/ 0 h 3"/>
                <a:gd name="T6" fmla="*/ 4 w 10"/>
                <a:gd name="T7" fmla="*/ 2 h 3"/>
                <a:gd name="T8" fmla="*/ 7 w 10"/>
                <a:gd name="T9" fmla="*/ 2 h 3"/>
                <a:gd name="T10" fmla="*/ 8 w 10"/>
                <a:gd name="T11" fmla="*/ 2 h 3"/>
                <a:gd name="T12" fmla="*/ 8 w 10"/>
                <a:gd name="T13" fmla="*/ 2 h 3"/>
                <a:gd name="T14" fmla="*/ 10 w 10"/>
                <a:gd name="T15" fmla="*/ 2 h 3"/>
                <a:gd name="T16" fmla="*/ 7 w 10"/>
                <a:gd name="T17" fmla="*/ 3 h 3"/>
                <a:gd name="T18" fmla="*/ 4 w 10"/>
                <a:gd name="T19" fmla="*/ 3 h 3"/>
                <a:gd name="T20" fmla="*/ 0 w 10"/>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3">
                  <a:moveTo>
                    <a:pt x="0" y="2"/>
                  </a:moveTo>
                  <a:lnTo>
                    <a:pt x="0" y="2"/>
                  </a:lnTo>
                  <a:lnTo>
                    <a:pt x="1" y="0"/>
                  </a:lnTo>
                  <a:lnTo>
                    <a:pt x="4" y="2"/>
                  </a:lnTo>
                  <a:lnTo>
                    <a:pt x="7" y="2"/>
                  </a:lnTo>
                  <a:lnTo>
                    <a:pt x="8" y="2"/>
                  </a:lnTo>
                  <a:lnTo>
                    <a:pt x="8" y="2"/>
                  </a:lnTo>
                  <a:lnTo>
                    <a:pt x="10" y="2"/>
                  </a:lnTo>
                  <a:lnTo>
                    <a:pt x="7" y="3"/>
                  </a:lnTo>
                  <a:lnTo>
                    <a:pt x="4" y="3"/>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2" name="Freeform 553"/>
            <p:cNvSpPr/>
            <p:nvPr/>
          </p:nvSpPr>
          <p:spPr bwMode="auto">
            <a:xfrm>
              <a:off x="2747776" y="3106476"/>
              <a:ext cx="30720" cy="6142"/>
            </a:xfrm>
            <a:custGeom>
              <a:avLst/>
              <a:gdLst>
                <a:gd name="T0" fmla="*/ 0 w 10"/>
                <a:gd name="T1" fmla="*/ 2 h 3"/>
                <a:gd name="T2" fmla="*/ 0 w 10"/>
                <a:gd name="T3" fmla="*/ 2 h 3"/>
                <a:gd name="T4" fmla="*/ 1 w 10"/>
                <a:gd name="T5" fmla="*/ 0 h 3"/>
                <a:gd name="T6" fmla="*/ 4 w 10"/>
                <a:gd name="T7" fmla="*/ 2 h 3"/>
                <a:gd name="T8" fmla="*/ 7 w 10"/>
                <a:gd name="T9" fmla="*/ 2 h 3"/>
                <a:gd name="T10" fmla="*/ 8 w 10"/>
                <a:gd name="T11" fmla="*/ 2 h 3"/>
                <a:gd name="T12" fmla="*/ 8 w 10"/>
                <a:gd name="T13" fmla="*/ 2 h 3"/>
                <a:gd name="T14" fmla="*/ 10 w 10"/>
                <a:gd name="T15" fmla="*/ 2 h 3"/>
                <a:gd name="T16" fmla="*/ 7 w 10"/>
                <a:gd name="T17" fmla="*/ 3 h 3"/>
                <a:gd name="T18" fmla="*/ 4 w 10"/>
                <a:gd name="T19" fmla="*/ 3 h 3"/>
                <a:gd name="T20" fmla="*/ 0 w 10"/>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3">
                  <a:moveTo>
                    <a:pt x="0" y="2"/>
                  </a:moveTo>
                  <a:lnTo>
                    <a:pt x="0" y="2"/>
                  </a:lnTo>
                  <a:lnTo>
                    <a:pt x="1" y="0"/>
                  </a:lnTo>
                  <a:lnTo>
                    <a:pt x="4" y="2"/>
                  </a:lnTo>
                  <a:lnTo>
                    <a:pt x="7" y="2"/>
                  </a:lnTo>
                  <a:lnTo>
                    <a:pt x="8" y="2"/>
                  </a:lnTo>
                  <a:lnTo>
                    <a:pt x="8" y="2"/>
                  </a:lnTo>
                  <a:lnTo>
                    <a:pt x="10" y="2"/>
                  </a:lnTo>
                  <a:lnTo>
                    <a:pt x="7" y="3"/>
                  </a:lnTo>
                  <a:lnTo>
                    <a:pt x="4" y="3"/>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3" name="Rectangle 554"/>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54" name="Rectangle 555"/>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55" name="Freeform 556"/>
            <p:cNvSpPr/>
            <p:nvPr/>
          </p:nvSpPr>
          <p:spPr bwMode="auto">
            <a:xfrm>
              <a:off x="3294549" y="3260061"/>
              <a:ext cx="18433" cy="12287"/>
            </a:xfrm>
            <a:custGeom>
              <a:avLst/>
              <a:gdLst>
                <a:gd name="T0" fmla="*/ 1 w 6"/>
                <a:gd name="T1" fmla="*/ 0 h 5"/>
                <a:gd name="T2" fmla="*/ 1 w 6"/>
                <a:gd name="T3" fmla="*/ 0 h 5"/>
                <a:gd name="T4" fmla="*/ 0 w 6"/>
                <a:gd name="T5" fmla="*/ 0 h 5"/>
                <a:gd name="T6" fmla="*/ 1 w 6"/>
                <a:gd name="T7" fmla="*/ 0 h 5"/>
                <a:gd name="T8" fmla="*/ 3 w 6"/>
                <a:gd name="T9" fmla="*/ 0 h 5"/>
                <a:gd name="T10" fmla="*/ 3 w 6"/>
                <a:gd name="T11" fmla="*/ 0 h 5"/>
                <a:gd name="T12" fmla="*/ 6 w 6"/>
                <a:gd name="T13" fmla="*/ 3 h 5"/>
                <a:gd name="T14" fmla="*/ 6 w 6"/>
                <a:gd name="T15" fmla="*/ 5 h 5"/>
                <a:gd name="T16" fmla="*/ 6 w 6"/>
                <a:gd name="T17" fmla="*/ 5 h 5"/>
                <a:gd name="T18" fmla="*/ 3 w 6"/>
                <a:gd name="T19" fmla="*/ 2 h 5"/>
                <a:gd name="T20" fmla="*/ 1 w 6"/>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1" y="0"/>
                  </a:moveTo>
                  <a:lnTo>
                    <a:pt x="1" y="0"/>
                  </a:lnTo>
                  <a:lnTo>
                    <a:pt x="0" y="0"/>
                  </a:lnTo>
                  <a:lnTo>
                    <a:pt x="1" y="0"/>
                  </a:lnTo>
                  <a:lnTo>
                    <a:pt x="3" y="0"/>
                  </a:lnTo>
                  <a:lnTo>
                    <a:pt x="3" y="0"/>
                  </a:lnTo>
                  <a:lnTo>
                    <a:pt x="6" y="3"/>
                  </a:lnTo>
                  <a:lnTo>
                    <a:pt x="6" y="5"/>
                  </a:lnTo>
                  <a:lnTo>
                    <a:pt x="6" y="5"/>
                  </a:lnTo>
                  <a:lnTo>
                    <a:pt x="3" y="2"/>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6" name="Freeform 557"/>
            <p:cNvSpPr/>
            <p:nvPr/>
          </p:nvSpPr>
          <p:spPr bwMode="auto">
            <a:xfrm>
              <a:off x="3294549" y="3260061"/>
              <a:ext cx="18433" cy="12287"/>
            </a:xfrm>
            <a:custGeom>
              <a:avLst/>
              <a:gdLst>
                <a:gd name="T0" fmla="*/ 1 w 6"/>
                <a:gd name="T1" fmla="*/ 0 h 5"/>
                <a:gd name="T2" fmla="*/ 1 w 6"/>
                <a:gd name="T3" fmla="*/ 0 h 5"/>
                <a:gd name="T4" fmla="*/ 0 w 6"/>
                <a:gd name="T5" fmla="*/ 0 h 5"/>
                <a:gd name="T6" fmla="*/ 1 w 6"/>
                <a:gd name="T7" fmla="*/ 0 h 5"/>
                <a:gd name="T8" fmla="*/ 3 w 6"/>
                <a:gd name="T9" fmla="*/ 0 h 5"/>
                <a:gd name="T10" fmla="*/ 3 w 6"/>
                <a:gd name="T11" fmla="*/ 0 h 5"/>
                <a:gd name="T12" fmla="*/ 6 w 6"/>
                <a:gd name="T13" fmla="*/ 3 h 5"/>
                <a:gd name="T14" fmla="*/ 6 w 6"/>
                <a:gd name="T15" fmla="*/ 5 h 5"/>
                <a:gd name="T16" fmla="*/ 6 w 6"/>
                <a:gd name="T17" fmla="*/ 5 h 5"/>
                <a:gd name="T18" fmla="*/ 3 w 6"/>
                <a:gd name="T19" fmla="*/ 2 h 5"/>
                <a:gd name="T20" fmla="*/ 1 w 6"/>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1" y="0"/>
                  </a:moveTo>
                  <a:lnTo>
                    <a:pt x="1" y="0"/>
                  </a:lnTo>
                  <a:lnTo>
                    <a:pt x="0" y="0"/>
                  </a:lnTo>
                  <a:lnTo>
                    <a:pt x="1" y="0"/>
                  </a:lnTo>
                  <a:lnTo>
                    <a:pt x="3" y="0"/>
                  </a:lnTo>
                  <a:lnTo>
                    <a:pt x="3" y="0"/>
                  </a:lnTo>
                  <a:lnTo>
                    <a:pt x="6" y="3"/>
                  </a:lnTo>
                  <a:lnTo>
                    <a:pt x="6" y="5"/>
                  </a:lnTo>
                  <a:lnTo>
                    <a:pt x="6" y="5"/>
                  </a:lnTo>
                  <a:lnTo>
                    <a:pt x="3" y="2"/>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7" name="Rectangle 558"/>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58" name="Rectangle 559"/>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59" name="Rectangle 560"/>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60" name="Rectangle 561"/>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61" name="Freeform 562"/>
            <p:cNvSpPr/>
            <p:nvPr/>
          </p:nvSpPr>
          <p:spPr bwMode="auto">
            <a:xfrm>
              <a:off x="3466568" y="3358358"/>
              <a:ext cx="49148" cy="61435"/>
            </a:xfrm>
            <a:custGeom>
              <a:avLst/>
              <a:gdLst>
                <a:gd name="T0" fmla="*/ 13 w 16"/>
                <a:gd name="T1" fmla="*/ 17 h 20"/>
                <a:gd name="T2" fmla="*/ 13 w 16"/>
                <a:gd name="T3" fmla="*/ 17 h 20"/>
                <a:gd name="T4" fmla="*/ 13 w 16"/>
                <a:gd name="T5" fmla="*/ 16 h 20"/>
                <a:gd name="T6" fmla="*/ 13 w 16"/>
                <a:gd name="T7" fmla="*/ 16 h 20"/>
                <a:gd name="T8" fmla="*/ 16 w 16"/>
                <a:gd name="T9" fmla="*/ 20 h 20"/>
                <a:gd name="T10" fmla="*/ 16 w 16"/>
                <a:gd name="T11" fmla="*/ 20 h 20"/>
                <a:gd name="T12" fmla="*/ 7 w 16"/>
                <a:gd name="T13" fmla="*/ 10 h 20"/>
                <a:gd name="T14" fmla="*/ 7 w 16"/>
                <a:gd name="T15" fmla="*/ 10 h 20"/>
                <a:gd name="T16" fmla="*/ 0 w 16"/>
                <a:gd name="T17" fmla="*/ 0 h 20"/>
                <a:gd name="T18" fmla="*/ 0 w 16"/>
                <a:gd name="T19" fmla="*/ 0 h 20"/>
                <a:gd name="T20" fmla="*/ 6 w 16"/>
                <a:gd name="T21" fmla="*/ 7 h 20"/>
                <a:gd name="T22" fmla="*/ 6 w 16"/>
                <a:gd name="T23" fmla="*/ 7 h 20"/>
                <a:gd name="T24" fmla="*/ 6 w 16"/>
                <a:gd name="T25" fmla="*/ 7 h 20"/>
                <a:gd name="T26" fmla="*/ 6 w 16"/>
                <a:gd name="T27" fmla="*/ 7 h 20"/>
                <a:gd name="T28" fmla="*/ 13 w 16"/>
                <a:gd name="T29"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0">
                  <a:moveTo>
                    <a:pt x="13" y="17"/>
                  </a:moveTo>
                  <a:lnTo>
                    <a:pt x="13" y="17"/>
                  </a:lnTo>
                  <a:lnTo>
                    <a:pt x="13" y="16"/>
                  </a:lnTo>
                  <a:lnTo>
                    <a:pt x="13" y="16"/>
                  </a:lnTo>
                  <a:lnTo>
                    <a:pt x="16" y="20"/>
                  </a:lnTo>
                  <a:lnTo>
                    <a:pt x="16" y="20"/>
                  </a:lnTo>
                  <a:lnTo>
                    <a:pt x="7" y="10"/>
                  </a:lnTo>
                  <a:lnTo>
                    <a:pt x="7" y="10"/>
                  </a:lnTo>
                  <a:lnTo>
                    <a:pt x="0" y="0"/>
                  </a:lnTo>
                  <a:lnTo>
                    <a:pt x="0" y="0"/>
                  </a:lnTo>
                  <a:lnTo>
                    <a:pt x="6" y="7"/>
                  </a:lnTo>
                  <a:lnTo>
                    <a:pt x="6" y="7"/>
                  </a:lnTo>
                  <a:lnTo>
                    <a:pt x="6" y="7"/>
                  </a:lnTo>
                  <a:lnTo>
                    <a:pt x="6" y="7"/>
                  </a:lnTo>
                  <a:lnTo>
                    <a:pt x="13" y="1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62" name="Freeform 563"/>
            <p:cNvSpPr/>
            <p:nvPr/>
          </p:nvSpPr>
          <p:spPr bwMode="auto">
            <a:xfrm>
              <a:off x="3466568" y="3358358"/>
              <a:ext cx="49148" cy="61435"/>
            </a:xfrm>
            <a:custGeom>
              <a:avLst/>
              <a:gdLst>
                <a:gd name="T0" fmla="*/ 13 w 16"/>
                <a:gd name="T1" fmla="*/ 17 h 20"/>
                <a:gd name="T2" fmla="*/ 13 w 16"/>
                <a:gd name="T3" fmla="*/ 17 h 20"/>
                <a:gd name="T4" fmla="*/ 13 w 16"/>
                <a:gd name="T5" fmla="*/ 16 h 20"/>
                <a:gd name="T6" fmla="*/ 13 w 16"/>
                <a:gd name="T7" fmla="*/ 16 h 20"/>
                <a:gd name="T8" fmla="*/ 16 w 16"/>
                <a:gd name="T9" fmla="*/ 20 h 20"/>
                <a:gd name="T10" fmla="*/ 16 w 16"/>
                <a:gd name="T11" fmla="*/ 20 h 20"/>
                <a:gd name="T12" fmla="*/ 7 w 16"/>
                <a:gd name="T13" fmla="*/ 10 h 20"/>
                <a:gd name="T14" fmla="*/ 7 w 16"/>
                <a:gd name="T15" fmla="*/ 10 h 20"/>
                <a:gd name="T16" fmla="*/ 0 w 16"/>
                <a:gd name="T17" fmla="*/ 0 h 20"/>
                <a:gd name="T18" fmla="*/ 0 w 16"/>
                <a:gd name="T19" fmla="*/ 0 h 20"/>
                <a:gd name="T20" fmla="*/ 6 w 16"/>
                <a:gd name="T21" fmla="*/ 7 h 20"/>
                <a:gd name="T22" fmla="*/ 6 w 16"/>
                <a:gd name="T23" fmla="*/ 7 h 20"/>
                <a:gd name="T24" fmla="*/ 6 w 16"/>
                <a:gd name="T25" fmla="*/ 7 h 20"/>
                <a:gd name="T26" fmla="*/ 6 w 16"/>
                <a:gd name="T27" fmla="*/ 7 h 20"/>
                <a:gd name="T28" fmla="*/ 13 w 16"/>
                <a:gd name="T29"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0">
                  <a:moveTo>
                    <a:pt x="13" y="17"/>
                  </a:moveTo>
                  <a:lnTo>
                    <a:pt x="13" y="17"/>
                  </a:lnTo>
                  <a:lnTo>
                    <a:pt x="13" y="16"/>
                  </a:lnTo>
                  <a:lnTo>
                    <a:pt x="13" y="16"/>
                  </a:lnTo>
                  <a:lnTo>
                    <a:pt x="16" y="20"/>
                  </a:lnTo>
                  <a:lnTo>
                    <a:pt x="16" y="20"/>
                  </a:lnTo>
                  <a:lnTo>
                    <a:pt x="7" y="10"/>
                  </a:lnTo>
                  <a:lnTo>
                    <a:pt x="7" y="10"/>
                  </a:lnTo>
                  <a:lnTo>
                    <a:pt x="0" y="0"/>
                  </a:lnTo>
                  <a:lnTo>
                    <a:pt x="0" y="0"/>
                  </a:lnTo>
                  <a:lnTo>
                    <a:pt x="6" y="7"/>
                  </a:lnTo>
                  <a:lnTo>
                    <a:pt x="6" y="7"/>
                  </a:lnTo>
                  <a:lnTo>
                    <a:pt x="6" y="7"/>
                  </a:lnTo>
                  <a:lnTo>
                    <a:pt x="6" y="7"/>
                  </a:lnTo>
                  <a:lnTo>
                    <a:pt x="13" y="1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63" name="Freeform 564"/>
            <p:cNvSpPr/>
            <p:nvPr/>
          </p:nvSpPr>
          <p:spPr bwMode="auto">
            <a:xfrm>
              <a:off x="3398991" y="3241632"/>
              <a:ext cx="147445" cy="221167"/>
            </a:xfrm>
            <a:custGeom>
              <a:avLst/>
              <a:gdLst>
                <a:gd name="T0" fmla="*/ 30 w 47"/>
                <a:gd name="T1" fmla="*/ 31 h 71"/>
                <a:gd name="T2" fmla="*/ 32 w 47"/>
                <a:gd name="T3" fmla="*/ 35 h 71"/>
                <a:gd name="T4" fmla="*/ 32 w 47"/>
                <a:gd name="T5" fmla="*/ 31 h 71"/>
                <a:gd name="T6" fmla="*/ 32 w 47"/>
                <a:gd name="T7" fmla="*/ 30 h 71"/>
                <a:gd name="T8" fmla="*/ 34 w 47"/>
                <a:gd name="T9" fmla="*/ 38 h 71"/>
                <a:gd name="T10" fmla="*/ 37 w 47"/>
                <a:gd name="T11" fmla="*/ 45 h 71"/>
                <a:gd name="T12" fmla="*/ 37 w 47"/>
                <a:gd name="T13" fmla="*/ 50 h 71"/>
                <a:gd name="T14" fmla="*/ 40 w 47"/>
                <a:gd name="T15" fmla="*/ 57 h 71"/>
                <a:gd name="T16" fmla="*/ 44 w 47"/>
                <a:gd name="T17" fmla="*/ 65 h 71"/>
                <a:gd name="T18" fmla="*/ 42 w 47"/>
                <a:gd name="T19" fmla="*/ 58 h 71"/>
                <a:gd name="T20" fmla="*/ 46 w 47"/>
                <a:gd name="T21" fmla="*/ 65 h 71"/>
                <a:gd name="T22" fmla="*/ 47 w 47"/>
                <a:gd name="T23" fmla="*/ 70 h 71"/>
                <a:gd name="T24" fmla="*/ 47 w 47"/>
                <a:gd name="T25" fmla="*/ 71 h 71"/>
                <a:gd name="T26" fmla="*/ 47 w 47"/>
                <a:gd name="T27" fmla="*/ 71 h 71"/>
                <a:gd name="T28" fmla="*/ 47 w 47"/>
                <a:gd name="T29" fmla="*/ 70 h 71"/>
                <a:gd name="T30" fmla="*/ 47 w 47"/>
                <a:gd name="T31" fmla="*/ 70 h 71"/>
                <a:gd name="T32" fmla="*/ 47 w 47"/>
                <a:gd name="T33" fmla="*/ 70 h 71"/>
                <a:gd name="T34" fmla="*/ 46 w 47"/>
                <a:gd name="T35" fmla="*/ 68 h 71"/>
                <a:gd name="T36" fmla="*/ 46 w 47"/>
                <a:gd name="T37" fmla="*/ 67 h 71"/>
                <a:gd name="T38" fmla="*/ 42 w 47"/>
                <a:gd name="T39" fmla="*/ 60 h 71"/>
                <a:gd name="T40" fmla="*/ 39 w 47"/>
                <a:gd name="T41" fmla="*/ 54 h 71"/>
                <a:gd name="T42" fmla="*/ 36 w 47"/>
                <a:gd name="T43" fmla="*/ 48 h 71"/>
                <a:gd name="T44" fmla="*/ 29 w 47"/>
                <a:gd name="T45" fmla="*/ 37 h 71"/>
                <a:gd name="T46" fmla="*/ 29 w 47"/>
                <a:gd name="T47" fmla="*/ 38 h 71"/>
                <a:gd name="T48" fmla="*/ 24 w 47"/>
                <a:gd name="T49" fmla="*/ 31 h 71"/>
                <a:gd name="T50" fmla="*/ 26 w 47"/>
                <a:gd name="T51" fmla="*/ 34 h 71"/>
                <a:gd name="T52" fmla="*/ 22 w 47"/>
                <a:gd name="T53" fmla="*/ 28 h 71"/>
                <a:gd name="T54" fmla="*/ 23 w 47"/>
                <a:gd name="T55" fmla="*/ 31 h 71"/>
                <a:gd name="T56" fmla="*/ 19 w 47"/>
                <a:gd name="T57" fmla="*/ 24 h 71"/>
                <a:gd name="T58" fmla="*/ 19 w 47"/>
                <a:gd name="T59" fmla="*/ 25 h 71"/>
                <a:gd name="T60" fmla="*/ 20 w 47"/>
                <a:gd name="T61" fmla="*/ 27 h 71"/>
                <a:gd name="T62" fmla="*/ 12 w 47"/>
                <a:gd name="T63" fmla="*/ 15 h 71"/>
                <a:gd name="T64" fmla="*/ 9 w 47"/>
                <a:gd name="T65" fmla="*/ 15 h 71"/>
                <a:gd name="T66" fmla="*/ 2 w 47"/>
                <a:gd name="T67" fmla="*/ 5 h 71"/>
                <a:gd name="T68" fmla="*/ 0 w 47"/>
                <a:gd name="T69" fmla="*/ 1 h 71"/>
                <a:gd name="T70" fmla="*/ 3 w 47"/>
                <a:gd name="T71" fmla="*/ 4 h 71"/>
                <a:gd name="T72" fmla="*/ 10 w 47"/>
                <a:gd name="T73" fmla="*/ 10 h 71"/>
                <a:gd name="T74" fmla="*/ 12 w 47"/>
                <a:gd name="T75" fmla="*/ 10 h 71"/>
                <a:gd name="T76" fmla="*/ 17 w 47"/>
                <a:gd name="T77" fmla="*/ 18 h 71"/>
                <a:gd name="T78" fmla="*/ 17 w 47"/>
                <a:gd name="T79" fmla="*/ 17 h 71"/>
                <a:gd name="T80" fmla="*/ 23 w 47"/>
                <a:gd name="T81" fmla="*/ 24 h 71"/>
                <a:gd name="T82" fmla="*/ 24 w 47"/>
                <a:gd name="T83" fmla="*/ 25 h 71"/>
                <a:gd name="T84" fmla="*/ 19 w 47"/>
                <a:gd name="T85" fmla="*/ 11 h 71"/>
                <a:gd name="T86" fmla="*/ 17 w 47"/>
                <a:gd name="T87" fmla="*/ 0 h 71"/>
                <a:gd name="T88" fmla="*/ 19 w 47"/>
                <a:gd name="T89" fmla="*/ 3 h 71"/>
                <a:gd name="T90" fmla="*/ 20 w 47"/>
                <a:gd name="T91" fmla="*/ 4 h 71"/>
                <a:gd name="T92" fmla="*/ 26 w 47"/>
                <a:gd name="T93" fmla="*/ 2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7" h="71">
                  <a:moveTo>
                    <a:pt x="30" y="31"/>
                  </a:moveTo>
                  <a:lnTo>
                    <a:pt x="30" y="31"/>
                  </a:lnTo>
                  <a:lnTo>
                    <a:pt x="32" y="35"/>
                  </a:lnTo>
                  <a:lnTo>
                    <a:pt x="32" y="35"/>
                  </a:lnTo>
                  <a:lnTo>
                    <a:pt x="30" y="31"/>
                  </a:lnTo>
                  <a:lnTo>
                    <a:pt x="32" y="31"/>
                  </a:lnTo>
                  <a:lnTo>
                    <a:pt x="32" y="30"/>
                  </a:lnTo>
                  <a:lnTo>
                    <a:pt x="32" y="30"/>
                  </a:lnTo>
                  <a:lnTo>
                    <a:pt x="34" y="38"/>
                  </a:lnTo>
                  <a:lnTo>
                    <a:pt x="34" y="38"/>
                  </a:lnTo>
                  <a:lnTo>
                    <a:pt x="34" y="38"/>
                  </a:lnTo>
                  <a:lnTo>
                    <a:pt x="37" y="45"/>
                  </a:lnTo>
                  <a:lnTo>
                    <a:pt x="37" y="45"/>
                  </a:lnTo>
                  <a:lnTo>
                    <a:pt x="37" y="50"/>
                  </a:lnTo>
                  <a:lnTo>
                    <a:pt x="37" y="50"/>
                  </a:lnTo>
                  <a:lnTo>
                    <a:pt x="40" y="57"/>
                  </a:lnTo>
                  <a:lnTo>
                    <a:pt x="40" y="57"/>
                  </a:lnTo>
                  <a:lnTo>
                    <a:pt x="44" y="65"/>
                  </a:lnTo>
                  <a:lnTo>
                    <a:pt x="44" y="65"/>
                  </a:lnTo>
                  <a:lnTo>
                    <a:pt x="42" y="58"/>
                  </a:lnTo>
                  <a:lnTo>
                    <a:pt x="42" y="58"/>
                  </a:lnTo>
                  <a:lnTo>
                    <a:pt x="46" y="65"/>
                  </a:lnTo>
                  <a:lnTo>
                    <a:pt x="46" y="65"/>
                  </a:lnTo>
                  <a:lnTo>
                    <a:pt x="47" y="70"/>
                  </a:lnTo>
                  <a:lnTo>
                    <a:pt x="47" y="70"/>
                  </a:lnTo>
                  <a:lnTo>
                    <a:pt x="47" y="71"/>
                  </a:lnTo>
                  <a:lnTo>
                    <a:pt x="47" y="71"/>
                  </a:lnTo>
                  <a:lnTo>
                    <a:pt x="47" y="71"/>
                  </a:lnTo>
                  <a:lnTo>
                    <a:pt x="47" y="71"/>
                  </a:lnTo>
                  <a:lnTo>
                    <a:pt x="47" y="70"/>
                  </a:lnTo>
                  <a:lnTo>
                    <a:pt x="47" y="70"/>
                  </a:lnTo>
                  <a:lnTo>
                    <a:pt x="47" y="70"/>
                  </a:lnTo>
                  <a:lnTo>
                    <a:pt x="47" y="70"/>
                  </a:lnTo>
                  <a:lnTo>
                    <a:pt x="47" y="70"/>
                  </a:lnTo>
                  <a:lnTo>
                    <a:pt x="47" y="70"/>
                  </a:lnTo>
                  <a:lnTo>
                    <a:pt x="46" y="68"/>
                  </a:lnTo>
                  <a:lnTo>
                    <a:pt x="46" y="68"/>
                  </a:lnTo>
                  <a:lnTo>
                    <a:pt x="46" y="67"/>
                  </a:lnTo>
                  <a:lnTo>
                    <a:pt x="46" y="67"/>
                  </a:lnTo>
                  <a:lnTo>
                    <a:pt x="42" y="60"/>
                  </a:lnTo>
                  <a:lnTo>
                    <a:pt x="42" y="60"/>
                  </a:lnTo>
                  <a:lnTo>
                    <a:pt x="39" y="54"/>
                  </a:lnTo>
                  <a:lnTo>
                    <a:pt x="39" y="54"/>
                  </a:lnTo>
                  <a:lnTo>
                    <a:pt x="36" y="48"/>
                  </a:lnTo>
                  <a:lnTo>
                    <a:pt x="36" y="48"/>
                  </a:lnTo>
                  <a:lnTo>
                    <a:pt x="29" y="37"/>
                  </a:lnTo>
                  <a:lnTo>
                    <a:pt x="29" y="37"/>
                  </a:lnTo>
                  <a:lnTo>
                    <a:pt x="29" y="38"/>
                  </a:lnTo>
                  <a:lnTo>
                    <a:pt x="29" y="38"/>
                  </a:lnTo>
                  <a:lnTo>
                    <a:pt x="24" y="31"/>
                  </a:lnTo>
                  <a:lnTo>
                    <a:pt x="24" y="31"/>
                  </a:lnTo>
                  <a:lnTo>
                    <a:pt x="26" y="34"/>
                  </a:lnTo>
                  <a:lnTo>
                    <a:pt x="22" y="28"/>
                  </a:lnTo>
                  <a:lnTo>
                    <a:pt x="22" y="28"/>
                  </a:lnTo>
                  <a:lnTo>
                    <a:pt x="22" y="28"/>
                  </a:lnTo>
                  <a:lnTo>
                    <a:pt x="23" y="31"/>
                  </a:lnTo>
                  <a:lnTo>
                    <a:pt x="23" y="31"/>
                  </a:lnTo>
                  <a:lnTo>
                    <a:pt x="19" y="24"/>
                  </a:lnTo>
                  <a:lnTo>
                    <a:pt x="19" y="24"/>
                  </a:lnTo>
                  <a:lnTo>
                    <a:pt x="19" y="25"/>
                  </a:lnTo>
                  <a:lnTo>
                    <a:pt x="20" y="27"/>
                  </a:lnTo>
                  <a:lnTo>
                    <a:pt x="20" y="27"/>
                  </a:lnTo>
                  <a:lnTo>
                    <a:pt x="12" y="15"/>
                  </a:lnTo>
                  <a:lnTo>
                    <a:pt x="12" y="15"/>
                  </a:lnTo>
                  <a:lnTo>
                    <a:pt x="12" y="17"/>
                  </a:lnTo>
                  <a:lnTo>
                    <a:pt x="9" y="15"/>
                  </a:lnTo>
                  <a:lnTo>
                    <a:pt x="2" y="5"/>
                  </a:lnTo>
                  <a:lnTo>
                    <a:pt x="2" y="5"/>
                  </a:lnTo>
                  <a:lnTo>
                    <a:pt x="0" y="3"/>
                  </a:lnTo>
                  <a:lnTo>
                    <a:pt x="0" y="1"/>
                  </a:lnTo>
                  <a:lnTo>
                    <a:pt x="3" y="4"/>
                  </a:lnTo>
                  <a:lnTo>
                    <a:pt x="3" y="4"/>
                  </a:lnTo>
                  <a:lnTo>
                    <a:pt x="9" y="8"/>
                  </a:lnTo>
                  <a:lnTo>
                    <a:pt x="10" y="10"/>
                  </a:lnTo>
                  <a:lnTo>
                    <a:pt x="12" y="10"/>
                  </a:lnTo>
                  <a:lnTo>
                    <a:pt x="12" y="10"/>
                  </a:lnTo>
                  <a:lnTo>
                    <a:pt x="17" y="17"/>
                  </a:lnTo>
                  <a:lnTo>
                    <a:pt x="17" y="18"/>
                  </a:lnTo>
                  <a:lnTo>
                    <a:pt x="17" y="17"/>
                  </a:lnTo>
                  <a:lnTo>
                    <a:pt x="17" y="17"/>
                  </a:lnTo>
                  <a:lnTo>
                    <a:pt x="23" y="24"/>
                  </a:lnTo>
                  <a:lnTo>
                    <a:pt x="23" y="24"/>
                  </a:lnTo>
                  <a:lnTo>
                    <a:pt x="23" y="24"/>
                  </a:lnTo>
                  <a:lnTo>
                    <a:pt x="24" y="25"/>
                  </a:lnTo>
                  <a:lnTo>
                    <a:pt x="24" y="25"/>
                  </a:lnTo>
                  <a:lnTo>
                    <a:pt x="19" y="11"/>
                  </a:lnTo>
                  <a:lnTo>
                    <a:pt x="17" y="4"/>
                  </a:lnTo>
                  <a:lnTo>
                    <a:pt x="17" y="0"/>
                  </a:lnTo>
                  <a:lnTo>
                    <a:pt x="17" y="0"/>
                  </a:lnTo>
                  <a:lnTo>
                    <a:pt x="19" y="3"/>
                  </a:lnTo>
                  <a:lnTo>
                    <a:pt x="20" y="4"/>
                  </a:lnTo>
                  <a:lnTo>
                    <a:pt x="20" y="4"/>
                  </a:lnTo>
                  <a:lnTo>
                    <a:pt x="26" y="21"/>
                  </a:lnTo>
                  <a:lnTo>
                    <a:pt x="26" y="21"/>
                  </a:lnTo>
                  <a:lnTo>
                    <a:pt x="30" y="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64" name="Freeform 565"/>
            <p:cNvSpPr/>
            <p:nvPr/>
          </p:nvSpPr>
          <p:spPr bwMode="auto">
            <a:xfrm>
              <a:off x="3398991" y="3241632"/>
              <a:ext cx="147445" cy="221167"/>
            </a:xfrm>
            <a:custGeom>
              <a:avLst/>
              <a:gdLst>
                <a:gd name="T0" fmla="*/ 30 w 47"/>
                <a:gd name="T1" fmla="*/ 31 h 71"/>
                <a:gd name="T2" fmla="*/ 32 w 47"/>
                <a:gd name="T3" fmla="*/ 35 h 71"/>
                <a:gd name="T4" fmla="*/ 32 w 47"/>
                <a:gd name="T5" fmla="*/ 31 h 71"/>
                <a:gd name="T6" fmla="*/ 32 w 47"/>
                <a:gd name="T7" fmla="*/ 30 h 71"/>
                <a:gd name="T8" fmla="*/ 34 w 47"/>
                <a:gd name="T9" fmla="*/ 38 h 71"/>
                <a:gd name="T10" fmla="*/ 37 w 47"/>
                <a:gd name="T11" fmla="*/ 45 h 71"/>
                <a:gd name="T12" fmla="*/ 37 w 47"/>
                <a:gd name="T13" fmla="*/ 50 h 71"/>
                <a:gd name="T14" fmla="*/ 40 w 47"/>
                <a:gd name="T15" fmla="*/ 57 h 71"/>
                <a:gd name="T16" fmla="*/ 44 w 47"/>
                <a:gd name="T17" fmla="*/ 65 h 71"/>
                <a:gd name="T18" fmla="*/ 42 w 47"/>
                <a:gd name="T19" fmla="*/ 58 h 71"/>
                <a:gd name="T20" fmla="*/ 46 w 47"/>
                <a:gd name="T21" fmla="*/ 65 h 71"/>
                <a:gd name="T22" fmla="*/ 47 w 47"/>
                <a:gd name="T23" fmla="*/ 70 h 71"/>
                <a:gd name="T24" fmla="*/ 47 w 47"/>
                <a:gd name="T25" fmla="*/ 71 h 71"/>
                <a:gd name="T26" fmla="*/ 47 w 47"/>
                <a:gd name="T27" fmla="*/ 71 h 71"/>
                <a:gd name="T28" fmla="*/ 47 w 47"/>
                <a:gd name="T29" fmla="*/ 70 h 71"/>
                <a:gd name="T30" fmla="*/ 47 w 47"/>
                <a:gd name="T31" fmla="*/ 70 h 71"/>
                <a:gd name="T32" fmla="*/ 47 w 47"/>
                <a:gd name="T33" fmla="*/ 70 h 71"/>
                <a:gd name="T34" fmla="*/ 46 w 47"/>
                <a:gd name="T35" fmla="*/ 68 h 71"/>
                <a:gd name="T36" fmla="*/ 46 w 47"/>
                <a:gd name="T37" fmla="*/ 67 h 71"/>
                <a:gd name="T38" fmla="*/ 42 w 47"/>
                <a:gd name="T39" fmla="*/ 60 h 71"/>
                <a:gd name="T40" fmla="*/ 39 w 47"/>
                <a:gd name="T41" fmla="*/ 54 h 71"/>
                <a:gd name="T42" fmla="*/ 36 w 47"/>
                <a:gd name="T43" fmla="*/ 48 h 71"/>
                <a:gd name="T44" fmla="*/ 29 w 47"/>
                <a:gd name="T45" fmla="*/ 37 h 71"/>
                <a:gd name="T46" fmla="*/ 29 w 47"/>
                <a:gd name="T47" fmla="*/ 38 h 71"/>
                <a:gd name="T48" fmla="*/ 24 w 47"/>
                <a:gd name="T49" fmla="*/ 31 h 71"/>
                <a:gd name="T50" fmla="*/ 26 w 47"/>
                <a:gd name="T51" fmla="*/ 34 h 71"/>
                <a:gd name="T52" fmla="*/ 22 w 47"/>
                <a:gd name="T53" fmla="*/ 28 h 71"/>
                <a:gd name="T54" fmla="*/ 23 w 47"/>
                <a:gd name="T55" fmla="*/ 31 h 71"/>
                <a:gd name="T56" fmla="*/ 19 w 47"/>
                <a:gd name="T57" fmla="*/ 24 h 71"/>
                <a:gd name="T58" fmla="*/ 19 w 47"/>
                <a:gd name="T59" fmla="*/ 25 h 71"/>
                <a:gd name="T60" fmla="*/ 20 w 47"/>
                <a:gd name="T61" fmla="*/ 27 h 71"/>
                <a:gd name="T62" fmla="*/ 12 w 47"/>
                <a:gd name="T63" fmla="*/ 15 h 71"/>
                <a:gd name="T64" fmla="*/ 9 w 47"/>
                <a:gd name="T65" fmla="*/ 15 h 71"/>
                <a:gd name="T66" fmla="*/ 2 w 47"/>
                <a:gd name="T67" fmla="*/ 5 h 71"/>
                <a:gd name="T68" fmla="*/ 0 w 47"/>
                <a:gd name="T69" fmla="*/ 1 h 71"/>
                <a:gd name="T70" fmla="*/ 3 w 47"/>
                <a:gd name="T71" fmla="*/ 4 h 71"/>
                <a:gd name="T72" fmla="*/ 10 w 47"/>
                <a:gd name="T73" fmla="*/ 10 h 71"/>
                <a:gd name="T74" fmla="*/ 12 w 47"/>
                <a:gd name="T75" fmla="*/ 10 h 71"/>
                <a:gd name="T76" fmla="*/ 17 w 47"/>
                <a:gd name="T77" fmla="*/ 18 h 71"/>
                <a:gd name="T78" fmla="*/ 17 w 47"/>
                <a:gd name="T79" fmla="*/ 17 h 71"/>
                <a:gd name="T80" fmla="*/ 23 w 47"/>
                <a:gd name="T81" fmla="*/ 24 h 71"/>
                <a:gd name="T82" fmla="*/ 24 w 47"/>
                <a:gd name="T83" fmla="*/ 25 h 71"/>
                <a:gd name="T84" fmla="*/ 19 w 47"/>
                <a:gd name="T85" fmla="*/ 11 h 71"/>
                <a:gd name="T86" fmla="*/ 17 w 47"/>
                <a:gd name="T87" fmla="*/ 0 h 71"/>
                <a:gd name="T88" fmla="*/ 19 w 47"/>
                <a:gd name="T89" fmla="*/ 3 h 71"/>
                <a:gd name="T90" fmla="*/ 20 w 47"/>
                <a:gd name="T91" fmla="*/ 4 h 71"/>
                <a:gd name="T92" fmla="*/ 26 w 47"/>
                <a:gd name="T93" fmla="*/ 2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7" h="71">
                  <a:moveTo>
                    <a:pt x="30" y="31"/>
                  </a:moveTo>
                  <a:lnTo>
                    <a:pt x="30" y="31"/>
                  </a:lnTo>
                  <a:lnTo>
                    <a:pt x="32" y="35"/>
                  </a:lnTo>
                  <a:lnTo>
                    <a:pt x="32" y="35"/>
                  </a:lnTo>
                  <a:lnTo>
                    <a:pt x="30" y="31"/>
                  </a:lnTo>
                  <a:lnTo>
                    <a:pt x="32" y="31"/>
                  </a:lnTo>
                  <a:lnTo>
                    <a:pt x="32" y="30"/>
                  </a:lnTo>
                  <a:lnTo>
                    <a:pt x="32" y="30"/>
                  </a:lnTo>
                  <a:lnTo>
                    <a:pt x="34" y="38"/>
                  </a:lnTo>
                  <a:lnTo>
                    <a:pt x="34" y="38"/>
                  </a:lnTo>
                  <a:lnTo>
                    <a:pt x="34" y="38"/>
                  </a:lnTo>
                  <a:lnTo>
                    <a:pt x="37" y="45"/>
                  </a:lnTo>
                  <a:lnTo>
                    <a:pt x="37" y="45"/>
                  </a:lnTo>
                  <a:lnTo>
                    <a:pt x="37" y="50"/>
                  </a:lnTo>
                  <a:lnTo>
                    <a:pt x="37" y="50"/>
                  </a:lnTo>
                  <a:lnTo>
                    <a:pt x="40" y="57"/>
                  </a:lnTo>
                  <a:lnTo>
                    <a:pt x="40" y="57"/>
                  </a:lnTo>
                  <a:lnTo>
                    <a:pt x="44" y="65"/>
                  </a:lnTo>
                  <a:lnTo>
                    <a:pt x="44" y="65"/>
                  </a:lnTo>
                  <a:lnTo>
                    <a:pt x="42" y="58"/>
                  </a:lnTo>
                  <a:lnTo>
                    <a:pt x="42" y="58"/>
                  </a:lnTo>
                  <a:lnTo>
                    <a:pt x="46" y="65"/>
                  </a:lnTo>
                  <a:lnTo>
                    <a:pt x="46" y="65"/>
                  </a:lnTo>
                  <a:lnTo>
                    <a:pt x="47" y="70"/>
                  </a:lnTo>
                  <a:lnTo>
                    <a:pt x="47" y="70"/>
                  </a:lnTo>
                  <a:lnTo>
                    <a:pt x="47" y="71"/>
                  </a:lnTo>
                  <a:lnTo>
                    <a:pt x="47" y="71"/>
                  </a:lnTo>
                  <a:lnTo>
                    <a:pt x="47" y="71"/>
                  </a:lnTo>
                  <a:lnTo>
                    <a:pt x="47" y="71"/>
                  </a:lnTo>
                  <a:lnTo>
                    <a:pt x="47" y="70"/>
                  </a:lnTo>
                  <a:lnTo>
                    <a:pt x="47" y="70"/>
                  </a:lnTo>
                  <a:lnTo>
                    <a:pt x="47" y="70"/>
                  </a:lnTo>
                  <a:lnTo>
                    <a:pt x="47" y="70"/>
                  </a:lnTo>
                  <a:lnTo>
                    <a:pt x="47" y="70"/>
                  </a:lnTo>
                  <a:lnTo>
                    <a:pt x="47" y="70"/>
                  </a:lnTo>
                  <a:lnTo>
                    <a:pt x="46" y="68"/>
                  </a:lnTo>
                  <a:lnTo>
                    <a:pt x="46" y="68"/>
                  </a:lnTo>
                  <a:lnTo>
                    <a:pt x="46" y="67"/>
                  </a:lnTo>
                  <a:lnTo>
                    <a:pt x="46" y="67"/>
                  </a:lnTo>
                  <a:lnTo>
                    <a:pt x="42" y="60"/>
                  </a:lnTo>
                  <a:lnTo>
                    <a:pt x="42" y="60"/>
                  </a:lnTo>
                  <a:lnTo>
                    <a:pt x="39" y="54"/>
                  </a:lnTo>
                  <a:lnTo>
                    <a:pt x="39" y="54"/>
                  </a:lnTo>
                  <a:lnTo>
                    <a:pt x="36" y="48"/>
                  </a:lnTo>
                  <a:lnTo>
                    <a:pt x="36" y="48"/>
                  </a:lnTo>
                  <a:lnTo>
                    <a:pt x="29" y="37"/>
                  </a:lnTo>
                  <a:lnTo>
                    <a:pt x="29" y="37"/>
                  </a:lnTo>
                  <a:lnTo>
                    <a:pt x="29" y="38"/>
                  </a:lnTo>
                  <a:lnTo>
                    <a:pt x="29" y="38"/>
                  </a:lnTo>
                  <a:lnTo>
                    <a:pt x="24" y="31"/>
                  </a:lnTo>
                  <a:lnTo>
                    <a:pt x="24" y="31"/>
                  </a:lnTo>
                  <a:lnTo>
                    <a:pt x="26" y="34"/>
                  </a:lnTo>
                  <a:lnTo>
                    <a:pt x="22" y="28"/>
                  </a:lnTo>
                  <a:lnTo>
                    <a:pt x="22" y="28"/>
                  </a:lnTo>
                  <a:lnTo>
                    <a:pt x="22" y="28"/>
                  </a:lnTo>
                  <a:lnTo>
                    <a:pt x="23" y="31"/>
                  </a:lnTo>
                  <a:lnTo>
                    <a:pt x="23" y="31"/>
                  </a:lnTo>
                  <a:lnTo>
                    <a:pt x="19" y="24"/>
                  </a:lnTo>
                  <a:lnTo>
                    <a:pt x="19" y="24"/>
                  </a:lnTo>
                  <a:lnTo>
                    <a:pt x="19" y="25"/>
                  </a:lnTo>
                  <a:lnTo>
                    <a:pt x="20" y="27"/>
                  </a:lnTo>
                  <a:lnTo>
                    <a:pt x="20" y="27"/>
                  </a:lnTo>
                  <a:lnTo>
                    <a:pt x="12" y="15"/>
                  </a:lnTo>
                  <a:lnTo>
                    <a:pt x="12" y="15"/>
                  </a:lnTo>
                  <a:lnTo>
                    <a:pt x="12" y="17"/>
                  </a:lnTo>
                  <a:lnTo>
                    <a:pt x="9" y="15"/>
                  </a:lnTo>
                  <a:lnTo>
                    <a:pt x="2" y="5"/>
                  </a:lnTo>
                  <a:lnTo>
                    <a:pt x="2" y="5"/>
                  </a:lnTo>
                  <a:lnTo>
                    <a:pt x="0" y="3"/>
                  </a:lnTo>
                  <a:lnTo>
                    <a:pt x="0" y="1"/>
                  </a:lnTo>
                  <a:lnTo>
                    <a:pt x="3" y="4"/>
                  </a:lnTo>
                  <a:lnTo>
                    <a:pt x="3" y="4"/>
                  </a:lnTo>
                  <a:lnTo>
                    <a:pt x="9" y="8"/>
                  </a:lnTo>
                  <a:lnTo>
                    <a:pt x="10" y="10"/>
                  </a:lnTo>
                  <a:lnTo>
                    <a:pt x="12" y="10"/>
                  </a:lnTo>
                  <a:lnTo>
                    <a:pt x="12" y="10"/>
                  </a:lnTo>
                  <a:lnTo>
                    <a:pt x="17" y="17"/>
                  </a:lnTo>
                  <a:lnTo>
                    <a:pt x="17" y="18"/>
                  </a:lnTo>
                  <a:lnTo>
                    <a:pt x="17" y="17"/>
                  </a:lnTo>
                  <a:lnTo>
                    <a:pt x="17" y="17"/>
                  </a:lnTo>
                  <a:lnTo>
                    <a:pt x="23" y="24"/>
                  </a:lnTo>
                  <a:lnTo>
                    <a:pt x="23" y="24"/>
                  </a:lnTo>
                  <a:lnTo>
                    <a:pt x="23" y="24"/>
                  </a:lnTo>
                  <a:lnTo>
                    <a:pt x="24" y="25"/>
                  </a:lnTo>
                  <a:lnTo>
                    <a:pt x="24" y="25"/>
                  </a:lnTo>
                  <a:lnTo>
                    <a:pt x="19" y="11"/>
                  </a:lnTo>
                  <a:lnTo>
                    <a:pt x="17" y="4"/>
                  </a:lnTo>
                  <a:lnTo>
                    <a:pt x="17" y="0"/>
                  </a:lnTo>
                  <a:lnTo>
                    <a:pt x="17" y="0"/>
                  </a:lnTo>
                  <a:lnTo>
                    <a:pt x="19" y="3"/>
                  </a:lnTo>
                  <a:lnTo>
                    <a:pt x="20" y="4"/>
                  </a:lnTo>
                  <a:lnTo>
                    <a:pt x="20" y="4"/>
                  </a:lnTo>
                  <a:lnTo>
                    <a:pt x="26" y="21"/>
                  </a:lnTo>
                  <a:lnTo>
                    <a:pt x="26" y="21"/>
                  </a:lnTo>
                  <a:lnTo>
                    <a:pt x="30" y="3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65" name="Freeform 566"/>
            <p:cNvSpPr/>
            <p:nvPr/>
          </p:nvSpPr>
          <p:spPr bwMode="auto">
            <a:xfrm>
              <a:off x="5917836" y="4206165"/>
              <a:ext cx="92155" cy="196593"/>
            </a:xfrm>
            <a:custGeom>
              <a:avLst/>
              <a:gdLst>
                <a:gd name="T0" fmla="*/ 23 w 30"/>
                <a:gd name="T1" fmla="*/ 7 h 64"/>
                <a:gd name="T2" fmla="*/ 23 w 30"/>
                <a:gd name="T3" fmla="*/ 7 h 64"/>
                <a:gd name="T4" fmla="*/ 25 w 30"/>
                <a:gd name="T5" fmla="*/ 11 h 64"/>
                <a:gd name="T6" fmla="*/ 25 w 30"/>
                <a:gd name="T7" fmla="*/ 17 h 64"/>
                <a:gd name="T8" fmla="*/ 25 w 30"/>
                <a:gd name="T9" fmla="*/ 23 h 64"/>
                <a:gd name="T10" fmla="*/ 26 w 30"/>
                <a:gd name="T11" fmla="*/ 27 h 64"/>
                <a:gd name="T12" fmla="*/ 26 w 30"/>
                <a:gd name="T13" fmla="*/ 27 h 64"/>
                <a:gd name="T14" fmla="*/ 25 w 30"/>
                <a:gd name="T15" fmla="*/ 30 h 64"/>
                <a:gd name="T16" fmla="*/ 23 w 30"/>
                <a:gd name="T17" fmla="*/ 30 h 64"/>
                <a:gd name="T18" fmla="*/ 17 w 30"/>
                <a:gd name="T19" fmla="*/ 28 h 64"/>
                <a:gd name="T20" fmla="*/ 17 w 30"/>
                <a:gd name="T21" fmla="*/ 28 h 64"/>
                <a:gd name="T22" fmla="*/ 17 w 30"/>
                <a:gd name="T23" fmla="*/ 33 h 64"/>
                <a:gd name="T24" fmla="*/ 16 w 30"/>
                <a:gd name="T25" fmla="*/ 33 h 64"/>
                <a:gd name="T26" fmla="*/ 15 w 30"/>
                <a:gd name="T27" fmla="*/ 33 h 64"/>
                <a:gd name="T28" fmla="*/ 15 w 30"/>
                <a:gd name="T29" fmla="*/ 33 h 64"/>
                <a:gd name="T30" fmla="*/ 15 w 30"/>
                <a:gd name="T31" fmla="*/ 37 h 64"/>
                <a:gd name="T32" fmla="*/ 15 w 30"/>
                <a:gd name="T33" fmla="*/ 41 h 64"/>
                <a:gd name="T34" fmla="*/ 13 w 30"/>
                <a:gd name="T35" fmla="*/ 45 h 64"/>
                <a:gd name="T36" fmla="*/ 13 w 30"/>
                <a:gd name="T37" fmla="*/ 51 h 64"/>
                <a:gd name="T38" fmla="*/ 13 w 30"/>
                <a:gd name="T39" fmla="*/ 51 h 64"/>
                <a:gd name="T40" fmla="*/ 6 w 30"/>
                <a:gd name="T41" fmla="*/ 55 h 64"/>
                <a:gd name="T42" fmla="*/ 2 w 30"/>
                <a:gd name="T43" fmla="*/ 58 h 64"/>
                <a:gd name="T44" fmla="*/ 0 w 30"/>
                <a:gd name="T45" fmla="*/ 64 h 64"/>
                <a:gd name="T46" fmla="*/ 0 w 30"/>
                <a:gd name="T47" fmla="*/ 64 h 64"/>
                <a:gd name="T48" fmla="*/ 3 w 30"/>
                <a:gd name="T49" fmla="*/ 54 h 64"/>
                <a:gd name="T50" fmla="*/ 6 w 30"/>
                <a:gd name="T51" fmla="*/ 44 h 64"/>
                <a:gd name="T52" fmla="*/ 6 w 30"/>
                <a:gd name="T53" fmla="*/ 44 h 64"/>
                <a:gd name="T54" fmla="*/ 10 w 30"/>
                <a:gd name="T55" fmla="*/ 35 h 64"/>
                <a:gd name="T56" fmla="*/ 10 w 30"/>
                <a:gd name="T57" fmla="*/ 28 h 64"/>
                <a:gd name="T58" fmla="*/ 10 w 30"/>
                <a:gd name="T59" fmla="*/ 28 h 64"/>
                <a:gd name="T60" fmla="*/ 17 w 30"/>
                <a:gd name="T61" fmla="*/ 25 h 64"/>
                <a:gd name="T62" fmla="*/ 20 w 30"/>
                <a:gd name="T63" fmla="*/ 23 h 64"/>
                <a:gd name="T64" fmla="*/ 22 w 30"/>
                <a:gd name="T65" fmla="*/ 20 h 64"/>
                <a:gd name="T66" fmla="*/ 22 w 30"/>
                <a:gd name="T67" fmla="*/ 20 h 64"/>
                <a:gd name="T68" fmla="*/ 22 w 30"/>
                <a:gd name="T69" fmla="*/ 15 h 64"/>
                <a:gd name="T70" fmla="*/ 20 w 30"/>
                <a:gd name="T71" fmla="*/ 11 h 64"/>
                <a:gd name="T72" fmla="*/ 20 w 30"/>
                <a:gd name="T73" fmla="*/ 11 h 64"/>
                <a:gd name="T74" fmla="*/ 20 w 30"/>
                <a:gd name="T75" fmla="*/ 7 h 64"/>
                <a:gd name="T76" fmla="*/ 22 w 30"/>
                <a:gd name="T77" fmla="*/ 3 h 64"/>
                <a:gd name="T78" fmla="*/ 22 w 30"/>
                <a:gd name="T79" fmla="*/ 3 h 64"/>
                <a:gd name="T80" fmla="*/ 25 w 30"/>
                <a:gd name="T81" fmla="*/ 3 h 64"/>
                <a:gd name="T82" fmla="*/ 26 w 30"/>
                <a:gd name="T83" fmla="*/ 1 h 64"/>
                <a:gd name="T84" fmla="*/ 26 w 30"/>
                <a:gd name="T85" fmla="*/ 0 h 64"/>
                <a:gd name="T86" fmla="*/ 26 w 30"/>
                <a:gd name="T87" fmla="*/ 0 h 64"/>
                <a:gd name="T88" fmla="*/ 29 w 30"/>
                <a:gd name="T89" fmla="*/ 1 h 64"/>
                <a:gd name="T90" fmla="*/ 30 w 30"/>
                <a:gd name="T91" fmla="*/ 3 h 64"/>
                <a:gd name="T92" fmla="*/ 30 w 30"/>
                <a:gd name="T93" fmla="*/ 3 h 64"/>
                <a:gd name="T94" fmla="*/ 27 w 30"/>
                <a:gd name="T95" fmla="*/ 5 h 64"/>
                <a:gd name="T96" fmla="*/ 23 w 30"/>
                <a:gd name="T97" fmla="*/ 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64">
                  <a:moveTo>
                    <a:pt x="23" y="7"/>
                  </a:moveTo>
                  <a:lnTo>
                    <a:pt x="23" y="7"/>
                  </a:lnTo>
                  <a:lnTo>
                    <a:pt x="25" y="11"/>
                  </a:lnTo>
                  <a:lnTo>
                    <a:pt x="25" y="17"/>
                  </a:lnTo>
                  <a:lnTo>
                    <a:pt x="25" y="23"/>
                  </a:lnTo>
                  <a:lnTo>
                    <a:pt x="26" y="27"/>
                  </a:lnTo>
                  <a:lnTo>
                    <a:pt x="26" y="27"/>
                  </a:lnTo>
                  <a:lnTo>
                    <a:pt x="25" y="30"/>
                  </a:lnTo>
                  <a:lnTo>
                    <a:pt x="23" y="30"/>
                  </a:lnTo>
                  <a:lnTo>
                    <a:pt x="17" y="28"/>
                  </a:lnTo>
                  <a:lnTo>
                    <a:pt x="17" y="28"/>
                  </a:lnTo>
                  <a:lnTo>
                    <a:pt x="17" y="33"/>
                  </a:lnTo>
                  <a:lnTo>
                    <a:pt x="16" y="33"/>
                  </a:lnTo>
                  <a:lnTo>
                    <a:pt x="15" y="33"/>
                  </a:lnTo>
                  <a:lnTo>
                    <a:pt x="15" y="33"/>
                  </a:lnTo>
                  <a:lnTo>
                    <a:pt x="15" y="37"/>
                  </a:lnTo>
                  <a:lnTo>
                    <a:pt x="15" y="41"/>
                  </a:lnTo>
                  <a:lnTo>
                    <a:pt x="13" y="45"/>
                  </a:lnTo>
                  <a:lnTo>
                    <a:pt x="13" y="51"/>
                  </a:lnTo>
                  <a:lnTo>
                    <a:pt x="13" y="51"/>
                  </a:lnTo>
                  <a:lnTo>
                    <a:pt x="6" y="55"/>
                  </a:lnTo>
                  <a:lnTo>
                    <a:pt x="2" y="58"/>
                  </a:lnTo>
                  <a:lnTo>
                    <a:pt x="0" y="64"/>
                  </a:lnTo>
                  <a:lnTo>
                    <a:pt x="0" y="64"/>
                  </a:lnTo>
                  <a:lnTo>
                    <a:pt x="3" y="54"/>
                  </a:lnTo>
                  <a:lnTo>
                    <a:pt x="6" y="44"/>
                  </a:lnTo>
                  <a:lnTo>
                    <a:pt x="6" y="44"/>
                  </a:lnTo>
                  <a:lnTo>
                    <a:pt x="10" y="35"/>
                  </a:lnTo>
                  <a:lnTo>
                    <a:pt x="10" y="28"/>
                  </a:lnTo>
                  <a:lnTo>
                    <a:pt x="10" y="28"/>
                  </a:lnTo>
                  <a:lnTo>
                    <a:pt x="17" y="25"/>
                  </a:lnTo>
                  <a:lnTo>
                    <a:pt x="20" y="23"/>
                  </a:lnTo>
                  <a:lnTo>
                    <a:pt x="22" y="20"/>
                  </a:lnTo>
                  <a:lnTo>
                    <a:pt x="22" y="20"/>
                  </a:lnTo>
                  <a:lnTo>
                    <a:pt x="22" y="15"/>
                  </a:lnTo>
                  <a:lnTo>
                    <a:pt x="20" y="11"/>
                  </a:lnTo>
                  <a:lnTo>
                    <a:pt x="20" y="11"/>
                  </a:lnTo>
                  <a:lnTo>
                    <a:pt x="20" y="7"/>
                  </a:lnTo>
                  <a:lnTo>
                    <a:pt x="22" y="3"/>
                  </a:lnTo>
                  <a:lnTo>
                    <a:pt x="22" y="3"/>
                  </a:lnTo>
                  <a:lnTo>
                    <a:pt x="25" y="3"/>
                  </a:lnTo>
                  <a:lnTo>
                    <a:pt x="26" y="1"/>
                  </a:lnTo>
                  <a:lnTo>
                    <a:pt x="26" y="0"/>
                  </a:lnTo>
                  <a:lnTo>
                    <a:pt x="26" y="0"/>
                  </a:lnTo>
                  <a:lnTo>
                    <a:pt x="29" y="1"/>
                  </a:lnTo>
                  <a:lnTo>
                    <a:pt x="30" y="3"/>
                  </a:lnTo>
                  <a:lnTo>
                    <a:pt x="30" y="3"/>
                  </a:lnTo>
                  <a:lnTo>
                    <a:pt x="27" y="5"/>
                  </a:lnTo>
                  <a:lnTo>
                    <a:pt x="23" y="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66" name="Freeform 567"/>
            <p:cNvSpPr/>
            <p:nvPr/>
          </p:nvSpPr>
          <p:spPr bwMode="auto">
            <a:xfrm>
              <a:off x="5917836" y="4206165"/>
              <a:ext cx="92155" cy="196593"/>
            </a:xfrm>
            <a:custGeom>
              <a:avLst/>
              <a:gdLst>
                <a:gd name="T0" fmla="*/ 23 w 30"/>
                <a:gd name="T1" fmla="*/ 7 h 64"/>
                <a:gd name="T2" fmla="*/ 23 w 30"/>
                <a:gd name="T3" fmla="*/ 7 h 64"/>
                <a:gd name="T4" fmla="*/ 25 w 30"/>
                <a:gd name="T5" fmla="*/ 11 h 64"/>
                <a:gd name="T6" fmla="*/ 25 w 30"/>
                <a:gd name="T7" fmla="*/ 17 h 64"/>
                <a:gd name="T8" fmla="*/ 25 w 30"/>
                <a:gd name="T9" fmla="*/ 23 h 64"/>
                <a:gd name="T10" fmla="*/ 26 w 30"/>
                <a:gd name="T11" fmla="*/ 27 h 64"/>
                <a:gd name="T12" fmla="*/ 26 w 30"/>
                <a:gd name="T13" fmla="*/ 27 h 64"/>
                <a:gd name="T14" fmla="*/ 25 w 30"/>
                <a:gd name="T15" fmla="*/ 30 h 64"/>
                <a:gd name="T16" fmla="*/ 23 w 30"/>
                <a:gd name="T17" fmla="*/ 30 h 64"/>
                <a:gd name="T18" fmla="*/ 17 w 30"/>
                <a:gd name="T19" fmla="*/ 28 h 64"/>
                <a:gd name="T20" fmla="*/ 17 w 30"/>
                <a:gd name="T21" fmla="*/ 28 h 64"/>
                <a:gd name="T22" fmla="*/ 17 w 30"/>
                <a:gd name="T23" fmla="*/ 33 h 64"/>
                <a:gd name="T24" fmla="*/ 16 w 30"/>
                <a:gd name="T25" fmla="*/ 33 h 64"/>
                <a:gd name="T26" fmla="*/ 15 w 30"/>
                <a:gd name="T27" fmla="*/ 33 h 64"/>
                <a:gd name="T28" fmla="*/ 15 w 30"/>
                <a:gd name="T29" fmla="*/ 33 h 64"/>
                <a:gd name="T30" fmla="*/ 15 w 30"/>
                <a:gd name="T31" fmla="*/ 37 h 64"/>
                <a:gd name="T32" fmla="*/ 15 w 30"/>
                <a:gd name="T33" fmla="*/ 41 h 64"/>
                <a:gd name="T34" fmla="*/ 13 w 30"/>
                <a:gd name="T35" fmla="*/ 45 h 64"/>
                <a:gd name="T36" fmla="*/ 13 w 30"/>
                <a:gd name="T37" fmla="*/ 51 h 64"/>
                <a:gd name="T38" fmla="*/ 13 w 30"/>
                <a:gd name="T39" fmla="*/ 51 h 64"/>
                <a:gd name="T40" fmla="*/ 6 w 30"/>
                <a:gd name="T41" fmla="*/ 55 h 64"/>
                <a:gd name="T42" fmla="*/ 2 w 30"/>
                <a:gd name="T43" fmla="*/ 58 h 64"/>
                <a:gd name="T44" fmla="*/ 0 w 30"/>
                <a:gd name="T45" fmla="*/ 64 h 64"/>
                <a:gd name="T46" fmla="*/ 0 w 30"/>
                <a:gd name="T47" fmla="*/ 64 h 64"/>
                <a:gd name="T48" fmla="*/ 3 w 30"/>
                <a:gd name="T49" fmla="*/ 54 h 64"/>
                <a:gd name="T50" fmla="*/ 6 w 30"/>
                <a:gd name="T51" fmla="*/ 44 h 64"/>
                <a:gd name="T52" fmla="*/ 6 w 30"/>
                <a:gd name="T53" fmla="*/ 44 h 64"/>
                <a:gd name="T54" fmla="*/ 10 w 30"/>
                <a:gd name="T55" fmla="*/ 35 h 64"/>
                <a:gd name="T56" fmla="*/ 10 w 30"/>
                <a:gd name="T57" fmla="*/ 28 h 64"/>
                <a:gd name="T58" fmla="*/ 10 w 30"/>
                <a:gd name="T59" fmla="*/ 28 h 64"/>
                <a:gd name="T60" fmla="*/ 17 w 30"/>
                <a:gd name="T61" fmla="*/ 25 h 64"/>
                <a:gd name="T62" fmla="*/ 20 w 30"/>
                <a:gd name="T63" fmla="*/ 23 h 64"/>
                <a:gd name="T64" fmla="*/ 22 w 30"/>
                <a:gd name="T65" fmla="*/ 20 h 64"/>
                <a:gd name="T66" fmla="*/ 22 w 30"/>
                <a:gd name="T67" fmla="*/ 20 h 64"/>
                <a:gd name="T68" fmla="*/ 22 w 30"/>
                <a:gd name="T69" fmla="*/ 15 h 64"/>
                <a:gd name="T70" fmla="*/ 20 w 30"/>
                <a:gd name="T71" fmla="*/ 11 h 64"/>
                <a:gd name="T72" fmla="*/ 20 w 30"/>
                <a:gd name="T73" fmla="*/ 11 h 64"/>
                <a:gd name="T74" fmla="*/ 20 w 30"/>
                <a:gd name="T75" fmla="*/ 7 h 64"/>
                <a:gd name="T76" fmla="*/ 22 w 30"/>
                <a:gd name="T77" fmla="*/ 3 h 64"/>
                <a:gd name="T78" fmla="*/ 22 w 30"/>
                <a:gd name="T79" fmla="*/ 3 h 64"/>
                <a:gd name="T80" fmla="*/ 25 w 30"/>
                <a:gd name="T81" fmla="*/ 3 h 64"/>
                <a:gd name="T82" fmla="*/ 26 w 30"/>
                <a:gd name="T83" fmla="*/ 1 h 64"/>
                <a:gd name="T84" fmla="*/ 26 w 30"/>
                <a:gd name="T85" fmla="*/ 0 h 64"/>
                <a:gd name="T86" fmla="*/ 26 w 30"/>
                <a:gd name="T87" fmla="*/ 0 h 64"/>
                <a:gd name="T88" fmla="*/ 29 w 30"/>
                <a:gd name="T89" fmla="*/ 1 h 64"/>
                <a:gd name="T90" fmla="*/ 30 w 30"/>
                <a:gd name="T91" fmla="*/ 3 h 64"/>
                <a:gd name="T92" fmla="*/ 30 w 30"/>
                <a:gd name="T93" fmla="*/ 3 h 64"/>
                <a:gd name="T94" fmla="*/ 27 w 30"/>
                <a:gd name="T95" fmla="*/ 5 h 64"/>
                <a:gd name="T96" fmla="*/ 23 w 30"/>
                <a:gd name="T97" fmla="*/ 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64">
                  <a:moveTo>
                    <a:pt x="23" y="7"/>
                  </a:moveTo>
                  <a:lnTo>
                    <a:pt x="23" y="7"/>
                  </a:lnTo>
                  <a:lnTo>
                    <a:pt x="25" y="11"/>
                  </a:lnTo>
                  <a:lnTo>
                    <a:pt x="25" y="17"/>
                  </a:lnTo>
                  <a:lnTo>
                    <a:pt x="25" y="23"/>
                  </a:lnTo>
                  <a:lnTo>
                    <a:pt x="26" y="27"/>
                  </a:lnTo>
                  <a:lnTo>
                    <a:pt x="26" y="27"/>
                  </a:lnTo>
                  <a:lnTo>
                    <a:pt x="25" y="30"/>
                  </a:lnTo>
                  <a:lnTo>
                    <a:pt x="23" y="30"/>
                  </a:lnTo>
                  <a:lnTo>
                    <a:pt x="17" y="28"/>
                  </a:lnTo>
                  <a:lnTo>
                    <a:pt x="17" y="28"/>
                  </a:lnTo>
                  <a:lnTo>
                    <a:pt x="17" y="33"/>
                  </a:lnTo>
                  <a:lnTo>
                    <a:pt x="16" y="33"/>
                  </a:lnTo>
                  <a:lnTo>
                    <a:pt x="15" y="33"/>
                  </a:lnTo>
                  <a:lnTo>
                    <a:pt x="15" y="33"/>
                  </a:lnTo>
                  <a:lnTo>
                    <a:pt x="15" y="37"/>
                  </a:lnTo>
                  <a:lnTo>
                    <a:pt x="15" y="41"/>
                  </a:lnTo>
                  <a:lnTo>
                    <a:pt x="13" y="45"/>
                  </a:lnTo>
                  <a:lnTo>
                    <a:pt x="13" y="51"/>
                  </a:lnTo>
                  <a:lnTo>
                    <a:pt x="13" y="51"/>
                  </a:lnTo>
                  <a:lnTo>
                    <a:pt x="6" y="55"/>
                  </a:lnTo>
                  <a:lnTo>
                    <a:pt x="2" y="58"/>
                  </a:lnTo>
                  <a:lnTo>
                    <a:pt x="0" y="64"/>
                  </a:lnTo>
                  <a:lnTo>
                    <a:pt x="0" y="64"/>
                  </a:lnTo>
                  <a:lnTo>
                    <a:pt x="3" y="54"/>
                  </a:lnTo>
                  <a:lnTo>
                    <a:pt x="6" y="44"/>
                  </a:lnTo>
                  <a:lnTo>
                    <a:pt x="6" y="44"/>
                  </a:lnTo>
                  <a:lnTo>
                    <a:pt x="10" y="35"/>
                  </a:lnTo>
                  <a:lnTo>
                    <a:pt x="10" y="28"/>
                  </a:lnTo>
                  <a:lnTo>
                    <a:pt x="10" y="28"/>
                  </a:lnTo>
                  <a:lnTo>
                    <a:pt x="17" y="25"/>
                  </a:lnTo>
                  <a:lnTo>
                    <a:pt x="20" y="23"/>
                  </a:lnTo>
                  <a:lnTo>
                    <a:pt x="22" y="20"/>
                  </a:lnTo>
                  <a:lnTo>
                    <a:pt x="22" y="20"/>
                  </a:lnTo>
                  <a:lnTo>
                    <a:pt x="22" y="15"/>
                  </a:lnTo>
                  <a:lnTo>
                    <a:pt x="20" y="11"/>
                  </a:lnTo>
                  <a:lnTo>
                    <a:pt x="20" y="11"/>
                  </a:lnTo>
                  <a:lnTo>
                    <a:pt x="20" y="7"/>
                  </a:lnTo>
                  <a:lnTo>
                    <a:pt x="22" y="3"/>
                  </a:lnTo>
                  <a:lnTo>
                    <a:pt x="22" y="3"/>
                  </a:lnTo>
                  <a:lnTo>
                    <a:pt x="25" y="3"/>
                  </a:lnTo>
                  <a:lnTo>
                    <a:pt x="26" y="1"/>
                  </a:lnTo>
                  <a:lnTo>
                    <a:pt x="26" y="0"/>
                  </a:lnTo>
                  <a:lnTo>
                    <a:pt x="26" y="0"/>
                  </a:lnTo>
                  <a:lnTo>
                    <a:pt x="29" y="1"/>
                  </a:lnTo>
                  <a:lnTo>
                    <a:pt x="30" y="3"/>
                  </a:lnTo>
                  <a:lnTo>
                    <a:pt x="30" y="3"/>
                  </a:lnTo>
                  <a:lnTo>
                    <a:pt x="27" y="5"/>
                  </a:lnTo>
                  <a:lnTo>
                    <a:pt x="23"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1" name="Freeform 572"/>
            <p:cNvSpPr/>
            <p:nvPr/>
          </p:nvSpPr>
          <p:spPr bwMode="auto">
            <a:xfrm>
              <a:off x="2028983" y="4193878"/>
              <a:ext cx="12287" cy="24574"/>
            </a:xfrm>
            <a:custGeom>
              <a:avLst/>
              <a:gdLst>
                <a:gd name="T0" fmla="*/ 4 w 4"/>
                <a:gd name="T1" fmla="*/ 9 h 9"/>
                <a:gd name="T2" fmla="*/ 4 w 4"/>
                <a:gd name="T3" fmla="*/ 9 h 9"/>
                <a:gd name="T4" fmla="*/ 3 w 4"/>
                <a:gd name="T5" fmla="*/ 5 h 9"/>
                <a:gd name="T6" fmla="*/ 3 w 4"/>
                <a:gd name="T7" fmla="*/ 5 h 9"/>
                <a:gd name="T8" fmla="*/ 0 w 4"/>
                <a:gd name="T9" fmla="*/ 0 h 9"/>
                <a:gd name="T10" fmla="*/ 0 w 4"/>
                <a:gd name="T11" fmla="*/ 0 h 9"/>
                <a:gd name="T12" fmla="*/ 1 w 4"/>
                <a:gd name="T13" fmla="*/ 6 h 9"/>
                <a:gd name="T14" fmla="*/ 1 w 4"/>
                <a:gd name="T15" fmla="*/ 6 h 9"/>
                <a:gd name="T16" fmla="*/ 4 w 4"/>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9">
                  <a:moveTo>
                    <a:pt x="4" y="9"/>
                  </a:moveTo>
                  <a:lnTo>
                    <a:pt x="4" y="9"/>
                  </a:lnTo>
                  <a:lnTo>
                    <a:pt x="3" y="5"/>
                  </a:lnTo>
                  <a:lnTo>
                    <a:pt x="3" y="5"/>
                  </a:lnTo>
                  <a:lnTo>
                    <a:pt x="0" y="0"/>
                  </a:lnTo>
                  <a:lnTo>
                    <a:pt x="0" y="0"/>
                  </a:lnTo>
                  <a:lnTo>
                    <a:pt x="1" y="6"/>
                  </a:lnTo>
                  <a:lnTo>
                    <a:pt x="1" y="6"/>
                  </a:lnTo>
                  <a:lnTo>
                    <a:pt x="4"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2" name="Freeform 573"/>
            <p:cNvSpPr/>
            <p:nvPr/>
          </p:nvSpPr>
          <p:spPr bwMode="auto">
            <a:xfrm>
              <a:off x="2028983" y="4193878"/>
              <a:ext cx="12287" cy="24574"/>
            </a:xfrm>
            <a:custGeom>
              <a:avLst/>
              <a:gdLst>
                <a:gd name="T0" fmla="*/ 4 w 4"/>
                <a:gd name="T1" fmla="*/ 9 h 9"/>
                <a:gd name="T2" fmla="*/ 4 w 4"/>
                <a:gd name="T3" fmla="*/ 9 h 9"/>
                <a:gd name="T4" fmla="*/ 3 w 4"/>
                <a:gd name="T5" fmla="*/ 5 h 9"/>
                <a:gd name="T6" fmla="*/ 3 w 4"/>
                <a:gd name="T7" fmla="*/ 5 h 9"/>
                <a:gd name="T8" fmla="*/ 0 w 4"/>
                <a:gd name="T9" fmla="*/ 0 h 9"/>
                <a:gd name="T10" fmla="*/ 0 w 4"/>
                <a:gd name="T11" fmla="*/ 0 h 9"/>
                <a:gd name="T12" fmla="*/ 1 w 4"/>
                <a:gd name="T13" fmla="*/ 6 h 9"/>
                <a:gd name="T14" fmla="*/ 1 w 4"/>
                <a:gd name="T15" fmla="*/ 6 h 9"/>
                <a:gd name="T16" fmla="*/ 4 w 4"/>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9">
                  <a:moveTo>
                    <a:pt x="4" y="9"/>
                  </a:moveTo>
                  <a:lnTo>
                    <a:pt x="4" y="9"/>
                  </a:lnTo>
                  <a:lnTo>
                    <a:pt x="3" y="5"/>
                  </a:lnTo>
                  <a:lnTo>
                    <a:pt x="3" y="5"/>
                  </a:lnTo>
                  <a:lnTo>
                    <a:pt x="0" y="0"/>
                  </a:lnTo>
                  <a:lnTo>
                    <a:pt x="0" y="0"/>
                  </a:lnTo>
                  <a:lnTo>
                    <a:pt x="1" y="6"/>
                  </a:lnTo>
                  <a:lnTo>
                    <a:pt x="1" y="6"/>
                  </a:lnTo>
                  <a:lnTo>
                    <a:pt x="4"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3" name="Freeform 574"/>
            <p:cNvSpPr/>
            <p:nvPr/>
          </p:nvSpPr>
          <p:spPr bwMode="auto">
            <a:xfrm>
              <a:off x="2004409" y="4175448"/>
              <a:ext cx="12287" cy="24574"/>
            </a:xfrm>
            <a:custGeom>
              <a:avLst/>
              <a:gdLst>
                <a:gd name="T0" fmla="*/ 4 w 4"/>
                <a:gd name="T1" fmla="*/ 8 h 8"/>
                <a:gd name="T2" fmla="*/ 4 w 4"/>
                <a:gd name="T3" fmla="*/ 8 h 8"/>
                <a:gd name="T4" fmla="*/ 2 w 4"/>
                <a:gd name="T5" fmla="*/ 4 h 8"/>
                <a:gd name="T6" fmla="*/ 0 w 4"/>
                <a:gd name="T7" fmla="*/ 0 h 8"/>
                <a:gd name="T8" fmla="*/ 0 w 4"/>
                <a:gd name="T9" fmla="*/ 0 h 8"/>
                <a:gd name="T10" fmla="*/ 1 w 4"/>
                <a:gd name="T11" fmla="*/ 4 h 8"/>
                <a:gd name="T12" fmla="*/ 2 w 4"/>
                <a:gd name="T13" fmla="*/ 7 h 8"/>
                <a:gd name="T14" fmla="*/ 4 w 4"/>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4" y="8"/>
                  </a:moveTo>
                  <a:lnTo>
                    <a:pt x="4" y="8"/>
                  </a:lnTo>
                  <a:lnTo>
                    <a:pt x="2" y="4"/>
                  </a:lnTo>
                  <a:lnTo>
                    <a:pt x="0" y="0"/>
                  </a:lnTo>
                  <a:lnTo>
                    <a:pt x="0" y="0"/>
                  </a:lnTo>
                  <a:lnTo>
                    <a:pt x="1" y="4"/>
                  </a:lnTo>
                  <a:lnTo>
                    <a:pt x="2" y="7"/>
                  </a:lnTo>
                  <a:lnTo>
                    <a:pt x="4"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4" name="Freeform 575"/>
            <p:cNvSpPr/>
            <p:nvPr/>
          </p:nvSpPr>
          <p:spPr bwMode="auto">
            <a:xfrm>
              <a:off x="2004409" y="4175448"/>
              <a:ext cx="12287" cy="24574"/>
            </a:xfrm>
            <a:custGeom>
              <a:avLst/>
              <a:gdLst>
                <a:gd name="T0" fmla="*/ 4 w 4"/>
                <a:gd name="T1" fmla="*/ 8 h 8"/>
                <a:gd name="T2" fmla="*/ 4 w 4"/>
                <a:gd name="T3" fmla="*/ 8 h 8"/>
                <a:gd name="T4" fmla="*/ 2 w 4"/>
                <a:gd name="T5" fmla="*/ 4 h 8"/>
                <a:gd name="T6" fmla="*/ 0 w 4"/>
                <a:gd name="T7" fmla="*/ 0 h 8"/>
                <a:gd name="T8" fmla="*/ 0 w 4"/>
                <a:gd name="T9" fmla="*/ 0 h 8"/>
                <a:gd name="T10" fmla="*/ 1 w 4"/>
                <a:gd name="T11" fmla="*/ 4 h 8"/>
                <a:gd name="T12" fmla="*/ 2 w 4"/>
                <a:gd name="T13" fmla="*/ 7 h 8"/>
                <a:gd name="T14" fmla="*/ 4 w 4"/>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4" y="8"/>
                  </a:moveTo>
                  <a:lnTo>
                    <a:pt x="4" y="8"/>
                  </a:lnTo>
                  <a:lnTo>
                    <a:pt x="2" y="4"/>
                  </a:lnTo>
                  <a:lnTo>
                    <a:pt x="0" y="0"/>
                  </a:lnTo>
                  <a:lnTo>
                    <a:pt x="0" y="0"/>
                  </a:lnTo>
                  <a:lnTo>
                    <a:pt x="1" y="4"/>
                  </a:lnTo>
                  <a:lnTo>
                    <a:pt x="2" y="7"/>
                  </a:lnTo>
                  <a:lnTo>
                    <a:pt x="4"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5" name="Freeform 576"/>
            <p:cNvSpPr/>
            <p:nvPr/>
          </p:nvSpPr>
          <p:spPr bwMode="auto">
            <a:xfrm>
              <a:off x="1992122" y="4101727"/>
              <a:ext cx="12287" cy="24574"/>
            </a:xfrm>
            <a:custGeom>
              <a:avLst/>
              <a:gdLst>
                <a:gd name="T0" fmla="*/ 5 w 5"/>
                <a:gd name="T1" fmla="*/ 7 h 7"/>
                <a:gd name="T2" fmla="*/ 5 w 5"/>
                <a:gd name="T3" fmla="*/ 7 h 7"/>
                <a:gd name="T4" fmla="*/ 3 w 5"/>
                <a:gd name="T5" fmla="*/ 3 h 7"/>
                <a:gd name="T6" fmla="*/ 0 w 5"/>
                <a:gd name="T7" fmla="*/ 0 h 7"/>
                <a:gd name="T8" fmla="*/ 0 w 5"/>
                <a:gd name="T9" fmla="*/ 0 h 7"/>
                <a:gd name="T10" fmla="*/ 2 w 5"/>
                <a:gd name="T11" fmla="*/ 4 h 7"/>
                <a:gd name="T12" fmla="*/ 2 w 5"/>
                <a:gd name="T13" fmla="*/ 4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5" y="7"/>
                  </a:lnTo>
                  <a:lnTo>
                    <a:pt x="3" y="3"/>
                  </a:lnTo>
                  <a:lnTo>
                    <a:pt x="0" y="0"/>
                  </a:lnTo>
                  <a:lnTo>
                    <a:pt x="0" y="0"/>
                  </a:lnTo>
                  <a:lnTo>
                    <a:pt x="2" y="4"/>
                  </a:lnTo>
                  <a:lnTo>
                    <a:pt x="2" y="4"/>
                  </a:lnTo>
                  <a:lnTo>
                    <a:pt x="5" y="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6" name="Freeform 577"/>
            <p:cNvSpPr/>
            <p:nvPr/>
          </p:nvSpPr>
          <p:spPr bwMode="auto">
            <a:xfrm>
              <a:off x="1992122" y="4101727"/>
              <a:ext cx="12287" cy="24574"/>
            </a:xfrm>
            <a:custGeom>
              <a:avLst/>
              <a:gdLst>
                <a:gd name="T0" fmla="*/ 5 w 5"/>
                <a:gd name="T1" fmla="*/ 7 h 7"/>
                <a:gd name="T2" fmla="*/ 5 w 5"/>
                <a:gd name="T3" fmla="*/ 7 h 7"/>
                <a:gd name="T4" fmla="*/ 3 w 5"/>
                <a:gd name="T5" fmla="*/ 3 h 7"/>
                <a:gd name="T6" fmla="*/ 0 w 5"/>
                <a:gd name="T7" fmla="*/ 0 h 7"/>
                <a:gd name="T8" fmla="*/ 0 w 5"/>
                <a:gd name="T9" fmla="*/ 0 h 7"/>
                <a:gd name="T10" fmla="*/ 2 w 5"/>
                <a:gd name="T11" fmla="*/ 4 h 7"/>
                <a:gd name="T12" fmla="*/ 2 w 5"/>
                <a:gd name="T13" fmla="*/ 4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5" y="7"/>
                  </a:lnTo>
                  <a:lnTo>
                    <a:pt x="3" y="3"/>
                  </a:lnTo>
                  <a:lnTo>
                    <a:pt x="0" y="0"/>
                  </a:lnTo>
                  <a:lnTo>
                    <a:pt x="0" y="0"/>
                  </a:lnTo>
                  <a:lnTo>
                    <a:pt x="2" y="4"/>
                  </a:lnTo>
                  <a:lnTo>
                    <a:pt x="2" y="4"/>
                  </a:lnTo>
                  <a:lnTo>
                    <a:pt x="5"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7" name="Freeform 578"/>
            <p:cNvSpPr/>
            <p:nvPr/>
          </p:nvSpPr>
          <p:spPr bwMode="auto">
            <a:xfrm>
              <a:off x="1992122" y="3812979"/>
              <a:ext cx="12287" cy="30716"/>
            </a:xfrm>
            <a:custGeom>
              <a:avLst/>
              <a:gdLst>
                <a:gd name="T0" fmla="*/ 3 w 3"/>
                <a:gd name="T1" fmla="*/ 10 h 10"/>
                <a:gd name="T2" fmla="*/ 3 w 3"/>
                <a:gd name="T3" fmla="*/ 10 h 10"/>
                <a:gd name="T4" fmla="*/ 3 w 3"/>
                <a:gd name="T5" fmla="*/ 6 h 10"/>
                <a:gd name="T6" fmla="*/ 3 w 3"/>
                <a:gd name="T7" fmla="*/ 6 h 10"/>
                <a:gd name="T8" fmla="*/ 2 w 3"/>
                <a:gd name="T9" fmla="*/ 3 h 10"/>
                <a:gd name="T10" fmla="*/ 0 w 3"/>
                <a:gd name="T11" fmla="*/ 0 h 10"/>
                <a:gd name="T12" fmla="*/ 0 w 3"/>
                <a:gd name="T13" fmla="*/ 0 h 10"/>
                <a:gd name="T14" fmla="*/ 2 w 3"/>
                <a:gd name="T15" fmla="*/ 5 h 10"/>
                <a:gd name="T16" fmla="*/ 3 w 3"/>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0">
                  <a:moveTo>
                    <a:pt x="3" y="10"/>
                  </a:moveTo>
                  <a:lnTo>
                    <a:pt x="3" y="10"/>
                  </a:lnTo>
                  <a:lnTo>
                    <a:pt x="3" y="6"/>
                  </a:lnTo>
                  <a:lnTo>
                    <a:pt x="3" y="6"/>
                  </a:lnTo>
                  <a:lnTo>
                    <a:pt x="2" y="3"/>
                  </a:lnTo>
                  <a:lnTo>
                    <a:pt x="0" y="0"/>
                  </a:lnTo>
                  <a:lnTo>
                    <a:pt x="0" y="0"/>
                  </a:lnTo>
                  <a:lnTo>
                    <a:pt x="2" y="5"/>
                  </a:lnTo>
                  <a:lnTo>
                    <a:pt x="3"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8" name="Freeform 579"/>
            <p:cNvSpPr/>
            <p:nvPr/>
          </p:nvSpPr>
          <p:spPr bwMode="auto">
            <a:xfrm>
              <a:off x="1992122" y="3812979"/>
              <a:ext cx="12287" cy="30716"/>
            </a:xfrm>
            <a:custGeom>
              <a:avLst/>
              <a:gdLst>
                <a:gd name="T0" fmla="*/ 3 w 3"/>
                <a:gd name="T1" fmla="*/ 10 h 10"/>
                <a:gd name="T2" fmla="*/ 3 w 3"/>
                <a:gd name="T3" fmla="*/ 10 h 10"/>
                <a:gd name="T4" fmla="*/ 3 w 3"/>
                <a:gd name="T5" fmla="*/ 6 h 10"/>
                <a:gd name="T6" fmla="*/ 3 w 3"/>
                <a:gd name="T7" fmla="*/ 6 h 10"/>
                <a:gd name="T8" fmla="*/ 2 w 3"/>
                <a:gd name="T9" fmla="*/ 3 h 10"/>
                <a:gd name="T10" fmla="*/ 0 w 3"/>
                <a:gd name="T11" fmla="*/ 0 h 10"/>
                <a:gd name="T12" fmla="*/ 0 w 3"/>
                <a:gd name="T13" fmla="*/ 0 h 10"/>
                <a:gd name="T14" fmla="*/ 2 w 3"/>
                <a:gd name="T15" fmla="*/ 5 h 10"/>
                <a:gd name="T16" fmla="*/ 3 w 3"/>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0">
                  <a:moveTo>
                    <a:pt x="3" y="10"/>
                  </a:moveTo>
                  <a:lnTo>
                    <a:pt x="3" y="10"/>
                  </a:lnTo>
                  <a:lnTo>
                    <a:pt x="3" y="6"/>
                  </a:lnTo>
                  <a:lnTo>
                    <a:pt x="3" y="6"/>
                  </a:lnTo>
                  <a:lnTo>
                    <a:pt x="2" y="3"/>
                  </a:lnTo>
                  <a:lnTo>
                    <a:pt x="0" y="0"/>
                  </a:lnTo>
                  <a:lnTo>
                    <a:pt x="0" y="0"/>
                  </a:lnTo>
                  <a:lnTo>
                    <a:pt x="2" y="5"/>
                  </a:lnTo>
                  <a:lnTo>
                    <a:pt x="3"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9" name="Freeform 580"/>
            <p:cNvSpPr/>
            <p:nvPr/>
          </p:nvSpPr>
          <p:spPr bwMode="auto">
            <a:xfrm>
              <a:off x="1985980" y="4132442"/>
              <a:ext cx="12287" cy="18429"/>
            </a:xfrm>
            <a:custGeom>
              <a:avLst/>
              <a:gdLst>
                <a:gd name="T0" fmla="*/ 3 w 3"/>
                <a:gd name="T1" fmla="*/ 6 h 6"/>
                <a:gd name="T2" fmla="*/ 3 w 3"/>
                <a:gd name="T3" fmla="*/ 6 h 6"/>
                <a:gd name="T4" fmla="*/ 3 w 3"/>
                <a:gd name="T5" fmla="*/ 6 h 6"/>
                <a:gd name="T6" fmla="*/ 3 w 3"/>
                <a:gd name="T7" fmla="*/ 5 h 6"/>
                <a:gd name="T8" fmla="*/ 1 w 3"/>
                <a:gd name="T9" fmla="*/ 0 h 6"/>
                <a:gd name="T10" fmla="*/ 1 w 3"/>
                <a:gd name="T11" fmla="*/ 0 h 6"/>
                <a:gd name="T12" fmla="*/ 0 w 3"/>
                <a:gd name="T13" fmla="*/ 0 h 6"/>
                <a:gd name="T14" fmla="*/ 1 w 3"/>
                <a:gd name="T15" fmla="*/ 2 h 6"/>
                <a:gd name="T16" fmla="*/ 1 w 3"/>
                <a:gd name="T17" fmla="*/ 5 h 6"/>
                <a:gd name="T18" fmla="*/ 1 w 3"/>
                <a:gd name="T19" fmla="*/ 5 h 6"/>
                <a:gd name="T20" fmla="*/ 3 w 3"/>
                <a:gd name="T21" fmla="*/ 6 h 6"/>
                <a:gd name="T22" fmla="*/ 3 w 3"/>
                <a:gd name="T2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6"/>
                  </a:moveTo>
                  <a:lnTo>
                    <a:pt x="3" y="6"/>
                  </a:lnTo>
                  <a:lnTo>
                    <a:pt x="3" y="6"/>
                  </a:lnTo>
                  <a:lnTo>
                    <a:pt x="3" y="5"/>
                  </a:lnTo>
                  <a:lnTo>
                    <a:pt x="1" y="0"/>
                  </a:lnTo>
                  <a:lnTo>
                    <a:pt x="1" y="0"/>
                  </a:lnTo>
                  <a:lnTo>
                    <a:pt x="0" y="0"/>
                  </a:lnTo>
                  <a:lnTo>
                    <a:pt x="1" y="2"/>
                  </a:lnTo>
                  <a:lnTo>
                    <a:pt x="1" y="5"/>
                  </a:lnTo>
                  <a:lnTo>
                    <a:pt x="1" y="5"/>
                  </a:lnTo>
                  <a:lnTo>
                    <a:pt x="3" y="6"/>
                  </a:lnTo>
                  <a:lnTo>
                    <a:pt x="3"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0" name="Freeform 581"/>
            <p:cNvSpPr/>
            <p:nvPr/>
          </p:nvSpPr>
          <p:spPr bwMode="auto">
            <a:xfrm>
              <a:off x="1985980" y="4132442"/>
              <a:ext cx="12287" cy="18429"/>
            </a:xfrm>
            <a:custGeom>
              <a:avLst/>
              <a:gdLst>
                <a:gd name="T0" fmla="*/ 3 w 3"/>
                <a:gd name="T1" fmla="*/ 6 h 6"/>
                <a:gd name="T2" fmla="*/ 3 w 3"/>
                <a:gd name="T3" fmla="*/ 6 h 6"/>
                <a:gd name="T4" fmla="*/ 3 w 3"/>
                <a:gd name="T5" fmla="*/ 6 h 6"/>
                <a:gd name="T6" fmla="*/ 3 w 3"/>
                <a:gd name="T7" fmla="*/ 5 h 6"/>
                <a:gd name="T8" fmla="*/ 1 w 3"/>
                <a:gd name="T9" fmla="*/ 0 h 6"/>
                <a:gd name="T10" fmla="*/ 1 w 3"/>
                <a:gd name="T11" fmla="*/ 0 h 6"/>
                <a:gd name="T12" fmla="*/ 0 w 3"/>
                <a:gd name="T13" fmla="*/ 0 h 6"/>
                <a:gd name="T14" fmla="*/ 1 w 3"/>
                <a:gd name="T15" fmla="*/ 2 h 6"/>
                <a:gd name="T16" fmla="*/ 1 w 3"/>
                <a:gd name="T17" fmla="*/ 5 h 6"/>
                <a:gd name="T18" fmla="*/ 1 w 3"/>
                <a:gd name="T19" fmla="*/ 5 h 6"/>
                <a:gd name="T20" fmla="*/ 3 w 3"/>
                <a:gd name="T21" fmla="*/ 6 h 6"/>
                <a:gd name="T22" fmla="*/ 3 w 3"/>
                <a:gd name="T2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6"/>
                  </a:moveTo>
                  <a:lnTo>
                    <a:pt x="3" y="6"/>
                  </a:lnTo>
                  <a:lnTo>
                    <a:pt x="3" y="6"/>
                  </a:lnTo>
                  <a:lnTo>
                    <a:pt x="3" y="5"/>
                  </a:lnTo>
                  <a:lnTo>
                    <a:pt x="1" y="0"/>
                  </a:lnTo>
                  <a:lnTo>
                    <a:pt x="1" y="0"/>
                  </a:lnTo>
                  <a:lnTo>
                    <a:pt x="0" y="0"/>
                  </a:lnTo>
                  <a:lnTo>
                    <a:pt x="1" y="2"/>
                  </a:lnTo>
                  <a:lnTo>
                    <a:pt x="1" y="5"/>
                  </a:lnTo>
                  <a:lnTo>
                    <a:pt x="1" y="5"/>
                  </a:lnTo>
                  <a:lnTo>
                    <a:pt x="3" y="6"/>
                  </a:lnTo>
                  <a:lnTo>
                    <a:pt x="3"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1" name="Freeform 582"/>
            <p:cNvSpPr/>
            <p:nvPr/>
          </p:nvSpPr>
          <p:spPr bwMode="auto">
            <a:xfrm>
              <a:off x="1985980" y="3782264"/>
              <a:ext cx="12287" cy="12287"/>
            </a:xfrm>
            <a:custGeom>
              <a:avLst/>
              <a:gdLst>
                <a:gd name="T0" fmla="*/ 1 w 3"/>
                <a:gd name="T1" fmla="*/ 6 h 6"/>
                <a:gd name="T2" fmla="*/ 1 w 3"/>
                <a:gd name="T3" fmla="*/ 6 h 6"/>
                <a:gd name="T4" fmla="*/ 1 w 3"/>
                <a:gd name="T5" fmla="*/ 3 h 6"/>
                <a:gd name="T6" fmla="*/ 3 w 3"/>
                <a:gd name="T7" fmla="*/ 0 h 6"/>
                <a:gd name="T8" fmla="*/ 3 w 3"/>
                <a:gd name="T9" fmla="*/ 0 h 6"/>
                <a:gd name="T10" fmla="*/ 1 w 3"/>
                <a:gd name="T11" fmla="*/ 0 h 6"/>
                <a:gd name="T12" fmla="*/ 0 w 3"/>
                <a:gd name="T13" fmla="*/ 3 h 6"/>
                <a:gd name="T14" fmla="*/ 0 w 3"/>
                <a:gd name="T15" fmla="*/ 3 h 6"/>
                <a:gd name="T16" fmla="*/ 1 w 3"/>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1" y="6"/>
                  </a:moveTo>
                  <a:lnTo>
                    <a:pt x="1" y="6"/>
                  </a:lnTo>
                  <a:lnTo>
                    <a:pt x="1" y="3"/>
                  </a:lnTo>
                  <a:lnTo>
                    <a:pt x="3" y="0"/>
                  </a:lnTo>
                  <a:lnTo>
                    <a:pt x="3" y="0"/>
                  </a:lnTo>
                  <a:lnTo>
                    <a:pt x="1" y="0"/>
                  </a:lnTo>
                  <a:lnTo>
                    <a:pt x="0" y="3"/>
                  </a:lnTo>
                  <a:lnTo>
                    <a:pt x="0" y="3"/>
                  </a:lnTo>
                  <a:lnTo>
                    <a:pt x="1"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2" name="Freeform 583"/>
            <p:cNvSpPr/>
            <p:nvPr/>
          </p:nvSpPr>
          <p:spPr bwMode="auto">
            <a:xfrm>
              <a:off x="1985980" y="3782264"/>
              <a:ext cx="12287" cy="12287"/>
            </a:xfrm>
            <a:custGeom>
              <a:avLst/>
              <a:gdLst>
                <a:gd name="T0" fmla="*/ 1 w 3"/>
                <a:gd name="T1" fmla="*/ 6 h 6"/>
                <a:gd name="T2" fmla="*/ 1 w 3"/>
                <a:gd name="T3" fmla="*/ 6 h 6"/>
                <a:gd name="T4" fmla="*/ 1 w 3"/>
                <a:gd name="T5" fmla="*/ 3 h 6"/>
                <a:gd name="T6" fmla="*/ 3 w 3"/>
                <a:gd name="T7" fmla="*/ 0 h 6"/>
                <a:gd name="T8" fmla="*/ 3 w 3"/>
                <a:gd name="T9" fmla="*/ 0 h 6"/>
                <a:gd name="T10" fmla="*/ 1 w 3"/>
                <a:gd name="T11" fmla="*/ 0 h 6"/>
                <a:gd name="T12" fmla="*/ 0 w 3"/>
                <a:gd name="T13" fmla="*/ 3 h 6"/>
                <a:gd name="T14" fmla="*/ 0 w 3"/>
                <a:gd name="T15" fmla="*/ 3 h 6"/>
                <a:gd name="T16" fmla="*/ 1 w 3"/>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1" y="6"/>
                  </a:moveTo>
                  <a:lnTo>
                    <a:pt x="1" y="6"/>
                  </a:lnTo>
                  <a:lnTo>
                    <a:pt x="1" y="3"/>
                  </a:lnTo>
                  <a:lnTo>
                    <a:pt x="3" y="0"/>
                  </a:lnTo>
                  <a:lnTo>
                    <a:pt x="3" y="0"/>
                  </a:lnTo>
                  <a:lnTo>
                    <a:pt x="1" y="0"/>
                  </a:lnTo>
                  <a:lnTo>
                    <a:pt x="0" y="3"/>
                  </a:lnTo>
                  <a:lnTo>
                    <a:pt x="0" y="3"/>
                  </a:lnTo>
                  <a:lnTo>
                    <a:pt x="1"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3" name="Freeform 584"/>
            <p:cNvSpPr/>
            <p:nvPr/>
          </p:nvSpPr>
          <p:spPr bwMode="auto">
            <a:xfrm>
              <a:off x="1949119" y="3941995"/>
              <a:ext cx="6145" cy="24574"/>
            </a:xfrm>
            <a:custGeom>
              <a:avLst/>
              <a:gdLst>
                <a:gd name="T0" fmla="*/ 3 w 3"/>
                <a:gd name="T1" fmla="*/ 7 h 7"/>
                <a:gd name="T2" fmla="*/ 3 w 3"/>
                <a:gd name="T3" fmla="*/ 7 h 7"/>
                <a:gd name="T4" fmla="*/ 3 w 3"/>
                <a:gd name="T5" fmla="*/ 7 h 7"/>
                <a:gd name="T6" fmla="*/ 3 w 3"/>
                <a:gd name="T7" fmla="*/ 4 h 7"/>
                <a:gd name="T8" fmla="*/ 0 w 3"/>
                <a:gd name="T9" fmla="*/ 0 h 7"/>
                <a:gd name="T10" fmla="*/ 0 w 3"/>
                <a:gd name="T11" fmla="*/ 0 h 7"/>
                <a:gd name="T12" fmla="*/ 0 w 3"/>
                <a:gd name="T13" fmla="*/ 1 h 7"/>
                <a:gd name="T14" fmla="*/ 1 w 3"/>
                <a:gd name="T15" fmla="*/ 4 h 7"/>
                <a:gd name="T16" fmla="*/ 1 w 3"/>
                <a:gd name="T17" fmla="*/ 6 h 7"/>
                <a:gd name="T18" fmla="*/ 3 w 3"/>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3" y="7"/>
                  </a:moveTo>
                  <a:lnTo>
                    <a:pt x="3" y="7"/>
                  </a:lnTo>
                  <a:lnTo>
                    <a:pt x="3" y="7"/>
                  </a:lnTo>
                  <a:lnTo>
                    <a:pt x="3" y="4"/>
                  </a:lnTo>
                  <a:lnTo>
                    <a:pt x="0" y="0"/>
                  </a:lnTo>
                  <a:lnTo>
                    <a:pt x="0" y="0"/>
                  </a:lnTo>
                  <a:lnTo>
                    <a:pt x="0" y="1"/>
                  </a:lnTo>
                  <a:lnTo>
                    <a:pt x="1" y="4"/>
                  </a:lnTo>
                  <a:lnTo>
                    <a:pt x="1" y="6"/>
                  </a:lnTo>
                  <a:lnTo>
                    <a:pt x="3" y="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4" name="Freeform 585"/>
            <p:cNvSpPr/>
            <p:nvPr/>
          </p:nvSpPr>
          <p:spPr bwMode="auto">
            <a:xfrm>
              <a:off x="1949119" y="3941995"/>
              <a:ext cx="6145" cy="24574"/>
            </a:xfrm>
            <a:custGeom>
              <a:avLst/>
              <a:gdLst>
                <a:gd name="T0" fmla="*/ 3 w 3"/>
                <a:gd name="T1" fmla="*/ 7 h 7"/>
                <a:gd name="T2" fmla="*/ 3 w 3"/>
                <a:gd name="T3" fmla="*/ 7 h 7"/>
                <a:gd name="T4" fmla="*/ 3 w 3"/>
                <a:gd name="T5" fmla="*/ 7 h 7"/>
                <a:gd name="T6" fmla="*/ 3 w 3"/>
                <a:gd name="T7" fmla="*/ 4 h 7"/>
                <a:gd name="T8" fmla="*/ 0 w 3"/>
                <a:gd name="T9" fmla="*/ 0 h 7"/>
                <a:gd name="T10" fmla="*/ 0 w 3"/>
                <a:gd name="T11" fmla="*/ 0 h 7"/>
                <a:gd name="T12" fmla="*/ 0 w 3"/>
                <a:gd name="T13" fmla="*/ 1 h 7"/>
                <a:gd name="T14" fmla="*/ 1 w 3"/>
                <a:gd name="T15" fmla="*/ 4 h 7"/>
                <a:gd name="T16" fmla="*/ 1 w 3"/>
                <a:gd name="T17" fmla="*/ 6 h 7"/>
                <a:gd name="T18" fmla="*/ 3 w 3"/>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3" y="7"/>
                  </a:moveTo>
                  <a:lnTo>
                    <a:pt x="3" y="7"/>
                  </a:lnTo>
                  <a:lnTo>
                    <a:pt x="3" y="7"/>
                  </a:lnTo>
                  <a:lnTo>
                    <a:pt x="3" y="4"/>
                  </a:lnTo>
                  <a:lnTo>
                    <a:pt x="0" y="0"/>
                  </a:lnTo>
                  <a:lnTo>
                    <a:pt x="0" y="0"/>
                  </a:lnTo>
                  <a:lnTo>
                    <a:pt x="0" y="1"/>
                  </a:lnTo>
                  <a:lnTo>
                    <a:pt x="1" y="4"/>
                  </a:lnTo>
                  <a:lnTo>
                    <a:pt x="1" y="6"/>
                  </a:lnTo>
                  <a:lnTo>
                    <a:pt x="3"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5" name="Freeform 586"/>
            <p:cNvSpPr/>
            <p:nvPr/>
          </p:nvSpPr>
          <p:spPr bwMode="auto">
            <a:xfrm>
              <a:off x="1967547" y="3597958"/>
              <a:ext cx="18433" cy="92151"/>
            </a:xfrm>
            <a:custGeom>
              <a:avLst/>
              <a:gdLst>
                <a:gd name="T0" fmla="*/ 5 w 5"/>
                <a:gd name="T1" fmla="*/ 30 h 30"/>
                <a:gd name="T2" fmla="*/ 5 w 5"/>
                <a:gd name="T3" fmla="*/ 30 h 30"/>
                <a:gd name="T4" fmla="*/ 5 w 5"/>
                <a:gd name="T5" fmla="*/ 27 h 30"/>
                <a:gd name="T6" fmla="*/ 5 w 5"/>
                <a:gd name="T7" fmla="*/ 26 h 30"/>
                <a:gd name="T8" fmla="*/ 5 w 5"/>
                <a:gd name="T9" fmla="*/ 27 h 30"/>
                <a:gd name="T10" fmla="*/ 5 w 5"/>
                <a:gd name="T11" fmla="*/ 27 h 30"/>
                <a:gd name="T12" fmla="*/ 4 w 5"/>
                <a:gd name="T13" fmla="*/ 25 h 30"/>
                <a:gd name="T14" fmla="*/ 3 w 5"/>
                <a:gd name="T15" fmla="*/ 20 h 30"/>
                <a:gd name="T16" fmla="*/ 3 w 5"/>
                <a:gd name="T17" fmla="*/ 20 h 30"/>
                <a:gd name="T18" fmla="*/ 4 w 5"/>
                <a:gd name="T19" fmla="*/ 17 h 30"/>
                <a:gd name="T20" fmla="*/ 4 w 5"/>
                <a:gd name="T21" fmla="*/ 12 h 30"/>
                <a:gd name="T22" fmla="*/ 4 w 5"/>
                <a:gd name="T23" fmla="*/ 12 h 30"/>
                <a:gd name="T24" fmla="*/ 3 w 5"/>
                <a:gd name="T25" fmla="*/ 12 h 30"/>
                <a:gd name="T26" fmla="*/ 1 w 5"/>
                <a:gd name="T27" fmla="*/ 9 h 30"/>
                <a:gd name="T28" fmla="*/ 0 w 5"/>
                <a:gd name="T29" fmla="*/ 0 h 30"/>
                <a:gd name="T30" fmla="*/ 0 w 5"/>
                <a:gd name="T31" fmla="*/ 0 h 30"/>
                <a:gd name="T32" fmla="*/ 1 w 5"/>
                <a:gd name="T33" fmla="*/ 5 h 30"/>
                <a:gd name="T34" fmla="*/ 0 w 5"/>
                <a:gd name="T35" fmla="*/ 9 h 30"/>
                <a:gd name="T36" fmla="*/ 0 w 5"/>
                <a:gd name="T37" fmla="*/ 9 h 30"/>
                <a:gd name="T38" fmla="*/ 1 w 5"/>
                <a:gd name="T39" fmla="*/ 10 h 30"/>
                <a:gd name="T40" fmla="*/ 1 w 5"/>
                <a:gd name="T41" fmla="*/ 10 h 30"/>
                <a:gd name="T42" fmla="*/ 3 w 5"/>
                <a:gd name="T43" fmla="*/ 15 h 30"/>
                <a:gd name="T44" fmla="*/ 3 w 5"/>
                <a:gd name="T45" fmla="*/ 15 h 30"/>
                <a:gd name="T46" fmla="*/ 1 w 5"/>
                <a:gd name="T47" fmla="*/ 17 h 30"/>
                <a:gd name="T48" fmla="*/ 1 w 5"/>
                <a:gd name="T49" fmla="*/ 17 h 30"/>
                <a:gd name="T50" fmla="*/ 3 w 5"/>
                <a:gd name="T51" fmla="*/ 20 h 30"/>
                <a:gd name="T52" fmla="*/ 3 w 5"/>
                <a:gd name="T53" fmla="*/ 25 h 30"/>
                <a:gd name="T54" fmla="*/ 3 w 5"/>
                <a:gd name="T55" fmla="*/ 25 h 30"/>
                <a:gd name="T56" fmla="*/ 4 w 5"/>
                <a:gd name="T57" fmla="*/ 29 h 30"/>
                <a:gd name="T58" fmla="*/ 5 w 5"/>
                <a:gd name="T5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30">
                  <a:moveTo>
                    <a:pt x="5" y="30"/>
                  </a:moveTo>
                  <a:lnTo>
                    <a:pt x="5" y="30"/>
                  </a:lnTo>
                  <a:lnTo>
                    <a:pt x="5" y="27"/>
                  </a:lnTo>
                  <a:lnTo>
                    <a:pt x="5" y="26"/>
                  </a:lnTo>
                  <a:lnTo>
                    <a:pt x="5" y="27"/>
                  </a:lnTo>
                  <a:lnTo>
                    <a:pt x="5" y="27"/>
                  </a:lnTo>
                  <a:lnTo>
                    <a:pt x="4" y="25"/>
                  </a:lnTo>
                  <a:lnTo>
                    <a:pt x="3" y="20"/>
                  </a:lnTo>
                  <a:lnTo>
                    <a:pt x="3" y="20"/>
                  </a:lnTo>
                  <a:lnTo>
                    <a:pt x="4" y="17"/>
                  </a:lnTo>
                  <a:lnTo>
                    <a:pt x="4" y="12"/>
                  </a:lnTo>
                  <a:lnTo>
                    <a:pt x="4" y="12"/>
                  </a:lnTo>
                  <a:lnTo>
                    <a:pt x="3" y="12"/>
                  </a:lnTo>
                  <a:lnTo>
                    <a:pt x="1" y="9"/>
                  </a:lnTo>
                  <a:lnTo>
                    <a:pt x="0" y="0"/>
                  </a:lnTo>
                  <a:lnTo>
                    <a:pt x="0" y="0"/>
                  </a:lnTo>
                  <a:lnTo>
                    <a:pt x="1" y="5"/>
                  </a:lnTo>
                  <a:lnTo>
                    <a:pt x="0" y="9"/>
                  </a:lnTo>
                  <a:lnTo>
                    <a:pt x="0" y="9"/>
                  </a:lnTo>
                  <a:lnTo>
                    <a:pt x="1" y="10"/>
                  </a:lnTo>
                  <a:lnTo>
                    <a:pt x="1" y="10"/>
                  </a:lnTo>
                  <a:lnTo>
                    <a:pt x="3" y="15"/>
                  </a:lnTo>
                  <a:lnTo>
                    <a:pt x="3" y="15"/>
                  </a:lnTo>
                  <a:lnTo>
                    <a:pt x="1" y="17"/>
                  </a:lnTo>
                  <a:lnTo>
                    <a:pt x="1" y="17"/>
                  </a:lnTo>
                  <a:lnTo>
                    <a:pt x="3" y="20"/>
                  </a:lnTo>
                  <a:lnTo>
                    <a:pt x="3" y="25"/>
                  </a:lnTo>
                  <a:lnTo>
                    <a:pt x="3" y="25"/>
                  </a:lnTo>
                  <a:lnTo>
                    <a:pt x="4" y="29"/>
                  </a:lnTo>
                  <a:lnTo>
                    <a:pt x="5"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6" name="Freeform 587"/>
            <p:cNvSpPr/>
            <p:nvPr/>
          </p:nvSpPr>
          <p:spPr bwMode="auto">
            <a:xfrm>
              <a:off x="1967547" y="3597958"/>
              <a:ext cx="18433" cy="92151"/>
            </a:xfrm>
            <a:custGeom>
              <a:avLst/>
              <a:gdLst>
                <a:gd name="T0" fmla="*/ 5 w 5"/>
                <a:gd name="T1" fmla="*/ 30 h 30"/>
                <a:gd name="T2" fmla="*/ 5 w 5"/>
                <a:gd name="T3" fmla="*/ 30 h 30"/>
                <a:gd name="T4" fmla="*/ 5 w 5"/>
                <a:gd name="T5" fmla="*/ 27 h 30"/>
                <a:gd name="T6" fmla="*/ 5 w 5"/>
                <a:gd name="T7" fmla="*/ 26 h 30"/>
                <a:gd name="T8" fmla="*/ 5 w 5"/>
                <a:gd name="T9" fmla="*/ 27 h 30"/>
                <a:gd name="T10" fmla="*/ 5 w 5"/>
                <a:gd name="T11" fmla="*/ 27 h 30"/>
                <a:gd name="T12" fmla="*/ 4 w 5"/>
                <a:gd name="T13" fmla="*/ 25 h 30"/>
                <a:gd name="T14" fmla="*/ 3 w 5"/>
                <a:gd name="T15" fmla="*/ 20 h 30"/>
                <a:gd name="T16" fmla="*/ 3 w 5"/>
                <a:gd name="T17" fmla="*/ 20 h 30"/>
                <a:gd name="T18" fmla="*/ 4 w 5"/>
                <a:gd name="T19" fmla="*/ 17 h 30"/>
                <a:gd name="T20" fmla="*/ 4 w 5"/>
                <a:gd name="T21" fmla="*/ 12 h 30"/>
                <a:gd name="T22" fmla="*/ 4 w 5"/>
                <a:gd name="T23" fmla="*/ 12 h 30"/>
                <a:gd name="T24" fmla="*/ 3 w 5"/>
                <a:gd name="T25" fmla="*/ 12 h 30"/>
                <a:gd name="T26" fmla="*/ 1 w 5"/>
                <a:gd name="T27" fmla="*/ 9 h 30"/>
                <a:gd name="T28" fmla="*/ 0 w 5"/>
                <a:gd name="T29" fmla="*/ 0 h 30"/>
                <a:gd name="T30" fmla="*/ 0 w 5"/>
                <a:gd name="T31" fmla="*/ 0 h 30"/>
                <a:gd name="T32" fmla="*/ 1 w 5"/>
                <a:gd name="T33" fmla="*/ 5 h 30"/>
                <a:gd name="T34" fmla="*/ 0 w 5"/>
                <a:gd name="T35" fmla="*/ 9 h 30"/>
                <a:gd name="T36" fmla="*/ 0 w 5"/>
                <a:gd name="T37" fmla="*/ 9 h 30"/>
                <a:gd name="T38" fmla="*/ 1 w 5"/>
                <a:gd name="T39" fmla="*/ 10 h 30"/>
                <a:gd name="T40" fmla="*/ 1 w 5"/>
                <a:gd name="T41" fmla="*/ 10 h 30"/>
                <a:gd name="T42" fmla="*/ 3 w 5"/>
                <a:gd name="T43" fmla="*/ 15 h 30"/>
                <a:gd name="T44" fmla="*/ 3 w 5"/>
                <a:gd name="T45" fmla="*/ 15 h 30"/>
                <a:gd name="T46" fmla="*/ 1 w 5"/>
                <a:gd name="T47" fmla="*/ 17 h 30"/>
                <a:gd name="T48" fmla="*/ 1 w 5"/>
                <a:gd name="T49" fmla="*/ 17 h 30"/>
                <a:gd name="T50" fmla="*/ 3 w 5"/>
                <a:gd name="T51" fmla="*/ 20 h 30"/>
                <a:gd name="T52" fmla="*/ 3 w 5"/>
                <a:gd name="T53" fmla="*/ 25 h 30"/>
                <a:gd name="T54" fmla="*/ 3 w 5"/>
                <a:gd name="T55" fmla="*/ 25 h 30"/>
                <a:gd name="T56" fmla="*/ 4 w 5"/>
                <a:gd name="T57" fmla="*/ 29 h 30"/>
                <a:gd name="T58" fmla="*/ 5 w 5"/>
                <a:gd name="T5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30">
                  <a:moveTo>
                    <a:pt x="5" y="30"/>
                  </a:moveTo>
                  <a:lnTo>
                    <a:pt x="5" y="30"/>
                  </a:lnTo>
                  <a:lnTo>
                    <a:pt x="5" y="27"/>
                  </a:lnTo>
                  <a:lnTo>
                    <a:pt x="5" y="26"/>
                  </a:lnTo>
                  <a:lnTo>
                    <a:pt x="5" y="27"/>
                  </a:lnTo>
                  <a:lnTo>
                    <a:pt x="5" y="27"/>
                  </a:lnTo>
                  <a:lnTo>
                    <a:pt x="4" y="25"/>
                  </a:lnTo>
                  <a:lnTo>
                    <a:pt x="3" y="20"/>
                  </a:lnTo>
                  <a:lnTo>
                    <a:pt x="3" y="20"/>
                  </a:lnTo>
                  <a:lnTo>
                    <a:pt x="4" y="17"/>
                  </a:lnTo>
                  <a:lnTo>
                    <a:pt x="4" y="12"/>
                  </a:lnTo>
                  <a:lnTo>
                    <a:pt x="4" y="12"/>
                  </a:lnTo>
                  <a:lnTo>
                    <a:pt x="3" y="12"/>
                  </a:lnTo>
                  <a:lnTo>
                    <a:pt x="1" y="9"/>
                  </a:lnTo>
                  <a:lnTo>
                    <a:pt x="0" y="0"/>
                  </a:lnTo>
                  <a:lnTo>
                    <a:pt x="0" y="0"/>
                  </a:lnTo>
                  <a:lnTo>
                    <a:pt x="1" y="5"/>
                  </a:lnTo>
                  <a:lnTo>
                    <a:pt x="0" y="9"/>
                  </a:lnTo>
                  <a:lnTo>
                    <a:pt x="0" y="9"/>
                  </a:lnTo>
                  <a:lnTo>
                    <a:pt x="1" y="10"/>
                  </a:lnTo>
                  <a:lnTo>
                    <a:pt x="1" y="10"/>
                  </a:lnTo>
                  <a:lnTo>
                    <a:pt x="3" y="15"/>
                  </a:lnTo>
                  <a:lnTo>
                    <a:pt x="3" y="15"/>
                  </a:lnTo>
                  <a:lnTo>
                    <a:pt x="1" y="17"/>
                  </a:lnTo>
                  <a:lnTo>
                    <a:pt x="1" y="17"/>
                  </a:lnTo>
                  <a:lnTo>
                    <a:pt x="3" y="20"/>
                  </a:lnTo>
                  <a:lnTo>
                    <a:pt x="3" y="25"/>
                  </a:lnTo>
                  <a:lnTo>
                    <a:pt x="3" y="25"/>
                  </a:lnTo>
                  <a:lnTo>
                    <a:pt x="4" y="29"/>
                  </a:lnTo>
                  <a:lnTo>
                    <a:pt x="5" y="3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7" name="Freeform 588"/>
            <p:cNvSpPr/>
            <p:nvPr/>
          </p:nvSpPr>
          <p:spPr bwMode="auto">
            <a:xfrm>
              <a:off x="1942973" y="3905133"/>
              <a:ext cx="6145" cy="18429"/>
            </a:xfrm>
            <a:custGeom>
              <a:avLst/>
              <a:gdLst>
                <a:gd name="T0" fmla="*/ 3 w 3"/>
                <a:gd name="T1" fmla="*/ 7 h 7"/>
                <a:gd name="T2" fmla="*/ 3 w 3"/>
                <a:gd name="T3" fmla="*/ 7 h 7"/>
                <a:gd name="T4" fmla="*/ 3 w 3"/>
                <a:gd name="T5" fmla="*/ 3 h 7"/>
                <a:gd name="T6" fmla="*/ 3 w 3"/>
                <a:gd name="T7" fmla="*/ 3 h 7"/>
                <a:gd name="T8" fmla="*/ 2 w 3"/>
                <a:gd name="T9" fmla="*/ 3 h 7"/>
                <a:gd name="T10" fmla="*/ 2 w 3"/>
                <a:gd name="T11" fmla="*/ 0 h 7"/>
                <a:gd name="T12" fmla="*/ 2 w 3"/>
                <a:gd name="T13" fmla="*/ 0 h 7"/>
                <a:gd name="T14" fmla="*/ 0 w 3"/>
                <a:gd name="T15" fmla="*/ 2 h 7"/>
                <a:gd name="T16" fmla="*/ 0 w 3"/>
                <a:gd name="T17" fmla="*/ 3 h 7"/>
                <a:gd name="T18" fmla="*/ 3 w 3"/>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3" y="7"/>
                  </a:moveTo>
                  <a:lnTo>
                    <a:pt x="3" y="7"/>
                  </a:lnTo>
                  <a:lnTo>
                    <a:pt x="3" y="3"/>
                  </a:lnTo>
                  <a:lnTo>
                    <a:pt x="3" y="3"/>
                  </a:lnTo>
                  <a:lnTo>
                    <a:pt x="2" y="3"/>
                  </a:lnTo>
                  <a:lnTo>
                    <a:pt x="2" y="0"/>
                  </a:lnTo>
                  <a:lnTo>
                    <a:pt x="2" y="0"/>
                  </a:lnTo>
                  <a:lnTo>
                    <a:pt x="0" y="2"/>
                  </a:lnTo>
                  <a:lnTo>
                    <a:pt x="0" y="3"/>
                  </a:lnTo>
                  <a:lnTo>
                    <a:pt x="3" y="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8" name="Freeform 589"/>
            <p:cNvSpPr/>
            <p:nvPr/>
          </p:nvSpPr>
          <p:spPr bwMode="auto">
            <a:xfrm>
              <a:off x="1942973" y="3905133"/>
              <a:ext cx="6145" cy="18429"/>
            </a:xfrm>
            <a:custGeom>
              <a:avLst/>
              <a:gdLst>
                <a:gd name="T0" fmla="*/ 3 w 3"/>
                <a:gd name="T1" fmla="*/ 7 h 7"/>
                <a:gd name="T2" fmla="*/ 3 w 3"/>
                <a:gd name="T3" fmla="*/ 7 h 7"/>
                <a:gd name="T4" fmla="*/ 3 w 3"/>
                <a:gd name="T5" fmla="*/ 3 h 7"/>
                <a:gd name="T6" fmla="*/ 3 w 3"/>
                <a:gd name="T7" fmla="*/ 3 h 7"/>
                <a:gd name="T8" fmla="*/ 2 w 3"/>
                <a:gd name="T9" fmla="*/ 3 h 7"/>
                <a:gd name="T10" fmla="*/ 2 w 3"/>
                <a:gd name="T11" fmla="*/ 0 h 7"/>
                <a:gd name="T12" fmla="*/ 2 w 3"/>
                <a:gd name="T13" fmla="*/ 0 h 7"/>
                <a:gd name="T14" fmla="*/ 0 w 3"/>
                <a:gd name="T15" fmla="*/ 2 h 7"/>
                <a:gd name="T16" fmla="*/ 0 w 3"/>
                <a:gd name="T17" fmla="*/ 3 h 7"/>
                <a:gd name="T18" fmla="*/ 3 w 3"/>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3" y="7"/>
                  </a:moveTo>
                  <a:lnTo>
                    <a:pt x="3" y="7"/>
                  </a:lnTo>
                  <a:lnTo>
                    <a:pt x="3" y="3"/>
                  </a:lnTo>
                  <a:lnTo>
                    <a:pt x="3" y="3"/>
                  </a:lnTo>
                  <a:lnTo>
                    <a:pt x="2" y="3"/>
                  </a:lnTo>
                  <a:lnTo>
                    <a:pt x="2" y="0"/>
                  </a:lnTo>
                  <a:lnTo>
                    <a:pt x="2" y="0"/>
                  </a:lnTo>
                  <a:lnTo>
                    <a:pt x="0" y="2"/>
                  </a:lnTo>
                  <a:lnTo>
                    <a:pt x="0" y="3"/>
                  </a:lnTo>
                  <a:lnTo>
                    <a:pt x="3"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9" name="Freeform 590"/>
            <p:cNvSpPr/>
            <p:nvPr/>
          </p:nvSpPr>
          <p:spPr bwMode="auto">
            <a:xfrm>
              <a:off x="1899971" y="3862127"/>
              <a:ext cx="12287" cy="30716"/>
            </a:xfrm>
            <a:custGeom>
              <a:avLst/>
              <a:gdLst>
                <a:gd name="T0" fmla="*/ 3 w 3"/>
                <a:gd name="T1" fmla="*/ 10 h 10"/>
                <a:gd name="T2" fmla="*/ 3 w 3"/>
                <a:gd name="T3" fmla="*/ 10 h 10"/>
                <a:gd name="T4" fmla="*/ 2 w 3"/>
                <a:gd name="T5" fmla="*/ 5 h 10"/>
                <a:gd name="T6" fmla="*/ 0 w 3"/>
                <a:gd name="T7" fmla="*/ 0 h 10"/>
                <a:gd name="T8" fmla="*/ 0 w 3"/>
                <a:gd name="T9" fmla="*/ 0 h 10"/>
                <a:gd name="T10" fmla="*/ 2 w 3"/>
                <a:gd name="T11" fmla="*/ 6 h 10"/>
                <a:gd name="T12" fmla="*/ 2 w 3"/>
                <a:gd name="T13" fmla="*/ 9 h 10"/>
                <a:gd name="T14" fmla="*/ 3 w 3"/>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0">
                  <a:moveTo>
                    <a:pt x="3" y="10"/>
                  </a:moveTo>
                  <a:lnTo>
                    <a:pt x="3" y="10"/>
                  </a:lnTo>
                  <a:lnTo>
                    <a:pt x="2" y="5"/>
                  </a:lnTo>
                  <a:lnTo>
                    <a:pt x="0" y="0"/>
                  </a:lnTo>
                  <a:lnTo>
                    <a:pt x="0" y="0"/>
                  </a:lnTo>
                  <a:lnTo>
                    <a:pt x="2" y="6"/>
                  </a:lnTo>
                  <a:lnTo>
                    <a:pt x="2" y="9"/>
                  </a:lnTo>
                  <a:lnTo>
                    <a:pt x="3"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0" name="Freeform 591"/>
            <p:cNvSpPr/>
            <p:nvPr/>
          </p:nvSpPr>
          <p:spPr bwMode="auto">
            <a:xfrm>
              <a:off x="1899971" y="3862127"/>
              <a:ext cx="12287" cy="30716"/>
            </a:xfrm>
            <a:custGeom>
              <a:avLst/>
              <a:gdLst>
                <a:gd name="T0" fmla="*/ 3 w 3"/>
                <a:gd name="T1" fmla="*/ 10 h 10"/>
                <a:gd name="T2" fmla="*/ 3 w 3"/>
                <a:gd name="T3" fmla="*/ 10 h 10"/>
                <a:gd name="T4" fmla="*/ 2 w 3"/>
                <a:gd name="T5" fmla="*/ 5 h 10"/>
                <a:gd name="T6" fmla="*/ 0 w 3"/>
                <a:gd name="T7" fmla="*/ 0 h 10"/>
                <a:gd name="T8" fmla="*/ 0 w 3"/>
                <a:gd name="T9" fmla="*/ 0 h 10"/>
                <a:gd name="T10" fmla="*/ 2 w 3"/>
                <a:gd name="T11" fmla="*/ 6 h 10"/>
                <a:gd name="T12" fmla="*/ 2 w 3"/>
                <a:gd name="T13" fmla="*/ 9 h 10"/>
                <a:gd name="T14" fmla="*/ 3 w 3"/>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0">
                  <a:moveTo>
                    <a:pt x="3" y="10"/>
                  </a:moveTo>
                  <a:lnTo>
                    <a:pt x="3" y="10"/>
                  </a:lnTo>
                  <a:lnTo>
                    <a:pt x="2" y="5"/>
                  </a:lnTo>
                  <a:lnTo>
                    <a:pt x="0" y="0"/>
                  </a:lnTo>
                  <a:lnTo>
                    <a:pt x="0" y="0"/>
                  </a:lnTo>
                  <a:lnTo>
                    <a:pt x="2" y="6"/>
                  </a:lnTo>
                  <a:lnTo>
                    <a:pt x="2" y="9"/>
                  </a:lnTo>
                  <a:lnTo>
                    <a:pt x="3"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1" name="Freeform 592"/>
            <p:cNvSpPr/>
            <p:nvPr/>
          </p:nvSpPr>
          <p:spPr bwMode="auto">
            <a:xfrm>
              <a:off x="1985980" y="3413652"/>
              <a:ext cx="6145" cy="24574"/>
            </a:xfrm>
            <a:custGeom>
              <a:avLst/>
              <a:gdLst>
                <a:gd name="T0" fmla="*/ 1 w 1"/>
                <a:gd name="T1" fmla="*/ 7 h 7"/>
                <a:gd name="T2" fmla="*/ 1 w 1"/>
                <a:gd name="T3" fmla="*/ 7 h 7"/>
                <a:gd name="T4" fmla="*/ 1 w 1"/>
                <a:gd name="T5" fmla="*/ 3 h 7"/>
                <a:gd name="T6" fmla="*/ 1 w 1"/>
                <a:gd name="T7" fmla="*/ 1 h 7"/>
                <a:gd name="T8" fmla="*/ 0 w 1"/>
                <a:gd name="T9" fmla="*/ 0 h 7"/>
                <a:gd name="T10" fmla="*/ 0 w 1"/>
                <a:gd name="T11" fmla="*/ 0 h 7"/>
                <a:gd name="T12" fmla="*/ 1 w 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 h="7">
                  <a:moveTo>
                    <a:pt x="1" y="7"/>
                  </a:moveTo>
                  <a:lnTo>
                    <a:pt x="1" y="7"/>
                  </a:lnTo>
                  <a:lnTo>
                    <a:pt x="1" y="3"/>
                  </a:lnTo>
                  <a:lnTo>
                    <a:pt x="1" y="1"/>
                  </a:lnTo>
                  <a:lnTo>
                    <a:pt x="0" y="0"/>
                  </a:lnTo>
                  <a:lnTo>
                    <a:pt x="0" y="0"/>
                  </a:lnTo>
                  <a:lnTo>
                    <a:pt x="1" y="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2" name="Freeform 593"/>
            <p:cNvSpPr/>
            <p:nvPr/>
          </p:nvSpPr>
          <p:spPr bwMode="auto">
            <a:xfrm>
              <a:off x="1985980" y="3413652"/>
              <a:ext cx="6145" cy="24574"/>
            </a:xfrm>
            <a:custGeom>
              <a:avLst/>
              <a:gdLst>
                <a:gd name="T0" fmla="*/ 1 w 1"/>
                <a:gd name="T1" fmla="*/ 7 h 7"/>
                <a:gd name="T2" fmla="*/ 1 w 1"/>
                <a:gd name="T3" fmla="*/ 7 h 7"/>
                <a:gd name="T4" fmla="*/ 1 w 1"/>
                <a:gd name="T5" fmla="*/ 3 h 7"/>
                <a:gd name="T6" fmla="*/ 1 w 1"/>
                <a:gd name="T7" fmla="*/ 1 h 7"/>
                <a:gd name="T8" fmla="*/ 0 w 1"/>
                <a:gd name="T9" fmla="*/ 0 h 7"/>
                <a:gd name="T10" fmla="*/ 0 w 1"/>
                <a:gd name="T11" fmla="*/ 0 h 7"/>
                <a:gd name="T12" fmla="*/ 1 w 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 h="7">
                  <a:moveTo>
                    <a:pt x="1" y="7"/>
                  </a:moveTo>
                  <a:lnTo>
                    <a:pt x="1" y="7"/>
                  </a:lnTo>
                  <a:lnTo>
                    <a:pt x="1" y="3"/>
                  </a:lnTo>
                  <a:lnTo>
                    <a:pt x="1" y="1"/>
                  </a:lnTo>
                  <a:lnTo>
                    <a:pt x="0" y="0"/>
                  </a:lnTo>
                  <a:lnTo>
                    <a:pt x="0" y="0"/>
                  </a:lnTo>
                  <a:lnTo>
                    <a:pt x="1"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3" name="Freeform 594"/>
            <p:cNvSpPr/>
            <p:nvPr/>
          </p:nvSpPr>
          <p:spPr bwMode="auto">
            <a:xfrm>
              <a:off x="1887684" y="3763831"/>
              <a:ext cx="6145" cy="30716"/>
            </a:xfrm>
            <a:custGeom>
              <a:avLst/>
              <a:gdLst>
                <a:gd name="T0" fmla="*/ 1 w 1"/>
                <a:gd name="T1" fmla="*/ 10 h 10"/>
                <a:gd name="T2" fmla="*/ 1 w 1"/>
                <a:gd name="T3" fmla="*/ 10 h 10"/>
                <a:gd name="T4" fmla="*/ 1 w 1"/>
                <a:gd name="T5" fmla="*/ 6 h 10"/>
                <a:gd name="T6" fmla="*/ 0 w 1"/>
                <a:gd name="T7" fmla="*/ 3 h 10"/>
                <a:gd name="T8" fmla="*/ 0 w 1"/>
                <a:gd name="T9" fmla="*/ 0 h 10"/>
                <a:gd name="T10" fmla="*/ 0 w 1"/>
                <a:gd name="T11" fmla="*/ 0 h 10"/>
                <a:gd name="T12" fmla="*/ 0 w 1"/>
                <a:gd name="T13" fmla="*/ 6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6"/>
                  </a:lnTo>
                  <a:lnTo>
                    <a:pt x="0" y="3"/>
                  </a:lnTo>
                  <a:lnTo>
                    <a:pt x="0" y="0"/>
                  </a:lnTo>
                  <a:lnTo>
                    <a:pt x="0" y="0"/>
                  </a:lnTo>
                  <a:lnTo>
                    <a:pt x="0" y="6"/>
                  </a:lnTo>
                  <a:lnTo>
                    <a:pt x="1"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4" name="Freeform 595"/>
            <p:cNvSpPr/>
            <p:nvPr/>
          </p:nvSpPr>
          <p:spPr bwMode="auto">
            <a:xfrm>
              <a:off x="1887684" y="3763831"/>
              <a:ext cx="6145" cy="30716"/>
            </a:xfrm>
            <a:custGeom>
              <a:avLst/>
              <a:gdLst>
                <a:gd name="T0" fmla="*/ 1 w 1"/>
                <a:gd name="T1" fmla="*/ 10 h 10"/>
                <a:gd name="T2" fmla="*/ 1 w 1"/>
                <a:gd name="T3" fmla="*/ 10 h 10"/>
                <a:gd name="T4" fmla="*/ 1 w 1"/>
                <a:gd name="T5" fmla="*/ 6 h 10"/>
                <a:gd name="T6" fmla="*/ 0 w 1"/>
                <a:gd name="T7" fmla="*/ 3 h 10"/>
                <a:gd name="T8" fmla="*/ 0 w 1"/>
                <a:gd name="T9" fmla="*/ 0 h 10"/>
                <a:gd name="T10" fmla="*/ 0 w 1"/>
                <a:gd name="T11" fmla="*/ 0 h 10"/>
                <a:gd name="T12" fmla="*/ 0 w 1"/>
                <a:gd name="T13" fmla="*/ 6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6"/>
                  </a:lnTo>
                  <a:lnTo>
                    <a:pt x="0" y="3"/>
                  </a:lnTo>
                  <a:lnTo>
                    <a:pt x="0" y="0"/>
                  </a:lnTo>
                  <a:lnTo>
                    <a:pt x="0" y="0"/>
                  </a:lnTo>
                  <a:lnTo>
                    <a:pt x="0" y="6"/>
                  </a:lnTo>
                  <a:lnTo>
                    <a:pt x="1"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5" name="Freeform 596"/>
            <p:cNvSpPr/>
            <p:nvPr/>
          </p:nvSpPr>
          <p:spPr bwMode="auto">
            <a:xfrm>
              <a:off x="1918399" y="3444368"/>
              <a:ext cx="6145" cy="30716"/>
            </a:xfrm>
            <a:custGeom>
              <a:avLst/>
              <a:gdLst>
                <a:gd name="T0" fmla="*/ 1 w 1"/>
                <a:gd name="T1" fmla="*/ 8 h 8"/>
                <a:gd name="T2" fmla="*/ 1 w 1"/>
                <a:gd name="T3" fmla="*/ 8 h 8"/>
                <a:gd name="T4" fmla="*/ 1 w 1"/>
                <a:gd name="T5" fmla="*/ 4 h 8"/>
                <a:gd name="T6" fmla="*/ 1 w 1"/>
                <a:gd name="T7" fmla="*/ 0 h 8"/>
                <a:gd name="T8" fmla="*/ 1 w 1"/>
                <a:gd name="T9" fmla="*/ 0 h 8"/>
                <a:gd name="T10" fmla="*/ 0 w 1"/>
                <a:gd name="T11" fmla="*/ 4 h 8"/>
                <a:gd name="T12" fmla="*/ 0 w 1"/>
                <a:gd name="T13" fmla="*/ 4 h 8"/>
                <a:gd name="T14" fmla="*/ 1 w 1"/>
                <a:gd name="T15" fmla="*/ 5 h 8"/>
                <a:gd name="T16" fmla="*/ 1 w 1"/>
                <a:gd name="T17" fmla="*/ 7 h 8"/>
                <a:gd name="T18" fmla="*/ 1 w 1"/>
                <a:gd name="T19" fmla="*/ 8 h 8"/>
                <a:gd name="T20" fmla="*/ 1 w 1"/>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8">
                  <a:moveTo>
                    <a:pt x="1" y="8"/>
                  </a:moveTo>
                  <a:lnTo>
                    <a:pt x="1" y="8"/>
                  </a:lnTo>
                  <a:lnTo>
                    <a:pt x="1" y="4"/>
                  </a:lnTo>
                  <a:lnTo>
                    <a:pt x="1" y="0"/>
                  </a:lnTo>
                  <a:lnTo>
                    <a:pt x="1" y="0"/>
                  </a:lnTo>
                  <a:lnTo>
                    <a:pt x="0" y="4"/>
                  </a:lnTo>
                  <a:lnTo>
                    <a:pt x="0" y="4"/>
                  </a:lnTo>
                  <a:lnTo>
                    <a:pt x="1" y="5"/>
                  </a:lnTo>
                  <a:lnTo>
                    <a:pt x="1" y="7"/>
                  </a:lnTo>
                  <a:lnTo>
                    <a:pt x="1" y="8"/>
                  </a:lnTo>
                  <a:lnTo>
                    <a:pt x="1"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6" name="Freeform 597"/>
            <p:cNvSpPr/>
            <p:nvPr/>
          </p:nvSpPr>
          <p:spPr bwMode="auto">
            <a:xfrm>
              <a:off x="1918399" y="3444368"/>
              <a:ext cx="6145" cy="30716"/>
            </a:xfrm>
            <a:custGeom>
              <a:avLst/>
              <a:gdLst>
                <a:gd name="T0" fmla="*/ 1 w 1"/>
                <a:gd name="T1" fmla="*/ 8 h 8"/>
                <a:gd name="T2" fmla="*/ 1 w 1"/>
                <a:gd name="T3" fmla="*/ 8 h 8"/>
                <a:gd name="T4" fmla="*/ 1 w 1"/>
                <a:gd name="T5" fmla="*/ 4 h 8"/>
                <a:gd name="T6" fmla="*/ 1 w 1"/>
                <a:gd name="T7" fmla="*/ 0 h 8"/>
                <a:gd name="T8" fmla="*/ 1 w 1"/>
                <a:gd name="T9" fmla="*/ 0 h 8"/>
                <a:gd name="T10" fmla="*/ 0 w 1"/>
                <a:gd name="T11" fmla="*/ 4 h 8"/>
                <a:gd name="T12" fmla="*/ 0 w 1"/>
                <a:gd name="T13" fmla="*/ 4 h 8"/>
                <a:gd name="T14" fmla="*/ 1 w 1"/>
                <a:gd name="T15" fmla="*/ 5 h 8"/>
                <a:gd name="T16" fmla="*/ 1 w 1"/>
                <a:gd name="T17" fmla="*/ 7 h 8"/>
                <a:gd name="T18" fmla="*/ 1 w 1"/>
                <a:gd name="T19" fmla="*/ 8 h 8"/>
                <a:gd name="T20" fmla="*/ 1 w 1"/>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8">
                  <a:moveTo>
                    <a:pt x="1" y="8"/>
                  </a:moveTo>
                  <a:lnTo>
                    <a:pt x="1" y="8"/>
                  </a:lnTo>
                  <a:lnTo>
                    <a:pt x="1" y="4"/>
                  </a:lnTo>
                  <a:lnTo>
                    <a:pt x="1" y="0"/>
                  </a:lnTo>
                  <a:lnTo>
                    <a:pt x="1" y="0"/>
                  </a:lnTo>
                  <a:lnTo>
                    <a:pt x="0" y="4"/>
                  </a:lnTo>
                  <a:lnTo>
                    <a:pt x="0" y="4"/>
                  </a:lnTo>
                  <a:lnTo>
                    <a:pt x="1" y="5"/>
                  </a:lnTo>
                  <a:lnTo>
                    <a:pt x="1" y="7"/>
                  </a:lnTo>
                  <a:lnTo>
                    <a:pt x="1" y="8"/>
                  </a:lnTo>
                  <a:lnTo>
                    <a:pt x="1"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7" name="Freeform 598"/>
            <p:cNvSpPr/>
            <p:nvPr/>
          </p:nvSpPr>
          <p:spPr bwMode="auto">
            <a:xfrm>
              <a:off x="1856964" y="3690109"/>
              <a:ext cx="6145" cy="30716"/>
            </a:xfrm>
            <a:custGeom>
              <a:avLst/>
              <a:gdLst>
                <a:gd name="T0" fmla="*/ 1 w 1"/>
                <a:gd name="T1" fmla="*/ 0 h 8"/>
                <a:gd name="T2" fmla="*/ 1 w 1"/>
                <a:gd name="T3" fmla="*/ 0 h 8"/>
                <a:gd name="T4" fmla="*/ 0 w 1"/>
                <a:gd name="T5" fmla="*/ 0 h 8"/>
                <a:gd name="T6" fmla="*/ 0 w 1"/>
                <a:gd name="T7" fmla="*/ 3 h 8"/>
                <a:gd name="T8" fmla="*/ 0 w 1"/>
                <a:gd name="T9" fmla="*/ 8 h 8"/>
                <a:gd name="T10" fmla="*/ 0 w 1"/>
                <a:gd name="T11" fmla="*/ 8 h 8"/>
                <a:gd name="T12" fmla="*/ 0 w 1"/>
                <a:gd name="T13" fmla="*/ 8 h 8"/>
                <a:gd name="T14" fmla="*/ 1 w 1"/>
                <a:gd name="T15" fmla="*/ 5 h 8"/>
                <a:gd name="T16" fmla="*/ 1 w 1"/>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8">
                  <a:moveTo>
                    <a:pt x="1" y="0"/>
                  </a:moveTo>
                  <a:lnTo>
                    <a:pt x="1" y="0"/>
                  </a:lnTo>
                  <a:lnTo>
                    <a:pt x="0" y="0"/>
                  </a:lnTo>
                  <a:lnTo>
                    <a:pt x="0" y="3"/>
                  </a:lnTo>
                  <a:lnTo>
                    <a:pt x="0" y="8"/>
                  </a:lnTo>
                  <a:lnTo>
                    <a:pt x="0" y="8"/>
                  </a:lnTo>
                  <a:lnTo>
                    <a:pt x="0" y="8"/>
                  </a:lnTo>
                  <a:lnTo>
                    <a:pt x="1" y="5"/>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8" name="Freeform 599"/>
            <p:cNvSpPr/>
            <p:nvPr/>
          </p:nvSpPr>
          <p:spPr bwMode="auto">
            <a:xfrm>
              <a:off x="1856964" y="3690109"/>
              <a:ext cx="6145" cy="30716"/>
            </a:xfrm>
            <a:custGeom>
              <a:avLst/>
              <a:gdLst>
                <a:gd name="T0" fmla="*/ 1 w 1"/>
                <a:gd name="T1" fmla="*/ 0 h 8"/>
                <a:gd name="T2" fmla="*/ 1 w 1"/>
                <a:gd name="T3" fmla="*/ 0 h 8"/>
                <a:gd name="T4" fmla="*/ 0 w 1"/>
                <a:gd name="T5" fmla="*/ 0 h 8"/>
                <a:gd name="T6" fmla="*/ 0 w 1"/>
                <a:gd name="T7" fmla="*/ 3 h 8"/>
                <a:gd name="T8" fmla="*/ 0 w 1"/>
                <a:gd name="T9" fmla="*/ 8 h 8"/>
                <a:gd name="T10" fmla="*/ 0 w 1"/>
                <a:gd name="T11" fmla="*/ 8 h 8"/>
                <a:gd name="T12" fmla="*/ 0 w 1"/>
                <a:gd name="T13" fmla="*/ 8 h 8"/>
                <a:gd name="T14" fmla="*/ 1 w 1"/>
                <a:gd name="T15" fmla="*/ 5 h 8"/>
                <a:gd name="T16" fmla="*/ 1 w 1"/>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8">
                  <a:moveTo>
                    <a:pt x="1" y="0"/>
                  </a:moveTo>
                  <a:lnTo>
                    <a:pt x="1" y="0"/>
                  </a:lnTo>
                  <a:lnTo>
                    <a:pt x="0" y="0"/>
                  </a:lnTo>
                  <a:lnTo>
                    <a:pt x="0" y="3"/>
                  </a:lnTo>
                  <a:lnTo>
                    <a:pt x="0" y="8"/>
                  </a:lnTo>
                  <a:lnTo>
                    <a:pt x="0" y="8"/>
                  </a:lnTo>
                  <a:lnTo>
                    <a:pt x="0" y="8"/>
                  </a:lnTo>
                  <a:lnTo>
                    <a:pt x="1" y="5"/>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9" name="Freeform 600"/>
            <p:cNvSpPr/>
            <p:nvPr/>
          </p:nvSpPr>
          <p:spPr bwMode="auto">
            <a:xfrm>
              <a:off x="1850822" y="3548810"/>
              <a:ext cx="6145" cy="36861"/>
            </a:xfrm>
            <a:custGeom>
              <a:avLst/>
              <a:gdLst>
                <a:gd name="T0" fmla="*/ 1 w 1"/>
                <a:gd name="T1" fmla="*/ 10 h 12"/>
                <a:gd name="T2" fmla="*/ 1 w 1"/>
                <a:gd name="T3" fmla="*/ 10 h 12"/>
                <a:gd name="T4" fmla="*/ 1 w 1"/>
                <a:gd name="T5" fmla="*/ 5 h 12"/>
                <a:gd name="T6" fmla="*/ 0 w 1"/>
                <a:gd name="T7" fmla="*/ 0 h 12"/>
                <a:gd name="T8" fmla="*/ 0 w 1"/>
                <a:gd name="T9" fmla="*/ 0 h 12"/>
                <a:gd name="T10" fmla="*/ 0 w 1"/>
                <a:gd name="T11" fmla="*/ 5 h 12"/>
                <a:gd name="T12" fmla="*/ 0 w 1"/>
                <a:gd name="T13" fmla="*/ 5 h 12"/>
                <a:gd name="T14" fmla="*/ 0 w 1"/>
                <a:gd name="T15" fmla="*/ 12 h 12"/>
                <a:gd name="T16" fmla="*/ 0 w 1"/>
                <a:gd name="T17" fmla="*/ 12 h 12"/>
                <a:gd name="T18" fmla="*/ 0 w 1"/>
                <a:gd name="T19" fmla="*/ 12 h 12"/>
                <a:gd name="T20" fmla="*/ 0 w 1"/>
                <a:gd name="T21" fmla="*/ 11 h 12"/>
                <a:gd name="T22" fmla="*/ 1 w 1"/>
                <a:gd name="T23" fmla="*/ 10 h 12"/>
                <a:gd name="T24" fmla="*/ 1 w 1"/>
                <a:gd name="T2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12">
                  <a:moveTo>
                    <a:pt x="1" y="10"/>
                  </a:moveTo>
                  <a:lnTo>
                    <a:pt x="1" y="10"/>
                  </a:lnTo>
                  <a:lnTo>
                    <a:pt x="1" y="5"/>
                  </a:lnTo>
                  <a:lnTo>
                    <a:pt x="0" y="0"/>
                  </a:lnTo>
                  <a:lnTo>
                    <a:pt x="0" y="0"/>
                  </a:lnTo>
                  <a:lnTo>
                    <a:pt x="0" y="5"/>
                  </a:lnTo>
                  <a:lnTo>
                    <a:pt x="0" y="5"/>
                  </a:lnTo>
                  <a:lnTo>
                    <a:pt x="0" y="12"/>
                  </a:lnTo>
                  <a:lnTo>
                    <a:pt x="0" y="12"/>
                  </a:lnTo>
                  <a:lnTo>
                    <a:pt x="0" y="12"/>
                  </a:lnTo>
                  <a:lnTo>
                    <a:pt x="0" y="11"/>
                  </a:lnTo>
                  <a:lnTo>
                    <a:pt x="1" y="10"/>
                  </a:lnTo>
                  <a:lnTo>
                    <a:pt x="1"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0" name="Freeform 601"/>
            <p:cNvSpPr/>
            <p:nvPr/>
          </p:nvSpPr>
          <p:spPr bwMode="auto">
            <a:xfrm>
              <a:off x="1850822" y="3548810"/>
              <a:ext cx="6145" cy="36861"/>
            </a:xfrm>
            <a:custGeom>
              <a:avLst/>
              <a:gdLst>
                <a:gd name="T0" fmla="*/ 1 w 1"/>
                <a:gd name="T1" fmla="*/ 10 h 12"/>
                <a:gd name="T2" fmla="*/ 1 w 1"/>
                <a:gd name="T3" fmla="*/ 10 h 12"/>
                <a:gd name="T4" fmla="*/ 1 w 1"/>
                <a:gd name="T5" fmla="*/ 5 h 12"/>
                <a:gd name="T6" fmla="*/ 0 w 1"/>
                <a:gd name="T7" fmla="*/ 0 h 12"/>
                <a:gd name="T8" fmla="*/ 0 w 1"/>
                <a:gd name="T9" fmla="*/ 0 h 12"/>
                <a:gd name="T10" fmla="*/ 0 w 1"/>
                <a:gd name="T11" fmla="*/ 5 h 12"/>
                <a:gd name="T12" fmla="*/ 0 w 1"/>
                <a:gd name="T13" fmla="*/ 5 h 12"/>
                <a:gd name="T14" fmla="*/ 0 w 1"/>
                <a:gd name="T15" fmla="*/ 12 h 12"/>
                <a:gd name="T16" fmla="*/ 0 w 1"/>
                <a:gd name="T17" fmla="*/ 12 h 12"/>
                <a:gd name="T18" fmla="*/ 0 w 1"/>
                <a:gd name="T19" fmla="*/ 12 h 12"/>
                <a:gd name="T20" fmla="*/ 0 w 1"/>
                <a:gd name="T21" fmla="*/ 11 h 12"/>
                <a:gd name="T22" fmla="*/ 1 w 1"/>
                <a:gd name="T23" fmla="*/ 10 h 12"/>
                <a:gd name="T24" fmla="*/ 1 w 1"/>
                <a:gd name="T2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12">
                  <a:moveTo>
                    <a:pt x="1" y="10"/>
                  </a:moveTo>
                  <a:lnTo>
                    <a:pt x="1" y="10"/>
                  </a:lnTo>
                  <a:lnTo>
                    <a:pt x="1" y="5"/>
                  </a:lnTo>
                  <a:lnTo>
                    <a:pt x="0" y="0"/>
                  </a:lnTo>
                  <a:lnTo>
                    <a:pt x="0" y="0"/>
                  </a:lnTo>
                  <a:lnTo>
                    <a:pt x="0" y="5"/>
                  </a:lnTo>
                  <a:lnTo>
                    <a:pt x="0" y="5"/>
                  </a:lnTo>
                  <a:lnTo>
                    <a:pt x="0" y="12"/>
                  </a:lnTo>
                  <a:lnTo>
                    <a:pt x="0" y="12"/>
                  </a:lnTo>
                  <a:lnTo>
                    <a:pt x="0" y="12"/>
                  </a:lnTo>
                  <a:lnTo>
                    <a:pt x="0" y="11"/>
                  </a:lnTo>
                  <a:lnTo>
                    <a:pt x="1" y="10"/>
                  </a:lnTo>
                  <a:lnTo>
                    <a:pt x="1"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1" name="Freeform 602"/>
            <p:cNvSpPr/>
            <p:nvPr/>
          </p:nvSpPr>
          <p:spPr bwMode="auto">
            <a:xfrm>
              <a:off x="1979835" y="3223201"/>
              <a:ext cx="6145" cy="24574"/>
            </a:xfrm>
            <a:custGeom>
              <a:avLst/>
              <a:gdLst>
                <a:gd name="T0" fmla="*/ 0 w 3"/>
                <a:gd name="T1" fmla="*/ 9 h 9"/>
                <a:gd name="T2" fmla="*/ 0 w 3"/>
                <a:gd name="T3" fmla="*/ 9 h 9"/>
                <a:gd name="T4" fmla="*/ 1 w 3"/>
                <a:gd name="T5" fmla="*/ 7 h 9"/>
                <a:gd name="T6" fmla="*/ 1 w 3"/>
                <a:gd name="T7" fmla="*/ 6 h 9"/>
                <a:gd name="T8" fmla="*/ 3 w 3"/>
                <a:gd name="T9" fmla="*/ 0 h 9"/>
                <a:gd name="T10" fmla="*/ 3 w 3"/>
                <a:gd name="T11" fmla="*/ 0 h 9"/>
                <a:gd name="T12" fmla="*/ 1 w 3"/>
                <a:gd name="T13" fmla="*/ 1 h 9"/>
                <a:gd name="T14" fmla="*/ 1 w 3"/>
                <a:gd name="T15" fmla="*/ 3 h 9"/>
                <a:gd name="T16" fmla="*/ 0 w 3"/>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9">
                  <a:moveTo>
                    <a:pt x="0" y="9"/>
                  </a:moveTo>
                  <a:lnTo>
                    <a:pt x="0" y="9"/>
                  </a:lnTo>
                  <a:lnTo>
                    <a:pt x="1" y="7"/>
                  </a:lnTo>
                  <a:lnTo>
                    <a:pt x="1" y="6"/>
                  </a:lnTo>
                  <a:lnTo>
                    <a:pt x="3" y="0"/>
                  </a:lnTo>
                  <a:lnTo>
                    <a:pt x="3" y="0"/>
                  </a:lnTo>
                  <a:lnTo>
                    <a:pt x="1" y="1"/>
                  </a:lnTo>
                  <a:lnTo>
                    <a:pt x="1" y="3"/>
                  </a:lnTo>
                  <a:lnTo>
                    <a:pt x="0"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2" name="Freeform 603"/>
            <p:cNvSpPr/>
            <p:nvPr/>
          </p:nvSpPr>
          <p:spPr bwMode="auto">
            <a:xfrm>
              <a:off x="1979835" y="3223201"/>
              <a:ext cx="6145" cy="24574"/>
            </a:xfrm>
            <a:custGeom>
              <a:avLst/>
              <a:gdLst>
                <a:gd name="T0" fmla="*/ 0 w 3"/>
                <a:gd name="T1" fmla="*/ 9 h 9"/>
                <a:gd name="T2" fmla="*/ 0 w 3"/>
                <a:gd name="T3" fmla="*/ 9 h 9"/>
                <a:gd name="T4" fmla="*/ 1 w 3"/>
                <a:gd name="T5" fmla="*/ 7 h 9"/>
                <a:gd name="T6" fmla="*/ 1 w 3"/>
                <a:gd name="T7" fmla="*/ 6 h 9"/>
                <a:gd name="T8" fmla="*/ 3 w 3"/>
                <a:gd name="T9" fmla="*/ 0 h 9"/>
                <a:gd name="T10" fmla="*/ 3 w 3"/>
                <a:gd name="T11" fmla="*/ 0 h 9"/>
                <a:gd name="T12" fmla="*/ 1 w 3"/>
                <a:gd name="T13" fmla="*/ 1 h 9"/>
                <a:gd name="T14" fmla="*/ 1 w 3"/>
                <a:gd name="T15" fmla="*/ 3 h 9"/>
                <a:gd name="T16" fmla="*/ 0 w 3"/>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9">
                  <a:moveTo>
                    <a:pt x="0" y="9"/>
                  </a:moveTo>
                  <a:lnTo>
                    <a:pt x="0" y="9"/>
                  </a:lnTo>
                  <a:lnTo>
                    <a:pt x="1" y="7"/>
                  </a:lnTo>
                  <a:lnTo>
                    <a:pt x="1" y="6"/>
                  </a:lnTo>
                  <a:lnTo>
                    <a:pt x="3" y="0"/>
                  </a:lnTo>
                  <a:lnTo>
                    <a:pt x="3" y="0"/>
                  </a:lnTo>
                  <a:lnTo>
                    <a:pt x="1" y="1"/>
                  </a:lnTo>
                  <a:lnTo>
                    <a:pt x="1" y="3"/>
                  </a:lnTo>
                  <a:lnTo>
                    <a:pt x="0"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3" name="Freeform 604"/>
            <p:cNvSpPr/>
            <p:nvPr/>
          </p:nvSpPr>
          <p:spPr bwMode="auto">
            <a:xfrm>
              <a:off x="1955260" y="3223201"/>
              <a:ext cx="12287" cy="24574"/>
            </a:xfrm>
            <a:custGeom>
              <a:avLst/>
              <a:gdLst>
                <a:gd name="T0" fmla="*/ 3 w 3"/>
                <a:gd name="T1" fmla="*/ 0 h 7"/>
                <a:gd name="T2" fmla="*/ 3 w 3"/>
                <a:gd name="T3" fmla="*/ 0 h 7"/>
                <a:gd name="T4" fmla="*/ 1 w 3"/>
                <a:gd name="T5" fmla="*/ 3 h 7"/>
                <a:gd name="T6" fmla="*/ 1 w 3"/>
                <a:gd name="T7" fmla="*/ 4 h 7"/>
                <a:gd name="T8" fmla="*/ 0 w 3"/>
                <a:gd name="T9" fmla="*/ 6 h 7"/>
                <a:gd name="T10" fmla="*/ 0 w 3"/>
                <a:gd name="T11" fmla="*/ 6 h 7"/>
                <a:gd name="T12" fmla="*/ 1 w 3"/>
                <a:gd name="T13" fmla="*/ 7 h 7"/>
                <a:gd name="T14" fmla="*/ 3 w 3"/>
                <a:gd name="T15" fmla="*/ 7 h 7"/>
                <a:gd name="T16" fmla="*/ 3 w 3"/>
                <a:gd name="T17" fmla="*/ 7 h 7"/>
                <a:gd name="T18" fmla="*/ 3 w 3"/>
                <a:gd name="T19" fmla="*/ 1 h 7"/>
                <a:gd name="T20" fmla="*/ 3 w 3"/>
                <a:gd name="T21" fmla="*/ 0 h 7"/>
                <a:gd name="T22" fmla="*/ 3 w 3"/>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7">
                  <a:moveTo>
                    <a:pt x="3" y="0"/>
                  </a:moveTo>
                  <a:lnTo>
                    <a:pt x="3" y="0"/>
                  </a:lnTo>
                  <a:lnTo>
                    <a:pt x="1" y="3"/>
                  </a:lnTo>
                  <a:lnTo>
                    <a:pt x="1" y="4"/>
                  </a:lnTo>
                  <a:lnTo>
                    <a:pt x="0" y="6"/>
                  </a:lnTo>
                  <a:lnTo>
                    <a:pt x="0" y="6"/>
                  </a:lnTo>
                  <a:lnTo>
                    <a:pt x="1" y="7"/>
                  </a:lnTo>
                  <a:lnTo>
                    <a:pt x="3" y="7"/>
                  </a:lnTo>
                  <a:lnTo>
                    <a:pt x="3" y="7"/>
                  </a:lnTo>
                  <a:lnTo>
                    <a:pt x="3" y="1"/>
                  </a:lnTo>
                  <a:lnTo>
                    <a:pt x="3" y="0"/>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4" name="Freeform 605"/>
            <p:cNvSpPr/>
            <p:nvPr/>
          </p:nvSpPr>
          <p:spPr bwMode="auto">
            <a:xfrm>
              <a:off x="1955260" y="3223201"/>
              <a:ext cx="12287" cy="24574"/>
            </a:xfrm>
            <a:custGeom>
              <a:avLst/>
              <a:gdLst>
                <a:gd name="T0" fmla="*/ 3 w 3"/>
                <a:gd name="T1" fmla="*/ 0 h 7"/>
                <a:gd name="T2" fmla="*/ 3 w 3"/>
                <a:gd name="T3" fmla="*/ 0 h 7"/>
                <a:gd name="T4" fmla="*/ 1 w 3"/>
                <a:gd name="T5" fmla="*/ 3 h 7"/>
                <a:gd name="T6" fmla="*/ 1 w 3"/>
                <a:gd name="T7" fmla="*/ 4 h 7"/>
                <a:gd name="T8" fmla="*/ 0 w 3"/>
                <a:gd name="T9" fmla="*/ 6 h 7"/>
                <a:gd name="T10" fmla="*/ 0 w 3"/>
                <a:gd name="T11" fmla="*/ 6 h 7"/>
                <a:gd name="T12" fmla="*/ 1 w 3"/>
                <a:gd name="T13" fmla="*/ 7 h 7"/>
                <a:gd name="T14" fmla="*/ 3 w 3"/>
                <a:gd name="T15" fmla="*/ 7 h 7"/>
                <a:gd name="T16" fmla="*/ 3 w 3"/>
                <a:gd name="T17" fmla="*/ 7 h 7"/>
                <a:gd name="T18" fmla="*/ 3 w 3"/>
                <a:gd name="T19" fmla="*/ 1 h 7"/>
                <a:gd name="T20" fmla="*/ 3 w 3"/>
                <a:gd name="T21" fmla="*/ 0 h 7"/>
                <a:gd name="T22" fmla="*/ 3 w 3"/>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7">
                  <a:moveTo>
                    <a:pt x="3" y="0"/>
                  </a:moveTo>
                  <a:lnTo>
                    <a:pt x="3" y="0"/>
                  </a:lnTo>
                  <a:lnTo>
                    <a:pt x="1" y="3"/>
                  </a:lnTo>
                  <a:lnTo>
                    <a:pt x="1" y="4"/>
                  </a:lnTo>
                  <a:lnTo>
                    <a:pt x="0" y="6"/>
                  </a:lnTo>
                  <a:lnTo>
                    <a:pt x="0" y="6"/>
                  </a:lnTo>
                  <a:lnTo>
                    <a:pt x="1" y="7"/>
                  </a:lnTo>
                  <a:lnTo>
                    <a:pt x="3" y="7"/>
                  </a:lnTo>
                  <a:lnTo>
                    <a:pt x="3" y="7"/>
                  </a:lnTo>
                  <a:lnTo>
                    <a:pt x="3" y="1"/>
                  </a:lnTo>
                  <a:lnTo>
                    <a:pt x="3" y="0"/>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5" name="Freeform 606"/>
            <p:cNvSpPr/>
            <p:nvPr/>
          </p:nvSpPr>
          <p:spPr bwMode="auto">
            <a:xfrm>
              <a:off x="2053556" y="3045039"/>
              <a:ext cx="12287" cy="30716"/>
            </a:xfrm>
            <a:custGeom>
              <a:avLst/>
              <a:gdLst>
                <a:gd name="T0" fmla="*/ 0 w 3"/>
                <a:gd name="T1" fmla="*/ 10 h 10"/>
                <a:gd name="T2" fmla="*/ 0 w 3"/>
                <a:gd name="T3" fmla="*/ 10 h 10"/>
                <a:gd name="T4" fmla="*/ 3 w 3"/>
                <a:gd name="T5" fmla="*/ 5 h 10"/>
                <a:gd name="T6" fmla="*/ 3 w 3"/>
                <a:gd name="T7" fmla="*/ 0 h 10"/>
                <a:gd name="T8" fmla="*/ 3 w 3"/>
                <a:gd name="T9" fmla="*/ 0 h 10"/>
                <a:gd name="T10" fmla="*/ 0 w 3"/>
                <a:gd name="T11" fmla="*/ 10 h 10"/>
              </a:gdLst>
              <a:ahLst/>
              <a:cxnLst>
                <a:cxn ang="0">
                  <a:pos x="T0" y="T1"/>
                </a:cxn>
                <a:cxn ang="0">
                  <a:pos x="T2" y="T3"/>
                </a:cxn>
                <a:cxn ang="0">
                  <a:pos x="T4" y="T5"/>
                </a:cxn>
                <a:cxn ang="0">
                  <a:pos x="T6" y="T7"/>
                </a:cxn>
                <a:cxn ang="0">
                  <a:pos x="T8" y="T9"/>
                </a:cxn>
                <a:cxn ang="0">
                  <a:pos x="T10" y="T11"/>
                </a:cxn>
              </a:cxnLst>
              <a:rect l="0" t="0" r="r" b="b"/>
              <a:pathLst>
                <a:path w="3" h="10">
                  <a:moveTo>
                    <a:pt x="0" y="10"/>
                  </a:moveTo>
                  <a:lnTo>
                    <a:pt x="0" y="10"/>
                  </a:lnTo>
                  <a:lnTo>
                    <a:pt x="3" y="5"/>
                  </a:lnTo>
                  <a:lnTo>
                    <a:pt x="3" y="0"/>
                  </a:lnTo>
                  <a:lnTo>
                    <a:pt x="3" y="0"/>
                  </a:lnTo>
                  <a:lnTo>
                    <a:pt x="0"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6" name="Freeform 608"/>
            <p:cNvSpPr/>
            <p:nvPr/>
          </p:nvSpPr>
          <p:spPr bwMode="auto">
            <a:xfrm>
              <a:off x="2053556" y="3045039"/>
              <a:ext cx="12287" cy="30720"/>
            </a:xfrm>
            <a:custGeom>
              <a:avLst/>
              <a:gdLst>
                <a:gd name="T0" fmla="*/ 0 w 3"/>
                <a:gd name="T1" fmla="*/ 10 h 10"/>
                <a:gd name="T2" fmla="*/ 0 w 3"/>
                <a:gd name="T3" fmla="*/ 10 h 10"/>
                <a:gd name="T4" fmla="*/ 3 w 3"/>
                <a:gd name="T5" fmla="*/ 5 h 10"/>
                <a:gd name="T6" fmla="*/ 3 w 3"/>
                <a:gd name="T7" fmla="*/ 0 h 10"/>
                <a:gd name="T8" fmla="*/ 3 w 3"/>
                <a:gd name="T9" fmla="*/ 0 h 10"/>
                <a:gd name="T10" fmla="*/ 0 w 3"/>
                <a:gd name="T11" fmla="*/ 10 h 10"/>
              </a:gdLst>
              <a:ahLst/>
              <a:cxnLst>
                <a:cxn ang="0">
                  <a:pos x="T0" y="T1"/>
                </a:cxn>
                <a:cxn ang="0">
                  <a:pos x="T2" y="T3"/>
                </a:cxn>
                <a:cxn ang="0">
                  <a:pos x="T4" y="T5"/>
                </a:cxn>
                <a:cxn ang="0">
                  <a:pos x="T6" y="T7"/>
                </a:cxn>
                <a:cxn ang="0">
                  <a:pos x="T8" y="T9"/>
                </a:cxn>
                <a:cxn ang="0">
                  <a:pos x="T10" y="T11"/>
                </a:cxn>
              </a:cxnLst>
              <a:rect l="0" t="0" r="r" b="b"/>
              <a:pathLst>
                <a:path w="3" h="10">
                  <a:moveTo>
                    <a:pt x="0" y="10"/>
                  </a:moveTo>
                  <a:lnTo>
                    <a:pt x="0" y="10"/>
                  </a:lnTo>
                  <a:lnTo>
                    <a:pt x="3" y="5"/>
                  </a:lnTo>
                  <a:lnTo>
                    <a:pt x="3" y="0"/>
                  </a:lnTo>
                  <a:lnTo>
                    <a:pt x="3" y="0"/>
                  </a:lnTo>
                  <a:lnTo>
                    <a:pt x="0"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7" name="Freeform 609"/>
            <p:cNvSpPr/>
            <p:nvPr/>
          </p:nvSpPr>
          <p:spPr bwMode="auto">
            <a:xfrm>
              <a:off x="1801670" y="3628677"/>
              <a:ext cx="6145" cy="30720"/>
            </a:xfrm>
            <a:custGeom>
              <a:avLst/>
              <a:gdLst>
                <a:gd name="T0" fmla="*/ 1 w 2"/>
                <a:gd name="T1" fmla="*/ 8 h 8"/>
                <a:gd name="T2" fmla="*/ 1 w 2"/>
                <a:gd name="T3" fmla="*/ 8 h 8"/>
                <a:gd name="T4" fmla="*/ 2 w 2"/>
                <a:gd name="T5" fmla="*/ 5 h 8"/>
                <a:gd name="T6" fmla="*/ 2 w 2"/>
                <a:gd name="T7" fmla="*/ 3 h 8"/>
                <a:gd name="T8" fmla="*/ 2 w 2"/>
                <a:gd name="T9" fmla="*/ 3 h 8"/>
                <a:gd name="T10" fmla="*/ 1 w 2"/>
                <a:gd name="T11" fmla="*/ 0 h 8"/>
                <a:gd name="T12" fmla="*/ 1 w 2"/>
                <a:gd name="T13" fmla="*/ 0 h 8"/>
                <a:gd name="T14" fmla="*/ 0 w 2"/>
                <a:gd name="T15" fmla="*/ 4 h 8"/>
                <a:gd name="T16" fmla="*/ 0 w 2"/>
                <a:gd name="T17" fmla="*/ 4 h 8"/>
                <a:gd name="T18" fmla="*/ 1 w 2"/>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8">
                  <a:moveTo>
                    <a:pt x="1" y="8"/>
                  </a:moveTo>
                  <a:lnTo>
                    <a:pt x="1" y="8"/>
                  </a:lnTo>
                  <a:lnTo>
                    <a:pt x="2" y="5"/>
                  </a:lnTo>
                  <a:lnTo>
                    <a:pt x="2" y="3"/>
                  </a:lnTo>
                  <a:lnTo>
                    <a:pt x="2" y="3"/>
                  </a:lnTo>
                  <a:lnTo>
                    <a:pt x="1" y="0"/>
                  </a:lnTo>
                  <a:lnTo>
                    <a:pt x="1" y="0"/>
                  </a:lnTo>
                  <a:lnTo>
                    <a:pt x="0" y="4"/>
                  </a:lnTo>
                  <a:lnTo>
                    <a:pt x="0" y="4"/>
                  </a:lnTo>
                  <a:lnTo>
                    <a:pt x="1"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8" name="Freeform 610"/>
            <p:cNvSpPr/>
            <p:nvPr/>
          </p:nvSpPr>
          <p:spPr bwMode="auto">
            <a:xfrm>
              <a:off x="1801670" y="3628677"/>
              <a:ext cx="6145" cy="30720"/>
            </a:xfrm>
            <a:custGeom>
              <a:avLst/>
              <a:gdLst>
                <a:gd name="T0" fmla="*/ 1 w 2"/>
                <a:gd name="T1" fmla="*/ 8 h 8"/>
                <a:gd name="T2" fmla="*/ 1 w 2"/>
                <a:gd name="T3" fmla="*/ 8 h 8"/>
                <a:gd name="T4" fmla="*/ 2 w 2"/>
                <a:gd name="T5" fmla="*/ 5 h 8"/>
                <a:gd name="T6" fmla="*/ 2 w 2"/>
                <a:gd name="T7" fmla="*/ 3 h 8"/>
                <a:gd name="T8" fmla="*/ 2 w 2"/>
                <a:gd name="T9" fmla="*/ 3 h 8"/>
                <a:gd name="T10" fmla="*/ 1 w 2"/>
                <a:gd name="T11" fmla="*/ 0 h 8"/>
                <a:gd name="T12" fmla="*/ 1 w 2"/>
                <a:gd name="T13" fmla="*/ 0 h 8"/>
                <a:gd name="T14" fmla="*/ 0 w 2"/>
                <a:gd name="T15" fmla="*/ 4 h 8"/>
                <a:gd name="T16" fmla="*/ 0 w 2"/>
                <a:gd name="T17" fmla="*/ 4 h 8"/>
                <a:gd name="T18" fmla="*/ 1 w 2"/>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8">
                  <a:moveTo>
                    <a:pt x="1" y="8"/>
                  </a:moveTo>
                  <a:lnTo>
                    <a:pt x="1" y="8"/>
                  </a:lnTo>
                  <a:lnTo>
                    <a:pt x="2" y="5"/>
                  </a:lnTo>
                  <a:lnTo>
                    <a:pt x="2" y="3"/>
                  </a:lnTo>
                  <a:lnTo>
                    <a:pt x="2" y="3"/>
                  </a:lnTo>
                  <a:lnTo>
                    <a:pt x="1" y="0"/>
                  </a:lnTo>
                  <a:lnTo>
                    <a:pt x="1" y="0"/>
                  </a:lnTo>
                  <a:lnTo>
                    <a:pt x="0" y="4"/>
                  </a:lnTo>
                  <a:lnTo>
                    <a:pt x="0" y="4"/>
                  </a:lnTo>
                  <a:lnTo>
                    <a:pt x="1"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9" name="Freeform 611"/>
            <p:cNvSpPr/>
            <p:nvPr/>
          </p:nvSpPr>
          <p:spPr bwMode="auto">
            <a:xfrm>
              <a:off x="1820103" y="3542668"/>
              <a:ext cx="6145" cy="24574"/>
            </a:xfrm>
            <a:custGeom>
              <a:avLst/>
              <a:gdLst>
                <a:gd name="T0" fmla="*/ 1 w 1"/>
                <a:gd name="T1" fmla="*/ 9 h 9"/>
                <a:gd name="T2" fmla="*/ 1 w 1"/>
                <a:gd name="T3" fmla="*/ 9 h 9"/>
                <a:gd name="T4" fmla="*/ 1 w 1"/>
                <a:gd name="T5" fmla="*/ 4 h 9"/>
                <a:gd name="T6" fmla="*/ 1 w 1"/>
                <a:gd name="T7" fmla="*/ 0 h 9"/>
                <a:gd name="T8" fmla="*/ 1 w 1"/>
                <a:gd name="T9" fmla="*/ 0 h 9"/>
                <a:gd name="T10" fmla="*/ 1 w 1"/>
                <a:gd name="T11" fmla="*/ 2 h 9"/>
                <a:gd name="T12" fmla="*/ 0 w 1"/>
                <a:gd name="T13" fmla="*/ 3 h 9"/>
                <a:gd name="T14" fmla="*/ 0 w 1"/>
                <a:gd name="T15" fmla="*/ 6 h 9"/>
                <a:gd name="T16" fmla="*/ 1 w 1"/>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9">
                  <a:moveTo>
                    <a:pt x="1" y="9"/>
                  </a:moveTo>
                  <a:lnTo>
                    <a:pt x="1" y="9"/>
                  </a:lnTo>
                  <a:lnTo>
                    <a:pt x="1" y="4"/>
                  </a:lnTo>
                  <a:lnTo>
                    <a:pt x="1" y="0"/>
                  </a:lnTo>
                  <a:lnTo>
                    <a:pt x="1" y="0"/>
                  </a:lnTo>
                  <a:lnTo>
                    <a:pt x="1" y="2"/>
                  </a:lnTo>
                  <a:lnTo>
                    <a:pt x="0" y="3"/>
                  </a:lnTo>
                  <a:lnTo>
                    <a:pt x="0" y="6"/>
                  </a:lnTo>
                  <a:lnTo>
                    <a:pt x="1"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0" name="Freeform 612"/>
            <p:cNvSpPr/>
            <p:nvPr/>
          </p:nvSpPr>
          <p:spPr bwMode="auto">
            <a:xfrm>
              <a:off x="1820103" y="3542668"/>
              <a:ext cx="6145" cy="24574"/>
            </a:xfrm>
            <a:custGeom>
              <a:avLst/>
              <a:gdLst>
                <a:gd name="T0" fmla="*/ 1 w 1"/>
                <a:gd name="T1" fmla="*/ 9 h 9"/>
                <a:gd name="T2" fmla="*/ 1 w 1"/>
                <a:gd name="T3" fmla="*/ 9 h 9"/>
                <a:gd name="T4" fmla="*/ 1 w 1"/>
                <a:gd name="T5" fmla="*/ 4 h 9"/>
                <a:gd name="T6" fmla="*/ 1 w 1"/>
                <a:gd name="T7" fmla="*/ 0 h 9"/>
                <a:gd name="T8" fmla="*/ 1 w 1"/>
                <a:gd name="T9" fmla="*/ 0 h 9"/>
                <a:gd name="T10" fmla="*/ 1 w 1"/>
                <a:gd name="T11" fmla="*/ 2 h 9"/>
                <a:gd name="T12" fmla="*/ 0 w 1"/>
                <a:gd name="T13" fmla="*/ 3 h 9"/>
                <a:gd name="T14" fmla="*/ 0 w 1"/>
                <a:gd name="T15" fmla="*/ 6 h 9"/>
                <a:gd name="T16" fmla="*/ 1 w 1"/>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9">
                  <a:moveTo>
                    <a:pt x="1" y="9"/>
                  </a:moveTo>
                  <a:lnTo>
                    <a:pt x="1" y="9"/>
                  </a:lnTo>
                  <a:lnTo>
                    <a:pt x="1" y="4"/>
                  </a:lnTo>
                  <a:lnTo>
                    <a:pt x="1" y="0"/>
                  </a:lnTo>
                  <a:lnTo>
                    <a:pt x="1" y="0"/>
                  </a:lnTo>
                  <a:lnTo>
                    <a:pt x="1" y="2"/>
                  </a:lnTo>
                  <a:lnTo>
                    <a:pt x="0" y="3"/>
                  </a:lnTo>
                  <a:lnTo>
                    <a:pt x="0" y="6"/>
                  </a:lnTo>
                  <a:lnTo>
                    <a:pt x="1"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1" name="Freeform 613"/>
            <p:cNvSpPr/>
            <p:nvPr/>
          </p:nvSpPr>
          <p:spPr bwMode="auto">
            <a:xfrm>
              <a:off x="1795529" y="3487373"/>
              <a:ext cx="6145" cy="98296"/>
            </a:xfrm>
            <a:custGeom>
              <a:avLst/>
              <a:gdLst>
                <a:gd name="T0" fmla="*/ 3 w 3"/>
                <a:gd name="T1" fmla="*/ 32 h 32"/>
                <a:gd name="T2" fmla="*/ 3 w 3"/>
                <a:gd name="T3" fmla="*/ 32 h 32"/>
                <a:gd name="T4" fmla="*/ 3 w 3"/>
                <a:gd name="T5" fmla="*/ 31 h 32"/>
                <a:gd name="T6" fmla="*/ 3 w 3"/>
                <a:gd name="T7" fmla="*/ 31 h 32"/>
                <a:gd name="T8" fmla="*/ 3 w 3"/>
                <a:gd name="T9" fmla="*/ 28 h 32"/>
                <a:gd name="T10" fmla="*/ 3 w 3"/>
                <a:gd name="T11" fmla="*/ 28 h 32"/>
                <a:gd name="T12" fmla="*/ 3 w 3"/>
                <a:gd name="T13" fmla="*/ 24 h 32"/>
                <a:gd name="T14" fmla="*/ 3 w 3"/>
                <a:gd name="T15" fmla="*/ 24 h 32"/>
                <a:gd name="T16" fmla="*/ 3 w 3"/>
                <a:gd name="T17" fmla="*/ 18 h 32"/>
                <a:gd name="T18" fmla="*/ 3 w 3"/>
                <a:gd name="T19" fmla="*/ 18 h 32"/>
                <a:gd name="T20" fmla="*/ 3 w 3"/>
                <a:gd name="T21" fmla="*/ 5 h 32"/>
                <a:gd name="T22" fmla="*/ 3 w 3"/>
                <a:gd name="T23" fmla="*/ 5 h 32"/>
                <a:gd name="T24" fmla="*/ 2 w 3"/>
                <a:gd name="T25" fmla="*/ 2 h 32"/>
                <a:gd name="T26" fmla="*/ 2 w 3"/>
                <a:gd name="T27" fmla="*/ 2 h 32"/>
                <a:gd name="T28" fmla="*/ 0 w 3"/>
                <a:gd name="T29" fmla="*/ 1 h 32"/>
                <a:gd name="T30" fmla="*/ 0 w 3"/>
                <a:gd name="T31" fmla="*/ 0 h 32"/>
                <a:gd name="T32" fmla="*/ 0 w 3"/>
                <a:gd name="T33" fmla="*/ 0 h 32"/>
                <a:gd name="T34" fmla="*/ 0 w 3"/>
                <a:gd name="T35" fmla="*/ 2 h 32"/>
                <a:gd name="T36" fmla="*/ 0 w 3"/>
                <a:gd name="T37" fmla="*/ 4 h 32"/>
                <a:gd name="T38" fmla="*/ 2 w 3"/>
                <a:gd name="T39" fmla="*/ 8 h 32"/>
                <a:gd name="T40" fmla="*/ 2 w 3"/>
                <a:gd name="T41" fmla="*/ 8 h 32"/>
                <a:gd name="T42" fmla="*/ 0 w 3"/>
                <a:gd name="T43" fmla="*/ 11 h 32"/>
                <a:gd name="T44" fmla="*/ 0 w 3"/>
                <a:gd name="T45" fmla="*/ 12 h 32"/>
                <a:gd name="T46" fmla="*/ 0 w 3"/>
                <a:gd name="T47" fmla="*/ 12 h 32"/>
                <a:gd name="T48" fmla="*/ 0 w 3"/>
                <a:gd name="T49" fmla="*/ 14 h 32"/>
                <a:gd name="T50" fmla="*/ 2 w 3"/>
                <a:gd name="T51" fmla="*/ 17 h 32"/>
                <a:gd name="T52" fmla="*/ 2 w 3"/>
                <a:gd name="T53" fmla="*/ 22 h 32"/>
                <a:gd name="T54" fmla="*/ 2 w 3"/>
                <a:gd name="T55" fmla="*/ 22 h 32"/>
                <a:gd name="T56" fmla="*/ 2 w 3"/>
                <a:gd name="T57" fmla="*/ 27 h 32"/>
                <a:gd name="T58" fmla="*/ 0 w 3"/>
                <a:gd name="T59" fmla="*/ 31 h 32"/>
                <a:gd name="T60" fmla="*/ 0 w 3"/>
                <a:gd name="T61" fmla="*/ 31 h 32"/>
                <a:gd name="T62" fmla="*/ 2 w 3"/>
                <a:gd name="T63" fmla="*/ 32 h 32"/>
                <a:gd name="T64" fmla="*/ 2 w 3"/>
                <a:gd name="T65" fmla="*/ 31 h 32"/>
                <a:gd name="T66" fmla="*/ 2 w 3"/>
                <a:gd name="T67" fmla="*/ 31 h 32"/>
                <a:gd name="T68" fmla="*/ 3 w 3"/>
                <a:gd name="T6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 h="32">
                  <a:moveTo>
                    <a:pt x="3" y="32"/>
                  </a:moveTo>
                  <a:lnTo>
                    <a:pt x="3" y="32"/>
                  </a:lnTo>
                  <a:lnTo>
                    <a:pt x="3" y="31"/>
                  </a:lnTo>
                  <a:lnTo>
                    <a:pt x="3" y="31"/>
                  </a:lnTo>
                  <a:lnTo>
                    <a:pt x="3" y="28"/>
                  </a:lnTo>
                  <a:lnTo>
                    <a:pt x="3" y="28"/>
                  </a:lnTo>
                  <a:lnTo>
                    <a:pt x="3" y="24"/>
                  </a:lnTo>
                  <a:lnTo>
                    <a:pt x="3" y="24"/>
                  </a:lnTo>
                  <a:lnTo>
                    <a:pt x="3" y="18"/>
                  </a:lnTo>
                  <a:lnTo>
                    <a:pt x="3" y="18"/>
                  </a:lnTo>
                  <a:lnTo>
                    <a:pt x="3" y="5"/>
                  </a:lnTo>
                  <a:lnTo>
                    <a:pt x="3" y="5"/>
                  </a:lnTo>
                  <a:lnTo>
                    <a:pt x="2" y="2"/>
                  </a:lnTo>
                  <a:lnTo>
                    <a:pt x="2" y="2"/>
                  </a:lnTo>
                  <a:lnTo>
                    <a:pt x="0" y="1"/>
                  </a:lnTo>
                  <a:lnTo>
                    <a:pt x="0" y="0"/>
                  </a:lnTo>
                  <a:lnTo>
                    <a:pt x="0" y="0"/>
                  </a:lnTo>
                  <a:lnTo>
                    <a:pt x="0" y="2"/>
                  </a:lnTo>
                  <a:lnTo>
                    <a:pt x="0" y="4"/>
                  </a:lnTo>
                  <a:lnTo>
                    <a:pt x="2" y="8"/>
                  </a:lnTo>
                  <a:lnTo>
                    <a:pt x="2" y="8"/>
                  </a:lnTo>
                  <a:lnTo>
                    <a:pt x="0" y="11"/>
                  </a:lnTo>
                  <a:lnTo>
                    <a:pt x="0" y="12"/>
                  </a:lnTo>
                  <a:lnTo>
                    <a:pt x="0" y="12"/>
                  </a:lnTo>
                  <a:lnTo>
                    <a:pt x="0" y="14"/>
                  </a:lnTo>
                  <a:lnTo>
                    <a:pt x="2" y="17"/>
                  </a:lnTo>
                  <a:lnTo>
                    <a:pt x="2" y="22"/>
                  </a:lnTo>
                  <a:lnTo>
                    <a:pt x="2" y="22"/>
                  </a:lnTo>
                  <a:lnTo>
                    <a:pt x="2" y="27"/>
                  </a:lnTo>
                  <a:lnTo>
                    <a:pt x="0" y="31"/>
                  </a:lnTo>
                  <a:lnTo>
                    <a:pt x="0" y="31"/>
                  </a:lnTo>
                  <a:lnTo>
                    <a:pt x="2" y="32"/>
                  </a:lnTo>
                  <a:lnTo>
                    <a:pt x="2" y="31"/>
                  </a:lnTo>
                  <a:lnTo>
                    <a:pt x="2" y="31"/>
                  </a:lnTo>
                  <a:lnTo>
                    <a:pt x="3" y="3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2" name="Freeform 614"/>
            <p:cNvSpPr/>
            <p:nvPr/>
          </p:nvSpPr>
          <p:spPr bwMode="auto">
            <a:xfrm>
              <a:off x="1795529" y="3487373"/>
              <a:ext cx="6145" cy="98296"/>
            </a:xfrm>
            <a:custGeom>
              <a:avLst/>
              <a:gdLst>
                <a:gd name="T0" fmla="*/ 3 w 3"/>
                <a:gd name="T1" fmla="*/ 32 h 32"/>
                <a:gd name="T2" fmla="*/ 3 w 3"/>
                <a:gd name="T3" fmla="*/ 32 h 32"/>
                <a:gd name="T4" fmla="*/ 3 w 3"/>
                <a:gd name="T5" fmla="*/ 31 h 32"/>
                <a:gd name="T6" fmla="*/ 3 w 3"/>
                <a:gd name="T7" fmla="*/ 31 h 32"/>
                <a:gd name="T8" fmla="*/ 3 w 3"/>
                <a:gd name="T9" fmla="*/ 28 h 32"/>
                <a:gd name="T10" fmla="*/ 3 w 3"/>
                <a:gd name="T11" fmla="*/ 28 h 32"/>
                <a:gd name="T12" fmla="*/ 3 w 3"/>
                <a:gd name="T13" fmla="*/ 24 h 32"/>
                <a:gd name="T14" fmla="*/ 3 w 3"/>
                <a:gd name="T15" fmla="*/ 24 h 32"/>
                <a:gd name="T16" fmla="*/ 3 w 3"/>
                <a:gd name="T17" fmla="*/ 18 h 32"/>
                <a:gd name="T18" fmla="*/ 3 w 3"/>
                <a:gd name="T19" fmla="*/ 18 h 32"/>
                <a:gd name="T20" fmla="*/ 3 w 3"/>
                <a:gd name="T21" fmla="*/ 5 h 32"/>
                <a:gd name="T22" fmla="*/ 3 w 3"/>
                <a:gd name="T23" fmla="*/ 5 h 32"/>
                <a:gd name="T24" fmla="*/ 2 w 3"/>
                <a:gd name="T25" fmla="*/ 2 h 32"/>
                <a:gd name="T26" fmla="*/ 2 w 3"/>
                <a:gd name="T27" fmla="*/ 2 h 32"/>
                <a:gd name="T28" fmla="*/ 0 w 3"/>
                <a:gd name="T29" fmla="*/ 1 h 32"/>
                <a:gd name="T30" fmla="*/ 0 w 3"/>
                <a:gd name="T31" fmla="*/ 0 h 32"/>
                <a:gd name="T32" fmla="*/ 0 w 3"/>
                <a:gd name="T33" fmla="*/ 0 h 32"/>
                <a:gd name="T34" fmla="*/ 0 w 3"/>
                <a:gd name="T35" fmla="*/ 2 h 32"/>
                <a:gd name="T36" fmla="*/ 0 w 3"/>
                <a:gd name="T37" fmla="*/ 4 h 32"/>
                <a:gd name="T38" fmla="*/ 2 w 3"/>
                <a:gd name="T39" fmla="*/ 8 h 32"/>
                <a:gd name="T40" fmla="*/ 2 w 3"/>
                <a:gd name="T41" fmla="*/ 8 h 32"/>
                <a:gd name="T42" fmla="*/ 0 w 3"/>
                <a:gd name="T43" fmla="*/ 11 h 32"/>
                <a:gd name="T44" fmla="*/ 0 w 3"/>
                <a:gd name="T45" fmla="*/ 12 h 32"/>
                <a:gd name="T46" fmla="*/ 0 w 3"/>
                <a:gd name="T47" fmla="*/ 12 h 32"/>
                <a:gd name="T48" fmla="*/ 0 w 3"/>
                <a:gd name="T49" fmla="*/ 14 h 32"/>
                <a:gd name="T50" fmla="*/ 2 w 3"/>
                <a:gd name="T51" fmla="*/ 17 h 32"/>
                <a:gd name="T52" fmla="*/ 2 w 3"/>
                <a:gd name="T53" fmla="*/ 22 h 32"/>
                <a:gd name="T54" fmla="*/ 2 w 3"/>
                <a:gd name="T55" fmla="*/ 22 h 32"/>
                <a:gd name="T56" fmla="*/ 2 w 3"/>
                <a:gd name="T57" fmla="*/ 27 h 32"/>
                <a:gd name="T58" fmla="*/ 0 w 3"/>
                <a:gd name="T59" fmla="*/ 31 h 32"/>
                <a:gd name="T60" fmla="*/ 0 w 3"/>
                <a:gd name="T61" fmla="*/ 31 h 32"/>
                <a:gd name="T62" fmla="*/ 2 w 3"/>
                <a:gd name="T63" fmla="*/ 32 h 32"/>
                <a:gd name="T64" fmla="*/ 2 w 3"/>
                <a:gd name="T65" fmla="*/ 31 h 32"/>
                <a:gd name="T66" fmla="*/ 2 w 3"/>
                <a:gd name="T67" fmla="*/ 31 h 32"/>
                <a:gd name="T68" fmla="*/ 3 w 3"/>
                <a:gd name="T6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 h="32">
                  <a:moveTo>
                    <a:pt x="3" y="32"/>
                  </a:moveTo>
                  <a:lnTo>
                    <a:pt x="3" y="32"/>
                  </a:lnTo>
                  <a:lnTo>
                    <a:pt x="3" y="31"/>
                  </a:lnTo>
                  <a:lnTo>
                    <a:pt x="3" y="31"/>
                  </a:lnTo>
                  <a:lnTo>
                    <a:pt x="3" y="28"/>
                  </a:lnTo>
                  <a:lnTo>
                    <a:pt x="3" y="28"/>
                  </a:lnTo>
                  <a:lnTo>
                    <a:pt x="3" y="24"/>
                  </a:lnTo>
                  <a:lnTo>
                    <a:pt x="3" y="24"/>
                  </a:lnTo>
                  <a:lnTo>
                    <a:pt x="3" y="18"/>
                  </a:lnTo>
                  <a:lnTo>
                    <a:pt x="3" y="18"/>
                  </a:lnTo>
                  <a:lnTo>
                    <a:pt x="3" y="5"/>
                  </a:lnTo>
                  <a:lnTo>
                    <a:pt x="3" y="5"/>
                  </a:lnTo>
                  <a:lnTo>
                    <a:pt x="2" y="2"/>
                  </a:lnTo>
                  <a:lnTo>
                    <a:pt x="2" y="2"/>
                  </a:lnTo>
                  <a:lnTo>
                    <a:pt x="0" y="1"/>
                  </a:lnTo>
                  <a:lnTo>
                    <a:pt x="0" y="0"/>
                  </a:lnTo>
                  <a:lnTo>
                    <a:pt x="0" y="0"/>
                  </a:lnTo>
                  <a:lnTo>
                    <a:pt x="0" y="2"/>
                  </a:lnTo>
                  <a:lnTo>
                    <a:pt x="0" y="4"/>
                  </a:lnTo>
                  <a:lnTo>
                    <a:pt x="2" y="8"/>
                  </a:lnTo>
                  <a:lnTo>
                    <a:pt x="2" y="8"/>
                  </a:lnTo>
                  <a:lnTo>
                    <a:pt x="0" y="11"/>
                  </a:lnTo>
                  <a:lnTo>
                    <a:pt x="0" y="12"/>
                  </a:lnTo>
                  <a:lnTo>
                    <a:pt x="0" y="12"/>
                  </a:lnTo>
                  <a:lnTo>
                    <a:pt x="0" y="14"/>
                  </a:lnTo>
                  <a:lnTo>
                    <a:pt x="2" y="17"/>
                  </a:lnTo>
                  <a:lnTo>
                    <a:pt x="2" y="22"/>
                  </a:lnTo>
                  <a:lnTo>
                    <a:pt x="2" y="22"/>
                  </a:lnTo>
                  <a:lnTo>
                    <a:pt x="2" y="27"/>
                  </a:lnTo>
                  <a:lnTo>
                    <a:pt x="0" y="31"/>
                  </a:lnTo>
                  <a:lnTo>
                    <a:pt x="0" y="31"/>
                  </a:lnTo>
                  <a:lnTo>
                    <a:pt x="2" y="32"/>
                  </a:lnTo>
                  <a:lnTo>
                    <a:pt x="2" y="31"/>
                  </a:lnTo>
                  <a:lnTo>
                    <a:pt x="2" y="31"/>
                  </a:lnTo>
                  <a:lnTo>
                    <a:pt x="3" y="3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3" name="Freeform 615"/>
            <p:cNvSpPr/>
            <p:nvPr/>
          </p:nvSpPr>
          <p:spPr bwMode="auto">
            <a:xfrm>
              <a:off x="1998263" y="3063473"/>
              <a:ext cx="12287" cy="30720"/>
            </a:xfrm>
            <a:custGeom>
              <a:avLst/>
              <a:gdLst>
                <a:gd name="T0" fmla="*/ 1 w 4"/>
                <a:gd name="T1" fmla="*/ 5 h 8"/>
                <a:gd name="T2" fmla="*/ 1 w 4"/>
                <a:gd name="T3" fmla="*/ 5 h 8"/>
                <a:gd name="T4" fmla="*/ 1 w 4"/>
                <a:gd name="T5" fmla="*/ 5 h 8"/>
                <a:gd name="T6" fmla="*/ 1 w 4"/>
                <a:gd name="T7" fmla="*/ 4 h 8"/>
                <a:gd name="T8" fmla="*/ 1 w 4"/>
                <a:gd name="T9" fmla="*/ 0 h 8"/>
                <a:gd name="T10" fmla="*/ 1 w 4"/>
                <a:gd name="T11" fmla="*/ 0 h 8"/>
                <a:gd name="T12" fmla="*/ 1 w 4"/>
                <a:gd name="T13" fmla="*/ 0 h 8"/>
                <a:gd name="T14" fmla="*/ 1 w 4"/>
                <a:gd name="T15" fmla="*/ 1 h 8"/>
                <a:gd name="T16" fmla="*/ 0 w 4"/>
                <a:gd name="T17" fmla="*/ 4 h 8"/>
                <a:gd name="T18" fmla="*/ 0 w 4"/>
                <a:gd name="T19" fmla="*/ 4 h 8"/>
                <a:gd name="T20" fmla="*/ 0 w 4"/>
                <a:gd name="T21" fmla="*/ 7 h 8"/>
                <a:gd name="T22" fmla="*/ 1 w 4"/>
                <a:gd name="T23" fmla="*/ 8 h 8"/>
                <a:gd name="T24" fmla="*/ 1 w 4"/>
                <a:gd name="T25" fmla="*/ 8 h 8"/>
                <a:gd name="T26" fmla="*/ 4 w 4"/>
                <a:gd name="T27" fmla="*/ 1 h 8"/>
                <a:gd name="T28" fmla="*/ 4 w 4"/>
                <a:gd name="T29" fmla="*/ 1 h 8"/>
                <a:gd name="T30" fmla="*/ 4 w 4"/>
                <a:gd name="T31" fmla="*/ 0 h 8"/>
                <a:gd name="T32" fmla="*/ 3 w 4"/>
                <a:gd name="T33" fmla="*/ 1 h 8"/>
                <a:gd name="T34" fmla="*/ 1 w 4"/>
                <a:gd name="T3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8">
                  <a:moveTo>
                    <a:pt x="1" y="5"/>
                  </a:moveTo>
                  <a:lnTo>
                    <a:pt x="1" y="5"/>
                  </a:lnTo>
                  <a:lnTo>
                    <a:pt x="1" y="5"/>
                  </a:lnTo>
                  <a:lnTo>
                    <a:pt x="1" y="4"/>
                  </a:lnTo>
                  <a:lnTo>
                    <a:pt x="1" y="0"/>
                  </a:lnTo>
                  <a:lnTo>
                    <a:pt x="1" y="0"/>
                  </a:lnTo>
                  <a:lnTo>
                    <a:pt x="1" y="0"/>
                  </a:lnTo>
                  <a:lnTo>
                    <a:pt x="1" y="1"/>
                  </a:lnTo>
                  <a:lnTo>
                    <a:pt x="0" y="4"/>
                  </a:lnTo>
                  <a:lnTo>
                    <a:pt x="0" y="4"/>
                  </a:lnTo>
                  <a:lnTo>
                    <a:pt x="0" y="7"/>
                  </a:lnTo>
                  <a:lnTo>
                    <a:pt x="1" y="8"/>
                  </a:lnTo>
                  <a:lnTo>
                    <a:pt x="1" y="8"/>
                  </a:lnTo>
                  <a:lnTo>
                    <a:pt x="4" y="1"/>
                  </a:lnTo>
                  <a:lnTo>
                    <a:pt x="4" y="1"/>
                  </a:lnTo>
                  <a:lnTo>
                    <a:pt x="4" y="0"/>
                  </a:lnTo>
                  <a:lnTo>
                    <a:pt x="3" y="1"/>
                  </a:lnTo>
                  <a:lnTo>
                    <a:pt x="1"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4" name="Freeform 616"/>
            <p:cNvSpPr/>
            <p:nvPr/>
          </p:nvSpPr>
          <p:spPr bwMode="auto">
            <a:xfrm>
              <a:off x="1998263" y="3063473"/>
              <a:ext cx="12287" cy="30720"/>
            </a:xfrm>
            <a:custGeom>
              <a:avLst/>
              <a:gdLst>
                <a:gd name="T0" fmla="*/ 1 w 4"/>
                <a:gd name="T1" fmla="*/ 5 h 8"/>
                <a:gd name="T2" fmla="*/ 1 w 4"/>
                <a:gd name="T3" fmla="*/ 5 h 8"/>
                <a:gd name="T4" fmla="*/ 1 w 4"/>
                <a:gd name="T5" fmla="*/ 5 h 8"/>
                <a:gd name="T6" fmla="*/ 1 w 4"/>
                <a:gd name="T7" fmla="*/ 4 h 8"/>
                <a:gd name="T8" fmla="*/ 1 w 4"/>
                <a:gd name="T9" fmla="*/ 0 h 8"/>
                <a:gd name="T10" fmla="*/ 1 w 4"/>
                <a:gd name="T11" fmla="*/ 0 h 8"/>
                <a:gd name="T12" fmla="*/ 1 w 4"/>
                <a:gd name="T13" fmla="*/ 0 h 8"/>
                <a:gd name="T14" fmla="*/ 1 w 4"/>
                <a:gd name="T15" fmla="*/ 1 h 8"/>
                <a:gd name="T16" fmla="*/ 0 w 4"/>
                <a:gd name="T17" fmla="*/ 4 h 8"/>
                <a:gd name="T18" fmla="*/ 0 w 4"/>
                <a:gd name="T19" fmla="*/ 4 h 8"/>
                <a:gd name="T20" fmla="*/ 0 w 4"/>
                <a:gd name="T21" fmla="*/ 7 h 8"/>
                <a:gd name="T22" fmla="*/ 1 w 4"/>
                <a:gd name="T23" fmla="*/ 8 h 8"/>
                <a:gd name="T24" fmla="*/ 1 w 4"/>
                <a:gd name="T25" fmla="*/ 8 h 8"/>
                <a:gd name="T26" fmla="*/ 4 w 4"/>
                <a:gd name="T27" fmla="*/ 1 h 8"/>
                <a:gd name="T28" fmla="*/ 4 w 4"/>
                <a:gd name="T29" fmla="*/ 1 h 8"/>
                <a:gd name="T30" fmla="*/ 4 w 4"/>
                <a:gd name="T31" fmla="*/ 0 h 8"/>
                <a:gd name="T32" fmla="*/ 3 w 4"/>
                <a:gd name="T33" fmla="*/ 1 h 8"/>
                <a:gd name="T34" fmla="*/ 1 w 4"/>
                <a:gd name="T3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8">
                  <a:moveTo>
                    <a:pt x="1" y="5"/>
                  </a:moveTo>
                  <a:lnTo>
                    <a:pt x="1" y="5"/>
                  </a:lnTo>
                  <a:lnTo>
                    <a:pt x="1" y="5"/>
                  </a:lnTo>
                  <a:lnTo>
                    <a:pt x="1" y="4"/>
                  </a:lnTo>
                  <a:lnTo>
                    <a:pt x="1" y="0"/>
                  </a:lnTo>
                  <a:lnTo>
                    <a:pt x="1" y="0"/>
                  </a:lnTo>
                  <a:lnTo>
                    <a:pt x="1" y="0"/>
                  </a:lnTo>
                  <a:lnTo>
                    <a:pt x="1" y="1"/>
                  </a:lnTo>
                  <a:lnTo>
                    <a:pt x="0" y="4"/>
                  </a:lnTo>
                  <a:lnTo>
                    <a:pt x="0" y="4"/>
                  </a:lnTo>
                  <a:lnTo>
                    <a:pt x="0" y="7"/>
                  </a:lnTo>
                  <a:lnTo>
                    <a:pt x="1" y="8"/>
                  </a:lnTo>
                  <a:lnTo>
                    <a:pt x="1" y="8"/>
                  </a:lnTo>
                  <a:lnTo>
                    <a:pt x="4" y="1"/>
                  </a:lnTo>
                  <a:lnTo>
                    <a:pt x="4" y="1"/>
                  </a:lnTo>
                  <a:lnTo>
                    <a:pt x="4" y="0"/>
                  </a:lnTo>
                  <a:lnTo>
                    <a:pt x="3" y="1"/>
                  </a:lnTo>
                  <a:lnTo>
                    <a:pt x="1"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5" name="Freeform 617"/>
            <p:cNvSpPr/>
            <p:nvPr/>
          </p:nvSpPr>
          <p:spPr bwMode="auto">
            <a:xfrm>
              <a:off x="1740235" y="3788409"/>
              <a:ext cx="0" cy="30720"/>
            </a:xfrm>
            <a:custGeom>
              <a:avLst/>
              <a:gdLst>
                <a:gd name="T0" fmla="*/ 1 w 1"/>
                <a:gd name="T1" fmla="*/ 10 h 10"/>
                <a:gd name="T2" fmla="*/ 1 w 1"/>
                <a:gd name="T3" fmla="*/ 10 h 10"/>
                <a:gd name="T4" fmla="*/ 1 w 1"/>
                <a:gd name="T5" fmla="*/ 4 h 10"/>
                <a:gd name="T6" fmla="*/ 1 w 1"/>
                <a:gd name="T7" fmla="*/ 3 h 10"/>
                <a:gd name="T8" fmla="*/ 0 w 1"/>
                <a:gd name="T9" fmla="*/ 0 h 10"/>
                <a:gd name="T10" fmla="*/ 0 w 1"/>
                <a:gd name="T11" fmla="*/ 0 h 10"/>
                <a:gd name="T12" fmla="*/ 0 w 1"/>
                <a:gd name="T13" fmla="*/ 6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4"/>
                  </a:lnTo>
                  <a:lnTo>
                    <a:pt x="1" y="3"/>
                  </a:lnTo>
                  <a:lnTo>
                    <a:pt x="0" y="0"/>
                  </a:lnTo>
                  <a:lnTo>
                    <a:pt x="0" y="0"/>
                  </a:lnTo>
                  <a:lnTo>
                    <a:pt x="0" y="6"/>
                  </a:lnTo>
                  <a:lnTo>
                    <a:pt x="1"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6" name="Freeform 618"/>
            <p:cNvSpPr/>
            <p:nvPr/>
          </p:nvSpPr>
          <p:spPr bwMode="auto">
            <a:xfrm>
              <a:off x="1740235" y="3788409"/>
              <a:ext cx="0" cy="30720"/>
            </a:xfrm>
            <a:custGeom>
              <a:avLst/>
              <a:gdLst>
                <a:gd name="T0" fmla="*/ 1 w 1"/>
                <a:gd name="T1" fmla="*/ 10 h 10"/>
                <a:gd name="T2" fmla="*/ 1 w 1"/>
                <a:gd name="T3" fmla="*/ 10 h 10"/>
                <a:gd name="T4" fmla="*/ 1 w 1"/>
                <a:gd name="T5" fmla="*/ 4 h 10"/>
                <a:gd name="T6" fmla="*/ 1 w 1"/>
                <a:gd name="T7" fmla="*/ 3 h 10"/>
                <a:gd name="T8" fmla="*/ 0 w 1"/>
                <a:gd name="T9" fmla="*/ 0 h 10"/>
                <a:gd name="T10" fmla="*/ 0 w 1"/>
                <a:gd name="T11" fmla="*/ 0 h 10"/>
                <a:gd name="T12" fmla="*/ 0 w 1"/>
                <a:gd name="T13" fmla="*/ 6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4"/>
                  </a:lnTo>
                  <a:lnTo>
                    <a:pt x="1" y="3"/>
                  </a:lnTo>
                  <a:lnTo>
                    <a:pt x="0" y="0"/>
                  </a:lnTo>
                  <a:lnTo>
                    <a:pt x="0" y="0"/>
                  </a:lnTo>
                  <a:lnTo>
                    <a:pt x="0" y="6"/>
                  </a:lnTo>
                  <a:lnTo>
                    <a:pt x="1"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7" name="Freeform 619"/>
            <p:cNvSpPr/>
            <p:nvPr/>
          </p:nvSpPr>
          <p:spPr bwMode="auto">
            <a:xfrm>
              <a:off x="1734094" y="3800696"/>
              <a:ext cx="6145" cy="24574"/>
            </a:xfrm>
            <a:custGeom>
              <a:avLst/>
              <a:gdLst>
                <a:gd name="T0" fmla="*/ 2 w 2"/>
                <a:gd name="T1" fmla="*/ 8 h 8"/>
                <a:gd name="T2" fmla="*/ 2 w 2"/>
                <a:gd name="T3" fmla="*/ 8 h 8"/>
                <a:gd name="T4" fmla="*/ 2 w 2"/>
                <a:gd name="T5" fmla="*/ 8 h 8"/>
                <a:gd name="T6" fmla="*/ 2 w 2"/>
                <a:gd name="T7" fmla="*/ 5 h 8"/>
                <a:gd name="T8" fmla="*/ 0 w 2"/>
                <a:gd name="T9" fmla="*/ 0 h 8"/>
                <a:gd name="T10" fmla="*/ 0 w 2"/>
                <a:gd name="T11" fmla="*/ 0 h 8"/>
                <a:gd name="T12" fmla="*/ 0 w 2"/>
                <a:gd name="T13" fmla="*/ 2 h 8"/>
                <a:gd name="T14" fmla="*/ 0 w 2"/>
                <a:gd name="T15" fmla="*/ 5 h 8"/>
                <a:gd name="T16" fmla="*/ 2 w 2"/>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8">
                  <a:moveTo>
                    <a:pt x="2" y="8"/>
                  </a:moveTo>
                  <a:lnTo>
                    <a:pt x="2" y="8"/>
                  </a:lnTo>
                  <a:lnTo>
                    <a:pt x="2" y="8"/>
                  </a:lnTo>
                  <a:lnTo>
                    <a:pt x="2" y="5"/>
                  </a:lnTo>
                  <a:lnTo>
                    <a:pt x="0" y="0"/>
                  </a:lnTo>
                  <a:lnTo>
                    <a:pt x="0" y="0"/>
                  </a:lnTo>
                  <a:lnTo>
                    <a:pt x="0" y="2"/>
                  </a:lnTo>
                  <a:lnTo>
                    <a:pt x="0" y="5"/>
                  </a:lnTo>
                  <a:lnTo>
                    <a:pt x="2"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8" name="Freeform 620"/>
            <p:cNvSpPr/>
            <p:nvPr/>
          </p:nvSpPr>
          <p:spPr bwMode="auto">
            <a:xfrm>
              <a:off x="1734094" y="3800696"/>
              <a:ext cx="6145" cy="24574"/>
            </a:xfrm>
            <a:custGeom>
              <a:avLst/>
              <a:gdLst>
                <a:gd name="T0" fmla="*/ 2 w 2"/>
                <a:gd name="T1" fmla="*/ 8 h 8"/>
                <a:gd name="T2" fmla="*/ 2 w 2"/>
                <a:gd name="T3" fmla="*/ 8 h 8"/>
                <a:gd name="T4" fmla="*/ 2 w 2"/>
                <a:gd name="T5" fmla="*/ 8 h 8"/>
                <a:gd name="T6" fmla="*/ 2 w 2"/>
                <a:gd name="T7" fmla="*/ 5 h 8"/>
                <a:gd name="T8" fmla="*/ 0 w 2"/>
                <a:gd name="T9" fmla="*/ 0 h 8"/>
                <a:gd name="T10" fmla="*/ 0 w 2"/>
                <a:gd name="T11" fmla="*/ 0 h 8"/>
                <a:gd name="T12" fmla="*/ 0 w 2"/>
                <a:gd name="T13" fmla="*/ 2 h 8"/>
                <a:gd name="T14" fmla="*/ 0 w 2"/>
                <a:gd name="T15" fmla="*/ 5 h 8"/>
                <a:gd name="T16" fmla="*/ 2 w 2"/>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8">
                  <a:moveTo>
                    <a:pt x="2" y="8"/>
                  </a:moveTo>
                  <a:lnTo>
                    <a:pt x="2" y="8"/>
                  </a:lnTo>
                  <a:lnTo>
                    <a:pt x="2" y="8"/>
                  </a:lnTo>
                  <a:lnTo>
                    <a:pt x="2" y="5"/>
                  </a:lnTo>
                  <a:lnTo>
                    <a:pt x="0" y="0"/>
                  </a:lnTo>
                  <a:lnTo>
                    <a:pt x="0" y="0"/>
                  </a:lnTo>
                  <a:lnTo>
                    <a:pt x="0" y="2"/>
                  </a:lnTo>
                  <a:lnTo>
                    <a:pt x="0" y="5"/>
                  </a:lnTo>
                  <a:lnTo>
                    <a:pt x="2"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9" name="Freeform 621"/>
            <p:cNvSpPr/>
            <p:nvPr/>
          </p:nvSpPr>
          <p:spPr bwMode="auto">
            <a:xfrm>
              <a:off x="1727948" y="3763836"/>
              <a:ext cx="12287" cy="18433"/>
            </a:xfrm>
            <a:custGeom>
              <a:avLst/>
              <a:gdLst>
                <a:gd name="T0" fmla="*/ 3 w 3"/>
                <a:gd name="T1" fmla="*/ 3 h 6"/>
                <a:gd name="T2" fmla="*/ 3 w 3"/>
                <a:gd name="T3" fmla="*/ 3 h 6"/>
                <a:gd name="T4" fmla="*/ 1 w 3"/>
                <a:gd name="T5" fmla="*/ 1 h 6"/>
                <a:gd name="T6" fmla="*/ 0 w 3"/>
                <a:gd name="T7" fmla="*/ 0 h 6"/>
                <a:gd name="T8" fmla="*/ 0 w 3"/>
                <a:gd name="T9" fmla="*/ 0 h 6"/>
                <a:gd name="T10" fmla="*/ 0 w 3"/>
                <a:gd name="T11" fmla="*/ 6 h 6"/>
                <a:gd name="T12" fmla="*/ 0 w 3"/>
                <a:gd name="T13" fmla="*/ 6 h 6"/>
                <a:gd name="T14" fmla="*/ 1 w 3"/>
                <a:gd name="T15" fmla="*/ 6 h 6"/>
                <a:gd name="T16" fmla="*/ 1 w 3"/>
                <a:gd name="T17" fmla="*/ 6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3"/>
                  </a:lnTo>
                  <a:lnTo>
                    <a:pt x="1" y="1"/>
                  </a:lnTo>
                  <a:lnTo>
                    <a:pt x="0" y="0"/>
                  </a:lnTo>
                  <a:lnTo>
                    <a:pt x="0" y="0"/>
                  </a:lnTo>
                  <a:lnTo>
                    <a:pt x="0" y="6"/>
                  </a:lnTo>
                  <a:lnTo>
                    <a:pt x="0" y="6"/>
                  </a:lnTo>
                  <a:lnTo>
                    <a:pt x="1" y="6"/>
                  </a:lnTo>
                  <a:lnTo>
                    <a:pt x="1" y="6"/>
                  </a:lnTo>
                  <a:lnTo>
                    <a:pt x="3"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0" name="Freeform 622"/>
            <p:cNvSpPr/>
            <p:nvPr/>
          </p:nvSpPr>
          <p:spPr bwMode="auto">
            <a:xfrm>
              <a:off x="1727948" y="3763836"/>
              <a:ext cx="12287" cy="18433"/>
            </a:xfrm>
            <a:custGeom>
              <a:avLst/>
              <a:gdLst>
                <a:gd name="T0" fmla="*/ 3 w 3"/>
                <a:gd name="T1" fmla="*/ 3 h 6"/>
                <a:gd name="T2" fmla="*/ 3 w 3"/>
                <a:gd name="T3" fmla="*/ 3 h 6"/>
                <a:gd name="T4" fmla="*/ 1 w 3"/>
                <a:gd name="T5" fmla="*/ 1 h 6"/>
                <a:gd name="T6" fmla="*/ 0 w 3"/>
                <a:gd name="T7" fmla="*/ 0 h 6"/>
                <a:gd name="T8" fmla="*/ 0 w 3"/>
                <a:gd name="T9" fmla="*/ 0 h 6"/>
                <a:gd name="T10" fmla="*/ 0 w 3"/>
                <a:gd name="T11" fmla="*/ 6 h 6"/>
                <a:gd name="T12" fmla="*/ 0 w 3"/>
                <a:gd name="T13" fmla="*/ 6 h 6"/>
                <a:gd name="T14" fmla="*/ 1 w 3"/>
                <a:gd name="T15" fmla="*/ 6 h 6"/>
                <a:gd name="T16" fmla="*/ 1 w 3"/>
                <a:gd name="T17" fmla="*/ 6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3"/>
                  </a:lnTo>
                  <a:lnTo>
                    <a:pt x="1" y="1"/>
                  </a:lnTo>
                  <a:lnTo>
                    <a:pt x="0" y="0"/>
                  </a:lnTo>
                  <a:lnTo>
                    <a:pt x="0" y="0"/>
                  </a:lnTo>
                  <a:lnTo>
                    <a:pt x="0" y="6"/>
                  </a:lnTo>
                  <a:lnTo>
                    <a:pt x="0" y="6"/>
                  </a:lnTo>
                  <a:lnTo>
                    <a:pt x="1" y="6"/>
                  </a:lnTo>
                  <a:lnTo>
                    <a:pt x="1" y="6"/>
                  </a:lnTo>
                  <a:lnTo>
                    <a:pt x="3"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1" name="Freeform 623"/>
            <p:cNvSpPr/>
            <p:nvPr/>
          </p:nvSpPr>
          <p:spPr bwMode="auto">
            <a:xfrm>
              <a:off x="2010550" y="3014325"/>
              <a:ext cx="12287" cy="30720"/>
            </a:xfrm>
            <a:custGeom>
              <a:avLst/>
              <a:gdLst>
                <a:gd name="T0" fmla="*/ 0 w 4"/>
                <a:gd name="T1" fmla="*/ 12 h 12"/>
                <a:gd name="T2" fmla="*/ 0 w 4"/>
                <a:gd name="T3" fmla="*/ 12 h 12"/>
                <a:gd name="T4" fmla="*/ 1 w 4"/>
                <a:gd name="T5" fmla="*/ 10 h 12"/>
                <a:gd name="T6" fmla="*/ 1 w 4"/>
                <a:gd name="T7" fmla="*/ 8 h 12"/>
                <a:gd name="T8" fmla="*/ 1 w 4"/>
                <a:gd name="T9" fmla="*/ 8 h 12"/>
                <a:gd name="T10" fmla="*/ 4 w 4"/>
                <a:gd name="T11" fmla="*/ 2 h 12"/>
                <a:gd name="T12" fmla="*/ 4 w 4"/>
                <a:gd name="T13" fmla="*/ 2 h 12"/>
                <a:gd name="T14" fmla="*/ 4 w 4"/>
                <a:gd name="T15" fmla="*/ 0 h 12"/>
                <a:gd name="T16" fmla="*/ 3 w 4"/>
                <a:gd name="T17" fmla="*/ 2 h 12"/>
                <a:gd name="T18" fmla="*/ 1 w 4"/>
                <a:gd name="T19" fmla="*/ 5 h 12"/>
                <a:gd name="T20" fmla="*/ 0 w 4"/>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2">
                  <a:moveTo>
                    <a:pt x="0" y="12"/>
                  </a:moveTo>
                  <a:lnTo>
                    <a:pt x="0" y="12"/>
                  </a:lnTo>
                  <a:lnTo>
                    <a:pt x="1" y="10"/>
                  </a:lnTo>
                  <a:lnTo>
                    <a:pt x="1" y="8"/>
                  </a:lnTo>
                  <a:lnTo>
                    <a:pt x="1" y="8"/>
                  </a:lnTo>
                  <a:lnTo>
                    <a:pt x="4" y="2"/>
                  </a:lnTo>
                  <a:lnTo>
                    <a:pt x="4" y="2"/>
                  </a:lnTo>
                  <a:lnTo>
                    <a:pt x="4" y="0"/>
                  </a:lnTo>
                  <a:lnTo>
                    <a:pt x="3" y="2"/>
                  </a:lnTo>
                  <a:lnTo>
                    <a:pt x="1" y="5"/>
                  </a:lnTo>
                  <a:lnTo>
                    <a:pt x="0"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2" name="Freeform 624"/>
            <p:cNvSpPr/>
            <p:nvPr/>
          </p:nvSpPr>
          <p:spPr bwMode="auto">
            <a:xfrm>
              <a:off x="2010550" y="3014325"/>
              <a:ext cx="12287" cy="30720"/>
            </a:xfrm>
            <a:custGeom>
              <a:avLst/>
              <a:gdLst>
                <a:gd name="T0" fmla="*/ 0 w 4"/>
                <a:gd name="T1" fmla="*/ 12 h 12"/>
                <a:gd name="T2" fmla="*/ 0 w 4"/>
                <a:gd name="T3" fmla="*/ 12 h 12"/>
                <a:gd name="T4" fmla="*/ 1 w 4"/>
                <a:gd name="T5" fmla="*/ 10 h 12"/>
                <a:gd name="T6" fmla="*/ 1 w 4"/>
                <a:gd name="T7" fmla="*/ 8 h 12"/>
                <a:gd name="T8" fmla="*/ 1 w 4"/>
                <a:gd name="T9" fmla="*/ 8 h 12"/>
                <a:gd name="T10" fmla="*/ 4 w 4"/>
                <a:gd name="T11" fmla="*/ 2 h 12"/>
                <a:gd name="T12" fmla="*/ 4 w 4"/>
                <a:gd name="T13" fmla="*/ 2 h 12"/>
                <a:gd name="T14" fmla="*/ 4 w 4"/>
                <a:gd name="T15" fmla="*/ 0 h 12"/>
                <a:gd name="T16" fmla="*/ 3 w 4"/>
                <a:gd name="T17" fmla="*/ 2 h 12"/>
                <a:gd name="T18" fmla="*/ 1 w 4"/>
                <a:gd name="T19" fmla="*/ 5 h 12"/>
                <a:gd name="T20" fmla="*/ 0 w 4"/>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2">
                  <a:moveTo>
                    <a:pt x="0" y="12"/>
                  </a:moveTo>
                  <a:lnTo>
                    <a:pt x="0" y="12"/>
                  </a:lnTo>
                  <a:lnTo>
                    <a:pt x="1" y="10"/>
                  </a:lnTo>
                  <a:lnTo>
                    <a:pt x="1" y="8"/>
                  </a:lnTo>
                  <a:lnTo>
                    <a:pt x="1" y="8"/>
                  </a:lnTo>
                  <a:lnTo>
                    <a:pt x="4" y="2"/>
                  </a:lnTo>
                  <a:lnTo>
                    <a:pt x="4" y="2"/>
                  </a:lnTo>
                  <a:lnTo>
                    <a:pt x="4" y="0"/>
                  </a:lnTo>
                  <a:lnTo>
                    <a:pt x="3" y="2"/>
                  </a:lnTo>
                  <a:lnTo>
                    <a:pt x="1" y="5"/>
                  </a:lnTo>
                  <a:lnTo>
                    <a:pt x="0" y="1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3" name="Freeform 625"/>
            <p:cNvSpPr/>
            <p:nvPr/>
          </p:nvSpPr>
          <p:spPr bwMode="auto">
            <a:xfrm>
              <a:off x="1684945" y="3862131"/>
              <a:ext cx="12287" cy="43007"/>
            </a:xfrm>
            <a:custGeom>
              <a:avLst/>
              <a:gdLst>
                <a:gd name="T0" fmla="*/ 6 w 6"/>
                <a:gd name="T1" fmla="*/ 15 h 15"/>
                <a:gd name="T2" fmla="*/ 6 w 6"/>
                <a:gd name="T3" fmla="*/ 15 h 15"/>
                <a:gd name="T4" fmla="*/ 3 w 6"/>
                <a:gd name="T5" fmla="*/ 9 h 15"/>
                <a:gd name="T6" fmla="*/ 0 w 6"/>
                <a:gd name="T7" fmla="*/ 0 h 15"/>
                <a:gd name="T8" fmla="*/ 0 w 6"/>
                <a:gd name="T9" fmla="*/ 0 h 15"/>
                <a:gd name="T10" fmla="*/ 1 w 6"/>
                <a:gd name="T11" fmla="*/ 8 h 15"/>
                <a:gd name="T12" fmla="*/ 6 w 6"/>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6" h="15">
                  <a:moveTo>
                    <a:pt x="6" y="15"/>
                  </a:moveTo>
                  <a:lnTo>
                    <a:pt x="6" y="15"/>
                  </a:lnTo>
                  <a:lnTo>
                    <a:pt x="3" y="9"/>
                  </a:lnTo>
                  <a:lnTo>
                    <a:pt x="0" y="0"/>
                  </a:lnTo>
                  <a:lnTo>
                    <a:pt x="0" y="0"/>
                  </a:lnTo>
                  <a:lnTo>
                    <a:pt x="1" y="8"/>
                  </a:lnTo>
                  <a:lnTo>
                    <a:pt x="6"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4" name="Freeform 626"/>
            <p:cNvSpPr/>
            <p:nvPr/>
          </p:nvSpPr>
          <p:spPr bwMode="auto">
            <a:xfrm>
              <a:off x="1684945" y="3862131"/>
              <a:ext cx="12287" cy="43007"/>
            </a:xfrm>
            <a:custGeom>
              <a:avLst/>
              <a:gdLst>
                <a:gd name="T0" fmla="*/ 6 w 6"/>
                <a:gd name="T1" fmla="*/ 15 h 15"/>
                <a:gd name="T2" fmla="*/ 6 w 6"/>
                <a:gd name="T3" fmla="*/ 15 h 15"/>
                <a:gd name="T4" fmla="*/ 3 w 6"/>
                <a:gd name="T5" fmla="*/ 9 h 15"/>
                <a:gd name="T6" fmla="*/ 0 w 6"/>
                <a:gd name="T7" fmla="*/ 0 h 15"/>
                <a:gd name="T8" fmla="*/ 0 w 6"/>
                <a:gd name="T9" fmla="*/ 0 h 15"/>
                <a:gd name="T10" fmla="*/ 1 w 6"/>
                <a:gd name="T11" fmla="*/ 8 h 15"/>
                <a:gd name="T12" fmla="*/ 6 w 6"/>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6" h="15">
                  <a:moveTo>
                    <a:pt x="6" y="15"/>
                  </a:moveTo>
                  <a:lnTo>
                    <a:pt x="6" y="15"/>
                  </a:lnTo>
                  <a:lnTo>
                    <a:pt x="3" y="9"/>
                  </a:lnTo>
                  <a:lnTo>
                    <a:pt x="0" y="0"/>
                  </a:lnTo>
                  <a:lnTo>
                    <a:pt x="0" y="0"/>
                  </a:lnTo>
                  <a:lnTo>
                    <a:pt x="1" y="8"/>
                  </a:lnTo>
                  <a:lnTo>
                    <a:pt x="6" y="1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5" name="Freeform 627"/>
            <p:cNvSpPr/>
            <p:nvPr/>
          </p:nvSpPr>
          <p:spPr bwMode="auto">
            <a:xfrm>
              <a:off x="2035124" y="2940602"/>
              <a:ext cx="12287" cy="18433"/>
            </a:xfrm>
            <a:custGeom>
              <a:avLst/>
              <a:gdLst>
                <a:gd name="T0" fmla="*/ 4 w 4"/>
                <a:gd name="T1" fmla="*/ 0 h 5"/>
                <a:gd name="T2" fmla="*/ 4 w 4"/>
                <a:gd name="T3" fmla="*/ 0 h 5"/>
                <a:gd name="T4" fmla="*/ 1 w 4"/>
                <a:gd name="T5" fmla="*/ 1 h 5"/>
                <a:gd name="T6" fmla="*/ 0 w 4"/>
                <a:gd name="T7" fmla="*/ 5 h 5"/>
                <a:gd name="T8" fmla="*/ 0 w 4"/>
                <a:gd name="T9" fmla="*/ 5 h 5"/>
                <a:gd name="T10" fmla="*/ 2 w 4"/>
                <a:gd name="T11" fmla="*/ 4 h 5"/>
                <a:gd name="T12" fmla="*/ 4 w 4"/>
                <a:gd name="T13" fmla="*/ 1 h 5"/>
                <a:gd name="T14" fmla="*/ 4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0"/>
                  </a:moveTo>
                  <a:lnTo>
                    <a:pt x="4" y="0"/>
                  </a:lnTo>
                  <a:lnTo>
                    <a:pt x="1" y="1"/>
                  </a:lnTo>
                  <a:lnTo>
                    <a:pt x="0" y="5"/>
                  </a:lnTo>
                  <a:lnTo>
                    <a:pt x="0" y="5"/>
                  </a:lnTo>
                  <a:lnTo>
                    <a:pt x="2" y="4"/>
                  </a:lnTo>
                  <a:lnTo>
                    <a:pt x="4" y="1"/>
                  </a:lnTo>
                  <a:lnTo>
                    <a:pt x="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6" name="Freeform 628"/>
            <p:cNvSpPr/>
            <p:nvPr/>
          </p:nvSpPr>
          <p:spPr bwMode="auto">
            <a:xfrm>
              <a:off x="2035124" y="2940602"/>
              <a:ext cx="12287" cy="18433"/>
            </a:xfrm>
            <a:custGeom>
              <a:avLst/>
              <a:gdLst>
                <a:gd name="T0" fmla="*/ 4 w 4"/>
                <a:gd name="T1" fmla="*/ 0 h 5"/>
                <a:gd name="T2" fmla="*/ 4 w 4"/>
                <a:gd name="T3" fmla="*/ 0 h 5"/>
                <a:gd name="T4" fmla="*/ 1 w 4"/>
                <a:gd name="T5" fmla="*/ 1 h 5"/>
                <a:gd name="T6" fmla="*/ 0 w 4"/>
                <a:gd name="T7" fmla="*/ 5 h 5"/>
                <a:gd name="T8" fmla="*/ 0 w 4"/>
                <a:gd name="T9" fmla="*/ 5 h 5"/>
                <a:gd name="T10" fmla="*/ 2 w 4"/>
                <a:gd name="T11" fmla="*/ 4 h 5"/>
                <a:gd name="T12" fmla="*/ 4 w 4"/>
                <a:gd name="T13" fmla="*/ 1 h 5"/>
                <a:gd name="T14" fmla="*/ 4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0"/>
                  </a:moveTo>
                  <a:lnTo>
                    <a:pt x="4" y="0"/>
                  </a:lnTo>
                  <a:lnTo>
                    <a:pt x="1" y="1"/>
                  </a:lnTo>
                  <a:lnTo>
                    <a:pt x="0" y="5"/>
                  </a:lnTo>
                  <a:lnTo>
                    <a:pt x="0" y="5"/>
                  </a:lnTo>
                  <a:lnTo>
                    <a:pt x="2" y="4"/>
                  </a:lnTo>
                  <a:lnTo>
                    <a:pt x="4" y="1"/>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7" name="Freeform 629"/>
            <p:cNvSpPr/>
            <p:nvPr/>
          </p:nvSpPr>
          <p:spPr bwMode="auto">
            <a:xfrm>
              <a:off x="1740235" y="3536523"/>
              <a:ext cx="0" cy="30720"/>
            </a:xfrm>
            <a:custGeom>
              <a:avLst/>
              <a:gdLst>
                <a:gd name="T0" fmla="*/ 1 w 1"/>
                <a:gd name="T1" fmla="*/ 12 h 12"/>
                <a:gd name="T2" fmla="*/ 1 w 1"/>
                <a:gd name="T3" fmla="*/ 12 h 12"/>
                <a:gd name="T4" fmla="*/ 1 w 1"/>
                <a:gd name="T5" fmla="*/ 3 h 12"/>
                <a:gd name="T6" fmla="*/ 1 w 1"/>
                <a:gd name="T7" fmla="*/ 0 h 12"/>
                <a:gd name="T8" fmla="*/ 0 w 1"/>
                <a:gd name="T9" fmla="*/ 0 h 12"/>
                <a:gd name="T10" fmla="*/ 0 w 1"/>
                <a:gd name="T11" fmla="*/ 2 h 12"/>
                <a:gd name="T12" fmla="*/ 0 w 1"/>
                <a:gd name="T13" fmla="*/ 2 h 12"/>
                <a:gd name="T14" fmla="*/ 1 w 1"/>
                <a:gd name="T15" fmla="*/ 6 h 12"/>
                <a:gd name="T16" fmla="*/ 1 w 1"/>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2">
                  <a:moveTo>
                    <a:pt x="1" y="12"/>
                  </a:moveTo>
                  <a:lnTo>
                    <a:pt x="1" y="12"/>
                  </a:lnTo>
                  <a:lnTo>
                    <a:pt x="1" y="3"/>
                  </a:lnTo>
                  <a:lnTo>
                    <a:pt x="1" y="0"/>
                  </a:lnTo>
                  <a:lnTo>
                    <a:pt x="0" y="0"/>
                  </a:lnTo>
                  <a:lnTo>
                    <a:pt x="0" y="2"/>
                  </a:lnTo>
                  <a:lnTo>
                    <a:pt x="0" y="2"/>
                  </a:lnTo>
                  <a:lnTo>
                    <a:pt x="1" y="6"/>
                  </a:lnTo>
                  <a:lnTo>
                    <a:pt x="1"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8" name="Freeform 630"/>
            <p:cNvSpPr/>
            <p:nvPr/>
          </p:nvSpPr>
          <p:spPr bwMode="auto">
            <a:xfrm>
              <a:off x="1740235" y="3536523"/>
              <a:ext cx="0" cy="30720"/>
            </a:xfrm>
            <a:custGeom>
              <a:avLst/>
              <a:gdLst>
                <a:gd name="T0" fmla="*/ 1 w 1"/>
                <a:gd name="T1" fmla="*/ 12 h 12"/>
                <a:gd name="T2" fmla="*/ 1 w 1"/>
                <a:gd name="T3" fmla="*/ 12 h 12"/>
                <a:gd name="T4" fmla="*/ 1 w 1"/>
                <a:gd name="T5" fmla="*/ 3 h 12"/>
                <a:gd name="T6" fmla="*/ 1 w 1"/>
                <a:gd name="T7" fmla="*/ 0 h 12"/>
                <a:gd name="T8" fmla="*/ 0 w 1"/>
                <a:gd name="T9" fmla="*/ 0 h 12"/>
                <a:gd name="T10" fmla="*/ 0 w 1"/>
                <a:gd name="T11" fmla="*/ 2 h 12"/>
                <a:gd name="T12" fmla="*/ 0 w 1"/>
                <a:gd name="T13" fmla="*/ 2 h 12"/>
                <a:gd name="T14" fmla="*/ 1 w 1"/>
                <a:gd name="T15" fmla="*/ 6 h 12"/>
                <a:gd name="T16" fmla="*/ 1 w 1"/>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2">
                  <a:moveTo>
                    <a:pt x="1" y="12"/>
                  </a:moveTo>
                  <a:lnTo>
                    <a:pt x="1" y="12"/>
                  </a:lnTo>
                  <a:lnTo>
                    <a:pt x="1" y="3"/>
                  </a:lnTo>
                  <a:lnTo>
                    <a:pt x="1" y="0"/>
                  </a:lnTo>
                  <a:lnTo>
                    <a:pt x="0" y="0"/>
                  </a:lnTo>
                  <a:lnTo>
                    <a:pt x="0" y="2"/>
                  </a:lnTo>
                  <a:lnTo>
                    <a:pt x="0" y="2"/>
                  </a:lnTo>
                  <a:lnTo>
                    <a:pt x="1" y="6"/>
                  </a:lnTo>
                  <a:lnTo>
                    <a:pt x="1" y="1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9" name="Freeform 631"/>
            <p:cNvSpPr/>
            <p:nvPr/>
          </p:nvSpPr>
          <p:spPr bwMode="auto">
            <a:xfrm>
              <a:off x="1807816" y="3296928"/>
              <a:ext cx="6145" cy="49148"/>
            </a:xfrm>
            <a:custGeom>
              <a:avLst/>
              <a:gdLst>
                <a:gd name="T0" fmla="*/ 0 w 2"/>
                <a:gd name="T1" fmla="*/ 16 h 16"/>
                <a:gd name="T2" fmla="*/ 0 w 2"/>
                <a:gd name="T3" fmla="*/ 16 h 16"/>
                <a:gd name="T4" fmla="*/ 2 w 2"/>
                <a:gd name="T5" fmla="*/ 15 h 16"/>
                <a:gd name="T6" fmla="*/ 2 w 2"/>
                <a:gd name="T7" fmla="*/ 10 h 16"/>
                <a:gd name="T8" fmla="*/ 2 w 2"/>
                <a:gd name="T9" fmla="*/ 10 h 16"/>
                <a:gd name="T10" fmla="*/ 2 w 2"/>
                <a:gd name="T11" fmla="*/ 0 h 16"/>
                <a:gd name="T12" fmla="*/ 2 w 2"/>
                <a:gd name="T13" fmla="*/ 0 h 16"/>
                <a:gd name="T14" fmla="*/ 2 w 2"/>
                <a:gd name="T15" fmla="*/ 2 h 16"/>
                <a:gd name="T16" fmla="*/ 0 w 2"/>
                <a:gd name="T17" fmla="*/ 0 h 16"/>
                <a:gd name="T18" fmla="*/ 0 w 2"/>
                <a:gd name="T19" fmla="*/ 0 h 16"/>
                <a:gd name="T20" fmla="*/ 0 w 2"/>
                <a:gd name="T21" fmla="*/ 5 h 16"/>
                <a:gd name="T22" fmla="*/ 0 w 2"/>
                <a:gd name="T23" fmla="*/ 7 h 16"/>
                <a:gd name="T24" fmla="*/ 0 w 2"/>
                <a:gd name="T25" fmla="*/ 7 h 16"/>
                <a:gd name="T26" fmla="*/ 0 w 2"/>
                <a:gd name="T27" fmla="*/ 12 h 16"/>
                <a:gd name="T28" fmla="*/ 0 w 2"/>
                <a:gd name="T2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16">
                  <a:moveTo>
                    <a:pt x="0" y="16"/>
                  </a:moveTo>
                  <a:lnTo>
                    <a:pt x="0" y="16"/>
                  </a:lnTo>
                  <a:lnTo>
                    <a:pt x="2" y="15"/>
                  </a:lnTo>
                  <a:lnTo>
                    <a:pt x="2" y="10"/>
                  </a:lnTo>
                  <a:lnTo>
                    <a:pt x="2" y="10"/>
                  </a:lnTo>
                  <a:lnTo>
                    <a:pt x="2" y="0"/>
                  </a:lnTo>
                  <a:lnTo>
                    <a:pt x="2" y="0"/>
                  </a:lnTo>
                  <a:lnTo>
                    <a:pt x="2" y="2"/>
                  </a:lnTo>
                  <a:lnTo>
                    <a:pt x="0" y="0"/>
                  </a:lnTo>
                  <a:lnTo>
                    <a:pt x="0" y="0"/>
                  </a:lnTo>
                  <a:lnTo>
                    <a:pt x="0" y="5"/>
                  </a:lnTo>
                  <a:lnTo>
                    <a:pt x="0" y="7"/>
                  </a:lnTo>
                  <a:lnTo>
                    <a:pt x="0" y="7"/>
                  </a:lnTo>
                  <a:lnTo>
                    <a:pt x="0" y="1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0" name="Freeform 632"/>
            <p:cNvSpPr/>
            <p:nvPr/>
          </p:nvSpPr>
          <p:spPr bwMode="auto">
            <a:xfrm>
              <a:off x="1807816" y="3296928"/>
              <a:ext cx="6145" cy="49148"/>
            </a:xfrm>
            <a:custGeom>
              <a:avLst/>
              <a:gdLst>
                <a:gd name="T0" fmla="*/ 0 w 2"/>
                <a:gd name="T1" fmla="*/ 16 h 16"/>
                <a:gd name="T2" fmla="*/ 0 w 2"/>
                <a:gd name="T3" fmla="*/ 16 h 16"/>
                <a:gd name="T4" fmla="*/ 2 w 2"/>
                <a:gd name="T5" fmla="*/ 15 h 16"/>
                <a:gd name="T6" fmla="*/ 2 w 2"/>
                <a:gd name="T7" fmla="*/ 10 h 16"/>
                <a:gd name="T8" fmla="*/ 2 w 2"/>
                <a:gd name="T9" fmla="*/ 10 h 16"/>
                <a:gd name="T10" fmla="*/ 2 w 2"/>
                <a:gd name="T11" fmla="*/ 0 h 16"/>
                <a:gd name="T12" fmla="*/ 2 w 2"/>
                <a:gd name="T13" fmla="*/ 0 h 16"/>
                <a:gd name="T14" fmla="*/ 2 w 2"/>
                <a:gd name="T15" fmla="*/ 2 h 16"/>
                <a:gd name="T16" fmla="*/ 0 w 2"/>
                <a:gd name="T17" fmla="*/ 0 h 16"/>
                <a:gd name="T18" fmla="*/ 0 w 2"/>
                <a:gd name="T19" fmla="*/ 0 h 16"/>
                <a:gd name="T20" fmla="*/ 0 w 2"/>
                <a:gd name="T21" fmla="*/ 5 h 16"/>
                <a:gd name="T22" fmla="*/ 0 w 2"/>
                <a:gd name="T23" fmla="*/ 7 h 16"/>
                <a:gd name="T24" fmla="*/ 0 w 2"/>
                <a:gd name="T25" fmla="*/ 7 h 16"/>
                <a:gd name="T26" fmla="*/ 0 w 2"/>
                <a:gd name="T27" fmla="*/ 12 h 16"/>
                <a:gd name="T28" fmla="*/ 0 w 2"/>
                <a:gd name="T2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16">
                  <a:moveTo>
                    <a:pt x="0" y="16"/>
                  </a:moveTo>
                  <a:lnTo>
                    <a:pt x="0" y="16"/>
                  </a:lnTo>
                  <a:lnTo>
                    <a:pt x="2" y="15"/>
                  </a:lnTo>
                  <a:lnTo>
                    <a:pt x="2" y="10"/>
                  </a:lnTo>
                  <a:lnTo>
                    <a:pt x="2" y="10"/>
                  </a:lnTo>
                  <a:lnTo>
                    <a:pt x="2" y="0"/>
                  </a:lnTo>
                  <a:lnTo>
                    <a:pt x="2" y="0"/>
                  </a:lnTo>
                  <a:lnTo>
                    <a:pt x="2" y="2"/>
                  </a:lnTo>
                  <a:lnTo>
                    <a:pt x="0" y="0"/>
                  </a:lnTo>
                  <a:lnTo>
                    <a:pt x="0" y="0"/>
                  </a:lnTo>
                  <a:lnTo>
                    <a:pt x="0" y="5"/>
                  </a:lnTo>
                  <a:lnTo>
                    <a:pt x="0" y="7"/>
                  </a:lnTo>
                  <a:lnTo>
                    <a:pt x="0" y="7"/>
                  </a:lnTo>
                  <a:lnTo>
                    <a:pt x="0" y="12"/>
                  </a:lnTo>
                  <a:lnTo>
                    <a:pt x="0" y="1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1" name="Freeform 633"/>
            <p:cNvSpPr/>
            <p:nvPr/>
          </p:nvSpPr>
          <p:spPr bwMode="auto">
            <a:xfrm>
              <a:off x="1691087" y="3671680"/>
              <a:ext cx="6145" cy="49148"/>
            </a:xfrm>
            <a:custGeom>
              <a:avLst/>
              <a:gdLst>
                <a:gd name="T0" fmla="*/ 1 w 1"/>
                <a:gd name="T1" fmla="*/ 14 h 14"/>
                <a:gd name="T2" fmla="*/ 1 w 1"/>
                <a:gd name="T3" fmla="*/ 14 h 14"/>
                <a:gd name="T4" fmla="*/ 1 w 1"/>
                <a:gd name="T5" fmla="*/ 7 h 14"/>
                <a:gd name="T6" fmla="*/ 0 w 1"/>
                <a:gd name="T7" fmla="*/ 0 h 14"/>
                <a:gd name="T8" fmla="*/ 0 w 1"/>
                <a:gd name="T9" fmla="*/ 0 h 14"/>
                <a:gd name="T10" fmla="*/ 1 w 1"/>
                <a:gd name="T11" fmla="*/ 7 h 14"/>
                <a:gd name="T12" fmla="*/ 1 w 1"/>
                <a:gd name="T13" fmla="*/ 10 h 14"/>
                <a:gd name="T14" fmla="*/ 1 w 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4">
                  <a:moveTo>
                    <a:pt x="1" y="14"/>
                  </a:moveTo>
                  <a:lnTo>
                    <a:pt x="1" y="14"/>
                  </a:lnTo>
                  <a:lnTo>
                    <a:pt x="1" y="7"/>
                  </a:lnTo>
                  <a:lnTo>
                    <a:pt x="0" y="0"/>
                  </a:lnTo>
                  <a:lnTo>
                    <a:pt x="0" y="0"/>
                  </a:lnTo>
                  <a:lnTo>
                    <a:pt x="1" y="7"/>
                  </a:lnTo>
                  <a:lnTo>
                    <a:pt x="1" y="10"/>
                  </a:lnTo>
                  <a:lnTo>
                    <a:pt x="1"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2" name="Freeform 634"/>
            <p:cNvSpPr/>
            <p:nvPr/>
          </p:nvSpPr>
          <p:spPr bwMode="auto">
            <a:xfrm>
              <a:off x="1691087" y="3671680"/>
              <a:ext cx="6145" cy="49148"/>
            </a:xfrm>
            <a:custGeom>
              <a:avLst/>
              <a:gdLst>
                <a:gd name="T0" fmla="*/ 1 w 1"/>
                <a:gd name="T1" fmla="*/ 14 h 14"/>
                <a:gd name="T2" fmla="*/ 1 w 1"/>
                <a:gd name="T3" fmla="*/ 14 h 14"/>
                <a:gd name="T4" fmla="*/ 1 w 1"/>
                <a:gd name="T5" fmla="*/ 7 h 14"/>
                <a:gd name="T6" fmla="*/ 0 w 1"/>
                <a:gd name="T7" fmla="*/ 0 h 14"/>
                <a:gd name="T8" fmla="*/ 0 w 1"/>
                <a:gd name="T9" fmla="*/ 0 h 14"/>
                <a:gd name="T10" fmla="*/ 1 w 1"/>
                <a:gd name="T11" fmla="*/ 7 h 14"/>
                <a:gd name="T12" fmla="*/ 1 w 1"/>
                <a:gd name="T13" fmla="*/ 10 h 14"/>
                <a:gd name="T14" fmla="*/ 1 w 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4">
                  <a:moveTo>
                    <a:pt x="1" y="14"/>
                  </a:moveTo>
                  <a:lnTo>
                    <a:pt x="1" y="14"/>
                  </a:lnTo>
                  <a:lnTo>
                    <a:pt x="1" y="7"/>
                  </a:lnTo>
                  <a:lnTo>
                    <a:pt x="0" y="0"/>
                  </a:lnTo>
                  <a:lnTo>
                    <a:pt x="0" y="0"/>
                  </a:lnTo>
                  <a:lnTo>
                    <a:pt x="1" y="7"/>
                  </a:lnTo>
                  <a:lnTo>
                    <a:pt x="1" y="10"/>
                  </a:lnTo>
                  <a:lnTo>
                    <a:pt x="1" y="1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3" name="Freeform 635"/>
            <p:cNvSpPr/>
            <p:nvPr/>
          </p:nvSpPr>
          <p:spPr bwMode="auto">
            <a:xfrm>
              <a:off x="2071985" y="2830019"/>
              <a:ext cx="24574" cy="61435"/>
            </a:xfrm>
            <a:custGeom>
              <a:avLst/>
              <a:gdLst>
                <a:gd name="T0" fmla="*/ 0 w 7"/>
                <a:gd name="T1" fmla="*/ 20 h 20"/>
                <a:gd name="T2" fmla="*/ 0 w 7"/>
                <a:gd name="T3" fmla="*/ 20 h 20"/>
                <a:gd name="T4" fmla="*/ 1 w 7"/>
                <a:gd name="T5" fmla="*/ 18 h 20"/>
                <a:gd name="T6" fmla="*/ 1 w 7"/>
                <a:gd name="T7" fmla="*/ 18 h 20"/>
                <a:gd name="T8" fmla="*/ 1 w 7"/>
                <a:gd name="T9" fmla="*/ 18 h 20"/>
                <a:gd name="T10" fmla="*/ 4 w 7"/>
                <a:gd name="T11" fmla="*/ 10 h 20"/>
                <a:gd name="T12" fmla="*/ 7 w 7"/>
                <a:gd name="T13" fmla="*/ 5 h 20"/>
                <a:gd name="T14" fmla="*/ 7 w 7"/>
                <a:gd name="T15" fmla="*/ 0 h 20"/>
                <a:gd name="T16" fmla="*/ 7 w 7"/>
                <a:gd name="T17" fmla="*/ 0 h 20"/>
                <a:gd name="T18" fmla="*/ 6 w 7"/>
                <a:gd name="T19" fmla="*/ 5 h 20"/>
                <a:gd name="T20" fmla="*/ 3 w 7"/>
                <a:gd name="T21" fmla="*/ 10 h 20"/>
                <a:gd name="T22" fmla="*/ 0 w 7"/>
                <a:gd name="T23" fmla="*/ 14 h 20"/>
                <a:gd name="T24" fmla="*/ 0 w 7"/>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20">
                  <a:moveTo>
                    <a:pt x="0" y="20"/>
                  </a:moveTo>
                  <a:lnTo>
                    <a:pt x="0" y="20"/>
                  </a:lnTo>
                  <a:lnTo>
                    <a:pt x="1" y="18"/>
                  </a:lnTo>
                  <a:lnTo>
                    <a:pt x="1" y="18"/>
                  </a:lnTo>
                  <a:lnTo>
                    <a:pt x="1" y="18"/>
                  </a:lnTo>
                  <a:lnTo>
                    <a:pt x="4" y="10"/>
                  </a:lnTo>
                  <a:lnTo>
                    <a:pt x="7" y="5"/>
                  </a:lnTo>
                  <a:lnTo>
                    <a:pt x="7" y="0"/>
                  </a:lnTo>
                  <a:lnTo>
                    <a:pt x="7" y="0"/>
                  </a:lnTo>
                  <a:lnTo>
                    <a:pt x="6" y="5"/>
                  </a:lnTo>
                  <a:lnTo>
                    <a:pt x="3" y="10"/>
                  </a:lnTo>
                  <a:lnTo>
                    <a:pt x="0" y="14"/>
                  </a:lnTo>
                  <a:lnTo>
                    <a:pt x="0"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4" name="Freeform 636"/>
            <p:cNvSpPr/>
            <p:nvPr/>
          </p:nvSpPr>
          <p:spPr bwMode="auto">
            <a:xfrm>
              <a:off x="2071985" y="2830019"/>
              <a:ext cx="24574" cy="61435"/>
            </a:xfrm>
            <a:custGeom>
              <a:avLst/>
              <a:gdLst>
                <a:gd name="T0" fmla="*/ 0 w 7"/>
                <a:gd name="T1" fmla="*/ 20 h 20"/>
                <a:gd name="T2" fmla="*/ 0 w 7"/>
                <a:gd name="T3" fmla="*/ 20 h 20"/>
                <a:gd name="T4" fmla="*/ 1 w 7"/>
                <a:gd name="T5" fmla="*/ 18 h 20"/>
                <a:gd name="T6" fmla="*/ 1 w 7"/>
                <a:gd name="T7" fmla="*/ 18 h 20"/>
                <a:gd name="T8" fmla="*/ 1 w 7"/>
                <a:gd name="T9" fmla="*/ 18 h 20"/>
                <a:gd name="T10" fmla="*/ 4 w 7"/>
                <a:gd name="T11" fmla="*/ 10 h 20"/>
                <a:gd name="T12" fmla="*/ 7 w 7"/>
                <a:gd name="T13" fmla="*/ 5 h 20"/>
                <a:gd name="T14" fmla="*/ 7 w 7"/>
                <a:gd name="T15" fmla="*/ 0 h 20"/>
                <a:gd name="T16" fmla="*/ 7 w 7"/>
                <a:gd name="T17" fmla="*/ 0 h 20"/>
                <a:gd name="T18" fmla="*/ 6 w 7"/>
                <a:gd name="T19" fmla="*/ 5 h 20"/>
                <a:gd name="T20" fmla="*/ 3 w 7"/>
                <a:gd name="T21" fmla="*/ 10 h 20"/>
                <a:gd name="T22" fmla="*/ 0 w 7"/>
                <a:gd name="T23" fmla="*/ 14 h 20"/>
                <a:gd name="T24" fmla="*/ 0 w 7"/>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20">
                  <a:moveTo>
                    <a:pt x="0" y="20"/>
                  </a:moveTo>
                  <a:lnTo>
                    <a:pt x="0" y="20"/>
                  </a:lnTo>
                  <a:lnTo>
                    <a:pt x="1" y="18"/>
                  </a:lnTo>
                  <a:lnTo>
                    <a:pt x="1" y="18"/>
                  </a:lnTo>
                  <a:lnTo>
                    <a:pt x="1" y="18"/>
                  </a:lnTo>
                  <a:lnTo>
                    <a:pt x="4" y="10"/>
                  </a:lnTo>
                  <a:lnTo>
                    <a:pt x="7" y="5"/>
                  </a:lnTo>
                  <a:lnTo>
                    <a:pt x="7" y="0"/>
                  </a:lnTo>
                  <a:lnTo>
                    <a:pt x="7" y="0"/>
                  </a:lnTo>
                  <a:lnTo>
                    <a:pt x="6" y="5"/>
                  </a:lnTo>
                  <a:lnTo>
                    <a:pt x="3" y="10"/>
                  </a:lnTo>
                  <a:lnTo>
                    <a:pt x="0" y="14"/>
                  </a:lnTo>
                  <a:lnTo>
                    <a:pt x="0" y="2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5" name="Freeform 637"/>
            <p:cNvSpPr/>
            <p:nvPr/>
          </p:nvSpPr>
          <p:spPr bwMode="auto">
            <a:xfrm>
              <a:off x="1740235" y="3395223"/>
              <a:ext cx="6145" cy="24574"/>
            </a:xfrm>
            <a:custGeom>
              <a:avLst/>
              <a:gdLst>
                <a:gd name="T0" fmla="*/ 1 w 1"/>
                <a:gd name="T1" fmla="*/ 8 h 8"/>
                <a:gd name="T2" fmla="*/ 1 w 1"/>
                <a:gd name="T3" fmla="*/ 8 h 8"/>
                <a:gd name="T4" fmla="*/ 1 w 1"/>
                <a:gd name="T5" fmla="*/ 7 h 8"/>
                <a:gd name="T6" fmla="*/ 1 w 1"/>
                <a:gd name="T7" fmla="*/ 4 h 8"/>
                <a:gd name="T8" fmla="*/ 0 w 1"/>
                <a:gd name="T9" fmla="*/ 0 h 8"/>
                <a:gd name="T10" fmla="*/ 0 w 1"/>
                <a:gd name="T11" fmla="*/ 0 h 8"/>
                <a:gd name="T12" fmla="*/ 0 w 1"/>
                <a:gd name="T13" fmla="*/ 4 h 8"/>
                <a:gd name="T14" fmla="*/ 0 w 1"/>
                <a:gd name="T15" fmla="*/ 4 h 8"/>
                <a:gd name="T16" fmla="*/ 1 w 1"/>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8">
                  <a:moveTo>
                    <a:pt x="1" y="8"/>
                  </a:moveTo>
                  <a:lnTo>
                    <a:pt x="1" y="8"/>
                  </a:lnTo>
                  <a:lnTo>
                    <a:pt x="1" y="7"/>
                  </a:lnTo>
                  <a:lnTo>
                    <a:pt x="1" y="4"/>
                  </a:lnTo>
                  <a:lnTo>
                    <a:pt x="0" y="0"/>
                  </a:lnTo>
                  <a:lnTo>
                    <a:pt x="0" y="0"/>
                  </a:lnTo>
                  <a:lnTo>
                    <a:pt x="0" y="4"/>
                  </a:lnTo>
                  <a:lnTo>
                    <a:pt x="0" y="4"/>
                  </a:lnTo>
                  <a:lnTo>
                    <a:pt x="1"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6" name="Freeform 638"/>
            <p:cNvSpPr/>
            <p:nvPr/>
          </p:nvSpPr>
          <p:spPr bwMode="auto">
            <a:xfrm>
              <a:off x="1740235" y="3395223"/>
              <a:ext cx="6145" cy="24574"/>
            </a:xfrm>
            <a:custGeom>
              <a:avLst/>
              <a:gdLst>
                <a:gd name="T0" fmla="*/ 1 w 1"/>
                <a:gd name="T1" fmla="*/ 8 h 8"/>
                <a:gd name="T2" fmla="*/ 1 w 1"/>
                <a:gd name="T3" fmla="*/ 8 h 8"/>
                <a:gd name="T4" fmla="*/ 1 w 1"/>
                <a:gd name="T5" fmla="*/ 7 h 8"/>
                <a:gd name="T6" fmla="*/ 1 w 1"/>
                <a:gd name="T7" fmla="*/ 4 h 8"/>
                <a:gd name="T8" fmla="*/ 0 w 1"/>
                <a:gd name="T9" fmla="*/ 0 h 8"/>
                <a:gd name="T10" fmla="*/ 0 w 1"/>
                <a:gd name="T11" fmla="*/ 0 h 8"/>
                <a:gd name="T12" fmla="*/ 0 w 1"/>
                <a:gd name="T13" fmla="*/ 4 h 8"/>
                <a:gd name="T14" fmla="*/ 0 w 1"/>
                <a:gd name="T15" fmla="*/ 4 h 8"/>
                <a:gd name="T16" fmla="*/ 1 w 1"/>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8">
                  <a:moveTo>
                    <a:pt x="1" y="8"/>
                  </a:moveTo>
                  <a:lnTo>
                    <a:pt x="1" y="8"/>
                  </a:lnTo>
                  <a:lnTo>
                    <a:pt x="1" y="7"/>
                  </a:lnTo>
                  <a:lnTo>
                    <a:pt x="1" y="4"/>
                  </a:lnTo>
                  <a:lnTo>
                    <a:pt x="0" y="0"/>
                  </a:lnTo>
                  <a:lnTo>
                    <a:pt x="0" y="0"/>
                  </a:lnTo>
                  <a:lnTo>
                    <a:pt x="0" y="4"/>
                  </a:lnTo>
                  <a:lnTo>
                    <a:pt x="0" y="4"/>
                  </a:lnTo>
                  <a:lnTo>
                    <a:pt x="1"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7" name="Freeform 639"/>
            <p:cNvSpPr/>
            <p:nvPr/>
          </p:nvSpPr>
          <p:spPr bwMode="auto">
            <a:xfrm>
              <a:off x="1697232" y="3370649"/>
              <a:ext cx="6145" cy="30720"/>
            </a:xfrm>
            <a:custGeom>
              <a:avLst/>
              <a:gdLst>
                <a:gd name="T0" fmla="*/ 1 w 1"/>
                <a:gd name="T1" fmla="*/ 10 h 10"/>
                <a:gd name="T2" fmla="*/ 1 w 1"/>
                <a:gd name="T3" fmla="*/ 10 h 10"/>
                <a:gd name="T4" fmla="*/ 1 w 1"/>
                <a:gd name="T5" fmla="*/ 1 h 10"/>
                <a:gd name="T6" fmla="*/ 1 w 1"/>
                <a:gd name="T7" fmla="*/ 0 h 10"/>
                <a:gd name="T8" fmla="*/ 0 w 1"/>
                <a:gd name="T9" fmla="*/ 1 h 10"/>
                <a:gd name="T10" fmla="*/ 0 w 1"/>
                <a:gd name="T11" fmla="*/ 1 h 10"/>
                <a:gd name="T12" fmla="*/ 0 w 1"/>
                <a:gd name="T13" fmla="*/ 5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1"/>
                  </a:lnTo>
                  <a:lnTo>
                    <a:pt x="1" y="0"/>
                  </a:lnTo>
                  <a:lnTo>
                    <a:pt x="0" y="1"/>
                  </a:lnTo>
                  <a:lnTo>
                    <a:pt x="0" y="1"/>
                  </a:lnTo>
                  <a:lnTo>
                    <a:pt x="0" y="5"/>
                  </a:lnTo>
                  <a:lnTo>
                    <a:pt x="1"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8" name="Freeform 640"/>
            <p:cNvSpPr/>
            <p:nvPr/>
          </p:nvSpPr>
          <p:spPr bwMode="auto">
            <a:xfrm>
              <a:off x="1697232" y="3370649"/>
              <a:ext cx="6145" cy="30720"/>
            </a:xfrm>
            <a:custGeom>
              <a:avLst/>
              <a:gdLst>
                <a:gd name="T0" fmla="*/ 1 w 1"/>
                <a:gd name="T1" fmla="*/ 10 h 10"/>
                <a:gd name="T2" fmla="*/ 1 w 1"/>
                <a:gd name="T3" fmla="*/ 10 h 10"/>
                <a:gd name="T4" fmla="*/ 1 w 1"/>
                <a:gd name="T5" fmla="*/ 1 h 10"/>
                <a:gd name="T6" fmla="*/ 1 w 1"/>
                <a:gd name="T7" fmla="*/ 0 h 10"/>
                <a:gd name="T8" fmla="*/ 0 w 1"/>
                <a:gd name="T9" fmla="*/ 1 h 10"/>
                <a:gd name="T10" fmla="*/ 0 w 1"/>
                <a:gd name="T11" fmla="*/ 1 h 10"/>
                <a:gd name="T12" fmla="*/ 0 w 1"/>
                <a:gd name="T13" fmla="*/ 5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1"/>
                  </a:lnTo>
                  <a:lnTo>
                    <a:pt x="1" y="0"/>
                  </a:lnTo>
                  <a:lnTo>
                    <a:pt x="0" y="1"/>
                  </a:lnTo>
                  <a:lnTo>
                    <a:pt x="0" y="1"/>
                  </a:lnTo>
                  <a:lnTo>
                    <a:pt x="0" y="5"/>
                  </a:lnTo>
                  <a:lnTo>
                    <a:pt x="1"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9" name="Freeform 641"/>
            <p:cNvSpPr/>
            <p:nvPr/>
          </p:nvSpPr>
          <p:spPr bwMode="auto">
            <a:xfrm>
              <a:off x="1912254" y="2885309"/>
              <a:ext cx="12287" cy="36861"/>
            </a:xfrm>
            <a:custGeom>
              <a:avLst/>
              <a:gdLst>
                <a:gd name="T0" fmla="*/ 0 w 2"/>
                <a:gd name="T1" fmla="*/ 12 h 12"/>
                <a:gd name="T2" fmla="*/ 0 w 2"/>
                <a:gd name="T3" fmla="*/ 12 h 12"/>
                <a:gd name="T4" fmla="*/ 2 w 2"/>
                <a:gd name="T5" fmla="*/ 4 h 12"/>
                <a:gd name="T6" fmla="*/ 2 w 2"/>
                <a:gd name="T7" fmla="*/ 0 h 12"/>
                <a:gd name="T8" fmla="*/ 2 w 2"/>
                <a:gd name="T9" fmla="*/ 0 h 12"/>
                <a:gd name="T10" fmla="*/ 1 w 2"/>
                <a:gd name="T11" fmla="*/ 6 h 12"/>
                <a:gd name="T12" fmla="*/ 0 w 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 h="12">
                  <a:moveTo>
                    <a:pt x="0" y="12"/>
                  </a:moveTo>
                  <a:lnTo>
                    <a:pt x="0" y="12"/>
                  </a:lnTo>
                  <a:lnTo>
                    <a:pt x="2" y="4"/>
                  </a:lnTo>
                  <a:lnTo>
                    <a:pt x="2" y="0"/>
                  </a:lnTo>
                  <a:lnTo>
                    <a:pt x="2" y="0"/>
                  </a:lnTo>
                  <a:lnTo>
                    <a:pt x="1" y="6"/>
                  </a:lnTo>
                  <a:lnTo>
                    <a:pt x="0"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0" name="Freeform 642"/>
            <p:cNvSpPr/>
            <p:nvPr/>
          </p:nvSpPr>
          <p:spPr bwMode="auto">
            <a:xfrm>
              <a:off x="1912254" y="2885309"/>
              <a:ext cx="12287" cy="36861"/>
            </a:xfrm>
            <a:custGeom>
              <a:avLst/>
              <a:gdLst>
                <a:gd name="T0" fmla="*/ 0 w 2"/>
                <a:gd name="T1" fmla="*/ 12 h 12"/>
                <a:gd name="T2" fmla="*/ 0 w 2"/>
                <a:gd name="T3" fmla="*/ 12 h 12"/>
                <a:gd name="T4" fmla="*/ 2 w 2"/>
                <a:gd name="T5" fmla="*/ 4 h 12"/>
                <a:gd name="T6" fmla="*/ 2 w 2"/>
                <a:gd name="T7" fmla="*/ 0 h 12"/>
                <a:gd name="T8" fmla="*/ 2 w 2"/>
                <a:gd name="T9" fmla="*/ 0 h 12"/>
                <a:gd name="T10" fmla="*/ 1 w 2"/>
                <a:gd name="T11" fmla="*/ 6 h 12"/>
                <a:gd name="T12" fmla="*/ 0 w 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 h="12">
                  <a:moveTo>
                    <a:pt x="0" y="12"/>
                  </a:moveTo>
                  <a:lnTo>
                    <a:pt x="0" y="12"/>
                  </a:lnTo>
                  <a:lnTo>
                    <a:pt x="2" y="4"/>
                  </a:lnTo>
                  <a:lnTo>
                    <a:pt x="2" y="0"/>
                  </a:lnTo>
                  <a:lnTo>
                    <a:pt x="2" y="0"/>
                  </a:lnTo>
                  <a:lnTo>
                    <a:pt x="1" y="6"/>
                  </a:lnTo>
                  <a:lnTo>
                    <a:pt x="0" y="1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1" name="Freeform 643"/>
            <p:cNvSpPr/>
            <p:nvPr/>
          </p:nvSpPr>
          <p:spPr bwMode="auto">
            <a:xfrm>
              <a:off x="1795529" y="3081902"/>
              <a:ext cx="6145" cy="18433"/>
            </a:xfrm>
            <a:custGeom>
              <a:avLst/>
              <a:gdLst>
                <a:gd name="T0" fmla="*/ 0 w 2"/>
                <a:gd name="T1" fmla="*/ 6 h 6"/>
                <a:gd name="T2" fmla="*/ 0 w 2"/>
                <a:gd name="T3" fmla="*/ 6 h 6"/>
                <a:gd name="T4" fmla="*/ 0 w 2"/>
                <a:gd name="T5" fmla="*/ 3 h 6"/>
                <a:gd name="T6" fmla="*/ 2 w 2"/>
                <a:gd name="T7" fmla="*/ 2 h 6"/>
                <a:gd name="T8" fmla="*/ 2 w 2"/>
                <a:gd name="T9" fmla="*/ 2 h 6"/>
                <a:gd name="T10" fmla="*/ 2 w 2"/>
                <a:gd name="T11" fmla="*/ 0 h 6"/>
                <a:gd name="T12" fmla="*/ 0 w 2"/>
                <a:gd name="T13" fmla="*/ 0 h 6"/>
                <a:gd name="T14" fmla="*/ 0 w 2"/>
                <a:gd name="T15" fmla="*/ 0 h 6"/>
                <a:gd name="T16" fmla="*/ 0 w 2"/>
                <a:gd name="T17" fmla="*/ 3 h 6"/>
                <a:gd name="T18" fmla="*/ 0 w 2"/>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6"/>
                  </a:moveTo>
                  <a:lnTo>
                    <a:pt x="0" y="6"/>
                  </a:lnTo>
                  <a:lnTo>
                    <a:pt x="0" y="3"/>
                  </a:lnTo>
                  <a:lnTo>
                    <a:pt x="2" y="2"/>
                  </a:lnTo>
                  <a:lnTo>
                    <a:pt x="2" y="2"/>
                  </a:lnTo>
                  <a:lnTo>
                    <a:pt x="2" y="0"/>
                  </a:lnTo>
                  <a:lnTo>
                    <a:pt x="0" y="0"/>
                  </a:lnTo>
                  <a:lnTo>
                    <a:pt x="0" y="0"/>
                  </a:lnTo>
                  <a:lnTo>
                    <a:pt x="0" y="3"/>
                  </a:lnTo>
                  <a:lnTo>
                    <a:pt x="0"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2" name="Freeform 644"/>
            <p:cNvSpPr/>
            <p:nvPr/>
          </p:nvSpPr>
          <p:spPr bwMode="auto">
            <a:xfrm>
              <a:off x="1795529" y="3081902"/>
              <a:ext cx="6145" cy="18433"/>
            </a:xfrm>
            <a:custGeom>
              <a:avLst/>
              <a:gdLst>
                <a:gd name="T0" fmla="*/ 0 w 2"/>
                <a:gd name="T1" fmla="*/ 6 h 6"/>
                <a:gd name="T2" fmla="*/ 0 w 2"/>
                <a:gd name="T3" fmla="*/ 6 h 6"/>
                <a:gd name="T4" fmla="*/ 0 w 2"/>
                <a:gd name="T5" fmla="*/ 3 h 6"/>
                <a:gd name="T6" fmla="*/ 2 w 2"/>
                <a:gd name="T7" fmla="*/ 2 h 6"/>
                <a:gd name="T8" fmla="*/ 2 w 2"/>
                <a:gd name="T9" fmla="*/ 2 h 6"/>
                <a:gd name="T10" fmla="*/ 2 w 2"/>
                <a:gd name="T11" fmla="*/ 0 h 6"/>
                <a:gd name="T12" fmla="*/ 0 w 2"/>
                <a:gd name="T13" fmla="*/ 0 h 6"/>
                <a:gd name="T14" fmla="*/ 0 w 2"/>
                <a:gd name="T15" fmla="*/ 0 h 6"/>
                <a:gd name="T16" fmla="*/ 0 w 2"/>
                <a:gd name="T17" fmla="*/ 3 h 6"/>
                <a:gd name="T18" fmla="*/ 0 w 2"/>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6"/>
                  </a:moveTo>
                  <a:lnTo>
                    <a:pt x="0" y="6"/>
                  </a:lnTo>
                  <a:lnTo>
                    <a:pt x="0" y="3"/>
                  </a:lnTo>
                  <a:lnTo>
                    <a:pt x="2" y="2"/>
                  </a:lnTo>
                  <a:lnTo>
                    <a:pt x="2" y="2"/>
                  </a:lnTo>
                  <a:lnTo>
                    <a:pt x="2" y="0"/>
                  </a:lnTo>
                  <a:lnTo>
                    <a:pt x="0" y="0"/>
                  </a:lnTo>
                  <a:lnTo>
                    <a:pt x="0" y="0"/>
                  </a:lnTo>
                  <a:lnTo>
                    <a:pt x="0" y="3"/>
                  </a:lnTo>
                  <a:lnTo>
                    <a:pt x="0"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3" name="Freeform 645"/>
            <p:cNvSpPr/>
            <p:nvPr/>
          </p:nvSpPr>
          <p:spPr bwMode="auto">
            <a:xfrm>
              <a:off x="1721807" y="2934457"/>
              <a:ext cx="6145" cy="24574"/>
            </a:xfrm>
            <a:custGeom>
              <a:avLst/>
              <a:gdLst>
                <a:gd name="T0" fmla="*/ 0 w 3"/>
                <a:gd name="T1" fmla="*/ 8 h 8"/>
                <a:gd name="T2" fmla="*/ 0 w 3"/>
                <a:gd name="T3" fmla="*/ 8 h 8"/>
                <a:gd name="T4" fmla="*/ 3 w 3"/>
                <a:gd name="T5" fmla="*/ 1 h 8"/>
                <a:gd name="T6" fmla="*/ 3 w 3"/>
                <a:gd name="T7" fmla="*/ 1 h 8"/>
                <a:gd name="T8" fmla="*/ 3 w 3"/>
                <a:gd name="T9" fmla="*/ 0 h 8"/>
                <a:gd name="T10" fmla="*/ 1 w 3"/>
                <a:gd name="T11" fmla="*/ 1 h 8"/>
                <a:gd name="T12" fmla="*/ 1 w 3"/>
                <a:gd name="T13" fmla="*/ 4 h 8"/>
                <a:gd name="T14" fmla="*/ 1 w 3"/>
                <a:gd name="T15" fmla="*/ 3 h 8"/>
                <a:gd name="T16" fmla="*/ 1 w 3"/>
                <a:gd name="T17" fmla="*/ 3 h 8"/>
                <a:gd name="T18" fmla="*/ 0 w 3"/>
                <a:gd name="T19" fmla="*/ 5 h 8"/>
                <a:gd name="T20" fmla="*/ 0 w 3"/>
                <a:gd name="T21" fmla="*/ 5 h 8"/>
                <a:gd name="T22" fmla="*/ 0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8"/>
                  </a:moveTo>
                  <a:lnTo>
                    <a:pt x="0" y="8"/>
                  </a:lnTo>
                  <a:lnTo>
                    <a:pt x="3" y="1"/>
                  </a:lnTo>
                  <a:lnTo>
                    <a:pt x="3" y="1"/>
                  </a:lnTo>
                  <a:lnTo>
                    <a:pt x="3" y="0"/>
                  </a:lnTo>
                  <a:lnTo>
                    <a:pt x="1" y="1"/>
                  </a:lnTo>
                  <a:lnTo>
                    <a:pt x="1" y="4"/>
                  </a:lnTo>
                  <a:lnTo>
                    <a:pt x="1" y="3"/>
                  </a:lnTo>
                  <a:lnTo>
                    <a:pt x="1" y="3"/>
                  </a:lnTo>
                  <a:lnTo>
                    <a:pt x="0" y="5"/>
                  </a:lnTo>
                  <a:lnTo>
                    <a:pt x="0" y="5"/>
                  </a:lnTo>
                  <a:lnTo>
                    <a:pt x="0"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4" name="Freeform 646"/>
            <p:cNvSpPr/>
            <p:nvPr/>
          </p:nvSpPr>
          <p:spPr bwMode="auto">
            <a:xfrm>
              <a:off x="1721807" y="2934457"/>
              <a:ext cx="6145" cy="24574"/>
            </a:xfrm>
            <a:custGeom>
              <a:avLst/>
              <a:gdLst>
                <a:gd name="T0" fmla="*/ 0 w 3"/>
                <a:gd name="T1" fmla="*/ 8 h 8"/>
                <a:gd name="T2" fmla="*/ 0 w 3"/>
                <a:gd name="T3" fmla="*/ 8 h 8"/>
                <a:gd name="T4" fmla="*/ 3 w 3"/>
                <a:gd name="T5" fmla="*/ 1 h 8"/>
                <a:gd name="T6" fmla="*/ 3 w 3"/>
                <a:gd name="T7" fmla="*/ 1 h 8"/>
                <a:gd name="T8" fmla="*/ 3 w 3"/>
                <a:gd name="T9" fmla="*/ 0 h 8"/>
                <a:gd name="T10" fmla="*/ 1 w 3"/>
                <a:gd name="T11" fmla="*/ 1 h 8"/>
                <a:gd name="T12" fmla="*/ 1 w 3"/>
                <a:gd name="T13" fmla="*/ 4 h 8"/>
                <a:gd name="T14" fmla="*/ 1 w 3"/>
                <a:gd name="T15" fmla="*/ 3 h 8"/>
                <a:gd name="T16" fmla="*/ 1 w 3"/>
                <a:gd name="T17" fmla="*/ 3 h 8"/>
                <a:gd name="T18" fmla="*/ 0 w 3"/>
                <a:gd name="T19" fmla="*/ 5 h 8"/>
                <a:gd name="T20" fmla="*/ 0 w 3"/>
                <a:gd name="T21" fmla="*/ 5 h 8"/>
                <a:gd name="T22" fmla="*/ 0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8"/>
                  </a:moveTo>
                  <a:lnTo>
                    <a:pt x="0" y="8"/>
                  </a:lnTo>
                  <a:lnTo>
                    <a:pt x="3" y="1"/>
                  </a:lnTo>
                  <a:lnTo>
                    <a:pt x="3" y="1"/>
                  </a:lnTo>
                  <a:lnTo>
                    <a:pt x="3" y="0"/>
                  </a:lnTo>
                  <a:lnTo>
                    <a:pt x="1" y="1"/>
                  </a:lnTo>
                  <a:lnTo>
                    <a:pt x="1" y="4"/>
                  </a:lnTo>
                  <a:lnTo>
                    <a:pt x="1" y="3"/>
                  </a:lnTo>
                  <a:lnTo>
                    <a:pt x="1" y="3"/>
                  </a:lnTo>
                  <a:lnTo>
                    <a:pt x="0" y="5"/>
                  </a:lnTo>
                  <a:lnTo>
                    <a:pt x="0" y="5"/>
                  </a:lnTo>
                  <a:lnTo>
                    <a:pt x="0"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5" name="Freeform 647"/>
            <p:cNvSpPr/>
            <p:nvPr/>
          </p:nvSpPr>
          <p:spPr bwMode="auto">
            <a:xfrm>
              <a:off x="1629652" y="3075760"/>
              <a:ext cx="6145" cy="49148"/>
            </a:xfrm>
            <a:custGeom>
              <a:avLst/>
              <a:gdLst>
                <a:gd name="T0" fmla="*/ 0 w 1"/>
                <a:gd name="T1" fmla="*/ 14 h 14"/>
                <a:gd name="T2" fmla="*/ 0 w 1"/>
                <a:gd name="T3" fmla="*/ 14 h 14"/>
                <a:gd name="T4" fmla="*/ 1 w 1"/>
                <a:gd name="T5" fmla="*/ 7 h 14"/>
                <a:gd name="T6" fmla="*/ 1 w 1"/>
                <a:gd name="T7" fmla="*/ 0 h 14"/>
                <a:gd name="T8" fmla="*/ 1 w 1"/>
                <a:gd name="T9" fmla="*/ 0 h 14"/>
                <a:gd name="T10" fmla="*/ 0 w 1"/>
                <a:gd name="T11" fmla="*/ 8 h 14"/>
                <a:gd name="T12" fmla="*/ 0 w 1"/>
                <a:gd name="T13" fmla="*/ 13 h 14"/>
                <a:gd name="T14" fmla="*/ 0 w 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4">
                  <a:moveTo>
                    <a:pt x="0" y="14"/>
                  </a:moveTo>
                  <a:lnTo>
                    <a:pt x="0" y="14"/>
                  </a:lnTo>
                  <a:lnTo>
                    <a:pt x="1" y="7"/>
                  </a:lnTo>
                  <a:lnTo>
                    <a:pt x="1" y="0"/>
                  </a:lnTo>
                  <a:lnTo>
                    <a:pt x="1" y="0"/>
                  </a:lnTo>
                  <a:lnTo>
                    <a:pt x="0" y="8"/>
                  </a:lnTo>
                  <a:lnTo>
                    <a:pt x="0" y="13"/>
                  </a:lnTo>
                  <a:lnTo>
                    <a:pt x="0"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6" name="Freeform 648"/>
            <p:cNvSpPr/>
            <p:nvPr/>
          </p:nvSpPr>
          <p:spPr bwMode="auto">
            <a:xfrm>
              <a:off x="1629652" y="3075760"/>
              <a:ext cx="6145" cy="49148"/>
            </a:xfrm>
            <a:custGeom>
              <a:avLst/>
              <a:gdLst>
                <a:gd name="T0" fmla="*/ 0 w 1"/>
                <a:gd name="T1" fmla="*/ 14 h 14"/>
                <a:gd name="T2" fmla="*/ 0 w 1"/>
                <a:gd name="T3" fmla="*/ 14 h 14"/>
                <a:gd name="T4" fmla="*/ 1 w 1"/>
                <a:gd name="T5" fmla="*/ 7 h 14"/>
                <a:gd name="T6" fmla="*/ 1 w 1"/>
                <a:gd name="T7" fmla="*/ 0 h 14"/>
                <a:gd name="T8" fmla="*/ 1 w 1"/>
                <a:gd name="T9" fmla="*/ 0 h 14"/>
                <a:gd name="T10" fmla="*/ 0 w 1"/>
                <a:gd name="T11" fmla="*/ 8 h 14"/>
                <a:gd name="T12" fmla="*/ 0 w 1"/>
                <a:gd name="T13" fmla="*/ 13 h 14"/>
                <a:gd name="T14" fmla="*/ 0 w 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4">
                  <a:moveTo>
                    <a:pt x="0" y="14"/>
                  </a:moveTo>
                  <a:lnTo>
                    <a:pt x="0" y="14"/>
                  </a:lnTo>
                  <a:lnTo>
                    <a:pt x="1" y="7"/>
                  </a:lnTo>
                  <a:lnTo>
                    <a:pt x="1" y="0"/>
                  </a:lnTo>
                  <a:lnTo>
                    <a:pt x="1" y="0"/>
                  </a:lnTo>
                  <a:lnTo>
                    <a:pt x="0" y="8"/>
                  </a:lnTo>
                  <a:lnTo>
                    <a:pt x="0" y="13"/>
                  </a:lnTo>
                  <a:lnTo>
                    <a:pt x="0" y="1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7" name="Freeform 649"/>
            <p:cNvSpPr/>
            <p:nvPr/>
          </p:nvSpPr>
          <p:spPr bwMode="auto">
            <a:xfrm>
              <a:off x="1727948" y="2799299"/>
              <a:ext cx="18433" cy="67581"/>
            </a:xfrm>
            <a:custGeom>
              <a:avLst/>
              <a:gdLst>
                <a:gd name="T0" fmla="*/ 0 w 7"/>
                <a:gd name="T1" fmla="*/ 21 h 21"/>
                <a:gd name="T2" fmla="*/ 0 w 7"/>
                <a:gd name="T3" fmla="*/ 21 h 21"/>
                <a:gd name="T4" fmla="*/ 3 w 7"/>
                <a:gd name="T5" fmla="*/ 19 h 21"/>
                <a:gd name="T6" fmla="*/ 3 w 7"/>
                <a:gd name="T7" fmla="*/ 19 h 21"/>
                <a:gd name="T8" fmla="*/ 3 w 7"/>
                <a:gd name="T9" fmla="*/ 14 h 21"/>
                <a:gd name="T10" fmla="*/ 3 w 7"/>
                <a:gd name="T11" fmla="*/ 14 h 21"/>
                <a:gd name="T12" fmla="*/ 7 w 7"/>
                <a:gd name="T13" fmla="*/ 9 h 21"/>
                <a:gd name="T14" fmla="*/ 7 w 7"/>
                <a:gd name="T15" fmla="*/ 9 h 21"/>
                <a:gd name="T16" fmla="*/ 7 w 7"/>
                <a:gd name="T17" fmla="*/ 7 h 21"/>
                <a:gd name="T18" fmla="*/ 6 w 7"/>
                <a:gd name="T19" fmla="*/ 7 h 21"/>
                <a:gd name="T20" fmla="*/ 5 w 7"/>
                <a:gd name="T21" fmla="*/ 9 h 21"/>
                <a:gd name="T22" fmla="*/ 5 w 7"/>
                <a:gd name="T23" fmla="*/ 9 h 21"/>
                <a:gd name="T24" fmla="*/ 7 w 7"/>
                <a:gd name="T25" fmla="*/ 3 h 21"/>
                <a:gd name="T26" fmla="*/ 7 w 7"/>
                <a:gd name="T27" fmla="*/ 1 h 21"/>
                <a:gd name="T28" fmla="*/ 7 w 7"/>
                <a:gd name="T29" fmla="*/ 0 h 21"/>
                <a:gd name="T30" fmla="*/ 7 w 7"/>
                <a:gd name="T31" fmla="*/ 0 h 21"/>
                <a:gd name="T32" fmla="*/ 6 w 7"/>
                <a:gd name="T33" fmla="*/ 4 h 21"/>
                <a:gd name="T34" fmla="*/ 5 w 7"/>
                <a:gd name="T35" fmla="*/ 7 h 21"/>
                <a:gd name="T36" fmla="*/ 5 w 7"/>
                <a:gd name="T37" fmla="*/ 7 h 21"/>
                <a:gd name="T38" fmla="*/ 5 w 7"/>
                <a:gd name="T39" fmla="*/ 10 h 21"/>
                <a:gd name="T40" fmla="*/ 3 w 7"/>
                <a:gd name="T41" fmla="*/ 13 h 21"/>
                <a:gd name="T42" fmla="*/ 3 w 7"/>
                <a:gd name="T43" fmla="*/ 13 h 21"/>
                <a:gd name="T44" fmla="*/ 2 w 7"/>
                <a:gd name="T45" fmla="*/ 17 h 21"/>
                <a:gd name="T46" fmla="*/ 0 w 7"/>
                <a:gd name="T4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 h="21">
                  <a:moveTo>
                    <a:pt x="0" y="21"/>
                  </a:moveTo>
                  <a:lnTo>
                    <a:pt x="0" y="21"/>
                  </a:lnTo>
                  <a:lnTo>
                    <a:pt x="3" y="19"/>
                  </a:lnTo>
                  <a:lnTo>
                    <a:pt x="3" y="19"/>
                  </a:lnTo>
                  <a:lnTo>
                    <a:pt x="3" y="14"/>
                  </a:lnTo>
                  <a:lnTo>
                    <a:pt x="3" y="14"/>
                  </a:lnTo>
                  <a:lnTo>
                    <a:pt x="7" y="9"/>
                  </a:lnTo>
                  <a:lnTo>
                    <a:pt x="7" y="9"/>
                  </a:lnTo>
                  <a:lnTo>
                    <a:pt x="7" y="7"/>
                  </a:lnTo>
                  <a:lnTo>
                    <a:pt x="6" y="7"/>
                  </a:lnTo>
                  <a:lnTo>
                    <a:pt x="5" y="9"/>
                  </a:lnTo>
                  <a:lnTo>
                    <a:pt x="5" y="9"/>
                  </a:lnTo>
                  <a:lnTo>
                    <a:pt x="7" y="3"/>
                  </a:lnTo>
                  <a:lnTo>
                    <a:pt x="7" y="1"/>
                  </a:lnTo>
                  <a:lnTo>
                    <a:pt x="7" y="0"/>
                  </a:lnTo>
                  <a:lnTo>
                    <a:pt x="7" y="0"/>
                  </a:lnTo>
                  <a:lnTo>
                    <a:pt x="6" y="4"/>
                  </a:lnTo>
                  <a:lnTo>
                    <a:pt x="5" y="7"/>
                  </a:lnTo>
                  <a:lnTo>
                    <a:pt x="5" y="7"/>
                  </a:lnTo>
                  <a:lnTo>
                    <a:pt x="5" y="10"/>
                  </a:lnTo>
                  <a:lnTo>
                    <a:pt x="3" y="13"/>
                  </a:lnTo>
                  <a:lnTo>
                    <a:pt x="3" y="13"/>
                  </a:lnTo>
                  <a:lnTo>
                    <a:pt x="2" y="17"/>
                  </a:lnTo>
                  <a:lnTo>
                    <a:pt x="0"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8" name="Freeform 650"/>
            <p:cNvSpPr/>
            <p:nvPr/>
          </p:nvSpPr>
          <p:spPr bwMode="auto">
            <a:xfrm>
              <a:off x="1727948" y="2799299"/>
              <a:ext cx="18433" cy="67581"/>
            </a:xfrm>
            <a:custGeom>
              <a:avLst/>
              <a:gdLst>
                <a:gd name="T0" fmla="*/ 0 w 7"/>
                <a:gd name="T1" fmla="*/ 21 h 21"/>
                <a:gd name="T2" fmla="*/ 0 w 7"/>
                <a:gd name="T3" fmla="*/ 21 h 21"/>
                <a:gd name="T4" fmla="*/ 3 w 7"/>
                <a:gd name="T5" fmla="*/ 19 h 21"/>
                <a:gd name="T6" fmla="*/ 3 w 7"/>
                <a:gd name="T7" fmla="*/ 19 h 21"/>
                <a:gd name="T8" fmla="*/ 3 w 7"/>
                <a:gd name="T9" fmla="*/ 14 h 21"/>
                <a:gd name="T10" fmla="*/ 3 w 7"/>
                <a:gd name="T11" fmla="*/ 14 h 21"/>
                <a:gd name="T12" fmla="*/ 7 w 7"/>
                <a:gd name="T13" fmla="*/ 9 h 21"/>
                <a:gd name="T14" fmla="*/ 7 w 7"/>
                <a:gd name="T15" fmla="*/ 9 h 21"/>
                <a:gd name="T16" fmla="*/ 7 w 7"/>
                <a:gd name="T17" fmla="*/ 7 h 21"/>
                <a:gd name="T18" fmla="*/ 6 w 7"/>
                <a:gd name="T19" fmla="*/ 7 h 21"/>
                <a:gd name="T20" fmla="*/ 5 w 7"/>
                <a:gd name="T21" fmla="*/ 9 h 21"/>
                <a:gd name="T22" fmla="*/ 5 w 7"/>
                <a:gd name="T23" fmla="*/ 9 h 21"/>
                <a:gd name="T24" fmla="*/ 7 w 7"/>
                <a:gd name="T25" fmla="*/ 3 h 21"/>
                <a:gd name="T26" fmla="*/ 7 w 7"/>
                <a:gd name="T27" fmla="*/ 1 h 21"/>
                <a:gd name="T28" fmla="*/ 7 w 7"/>
                <a:gd name="T29" fmla="*/ 0 h 21"/>
                <a:gd name="T30" fmla="*/ 7 w 7"/>
                <a:gd name="T31" fmla="*/ 0 h 21"/>
                <a:gd name="T32" fmla="*/ 6 w 7"/>
                <a:gd name="T33" fmla="*/ 4 h 21"/>
                <a:gd name="T34" fmla="*/ 5 w 7"/>
                <a:gd name="T35" fmla="*/ 7 h 21"/>
                <a:gd name="T36" fmla="*/ 5 w 7"/>
                <a:gd name="T37" fmla="*/ 7 h 21"/>
                <a:gd name="T38" fmla="*/ 5 w 7"/>
                <a:gd name="T39" fmla="*/ 10 h 21"/>
                <a:gd name="T40" fmla="*/ 3 w 7"/>
                <a:gd name="T41" fmla="*/ 13 h 21"/>
                <a:gd name="T42" fmla="*/ 3 w 7"/>
                <a:gd name="T43" fmla="*/ 13 h 21"/>
                <a:gd name="T44" fmla="*/ 2 w 7"/>
                <a:gd name="T45" fmla="*/ 17 h 21"/>
                <a:gd name="T46" fmla="*/ 0 w 7"/>
                <a:gd name="T4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 h="21">
                  <a:moveTo>
                    <a:pt x="0" y="21"/>
                  </a:moveTo>
                  <a:lnTo>
                    <a:pt x="0" y="21"/>
                  </a:lnTo>
                  <a:lnTo>
                    <a:pt x="3" y="19"/>
                  </a:lnTo>
                  <a:lnTo>
                    <a:pt x="3" y="19"/>
                  </a:lnTo>
                  <a:lnTo>
                    <a:pt x="3" y="14"/>
                  </a:lnTo>
                  <a:lnTo>
                    <a:pt x="3" y="14"/>
                  </a:lnTo>
                  <a:lnTo>
                    <a:pt x="7" y="9"/>
                  </a:lnTo>
                  <a:lnTo>
                    <a:pt x="7" y="9"/>
                  </a:lnTo>
                  <a:lnTo>
                    <a:pt x="7" y="7"/>
                  </a:lnTo>
                  <a:lnTo>
                    <a:pt x="6" y="7"/>
                  </a:lnTo>
                  <a:lnTo>
                    <a:pt x="5" y="9"/>
                  </a:lnTo>
                  <a:lnTo>
                    <a:pt x="5" y="9"/>
                  </a:lnTo>
                  <a:lnTo>
                    <a:pt x="7" y="3"/>
                  </a:lnTo>
                  <a:lnTo>
                    <a:pt x="7" y="1"/>
                  </a:lnTo>
                  <a:lnTo>
                    <a:pt x="7" y="0"/>
                  </a:lnTo>
                  <a:lnTo>
                    <a:pt x="7" y="0"/>
                  </a:lnTo>
                  <a:lnTo>
                    <a:pt x="6" y="4"/>
                  </a:lnTo>
                  <a:lnTo>
                    <a:pt x="5" y="7"/>
                  </a:lnTo>
                  <a:lnTo>
                    <a:pt x="5" y="7"/>
                  </a:lnTo>
                  <a:lnTo>
                    <a:pt x="5" y="10"/>
                  </a:lnTo>
                  <a:lnTo>
                    <a:pt x="3" y="13"/>
                  </a:lnTo>
                  <a:lnTo>
                    <a:pt x="3" y="13"/>
                  </a:lnTo>
                  <a:lnTo>
                    <a:pt x="2" y="17"/>
                  </a:lnTo>
                  <a:lnTo>
                    <a:pt x="0" y="2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9" name="Freeform 651"/>
            <p:cNvSpPr/>
            <p:nvPr/>
          </p:nvSpPr>
          <p:spPr bwMode="auto">
            <a:xfrm>
              <a:off x="5352628" y="2916028"/>
              <a:ext cx="6145" cy="24574"/>
            </a:xfrm>
            <a:custGeom>
              <a:avLst/>
              <a:gdLst>
                <a:gd name="T0" fmla="*/ 0 w 2"/>
                <a:gd name="T1" fmla="*/ 0 h 7"/>
                <a:gd name="T2" fmla="*/ 0 w 2"/>
                <a:gd name="T3" fmla="*/ 0 h 7"/>
                <a:gd name="T4" fmla="*/ 0 w 2"/>
                <a:gd name="T5" fmla="*/ 3 h 7"/>
                <a:gd name="T6" fmla="*/ 2 w 2"/>
                <a:gd name="T7" fmla="*/ 7 h 7"/>
                <a:gd name="T8" fmla="*/ 2 w 2"/>
                <a:gd name="T9" fmla="*/ 7 h 7"/>
                <a:gd name="T10" fmla="*/ 2 w 2"/>
                <a:gd name="T11" fmla="*/ 7 h 7"/>
                <a:gd name="T12" fmla="*/ 2 w 2"/>
                <a:gd name="T13" fmla="*/ 4 h 7"/>
                <a:gd name="T14" fmla="*/ 0 w 2"/>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0" y="0"/>
                  </a:moveTo>
                  <a:lnTo>
                    <a:pt x="0" y="0"/>
                  </a:lnTo>
                  <a:lnTo>
                    <a:pt x="0" y="3"/>
                  </a:lnTo>
                  <a:lnTo>
                    <a:pt x="2" y="7"/>
                  </a:lnTo>
                  <a:lnTo>
                    <a:pt x="2" y="7"/>
                  </a:lnTo>
                  <a:lnTo>
                    <a:pt x="2" y="7"/>
                  </a:lnTo>
                  <a:lnTo>
                    <a:pt x="2" y="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0" name="Freeform 652"/>
            <p:cNvSpPr/>
            <p:nvPr/>
          </p:nvSpPr>
          <p:spPr bwMode="auto">
            <a:xfrm>
              <a:off x="5352628" y="2916028"/>
              <a:ext cx="6145" cy="24574"/>
            </a:xfrm>
            <a:custGeom>
              <a:avLst/>
              <a:gdLst>
                <a:gd name="T0" fmla="*/ 0 w 2"/>
                <a:gd name="T1" fmla="*/ 0 h 7"/>
                <a:gd name="T2" fmla="*/ 0 w 2"/>
                <a:gd name="T3" fmla="*/ 0 h 7"/>
                <a:gd name="T4" fmla="*/ 0 w 2"/>
                <a:gd name="T5" fmla="*/ 3 h 7"/>
                <a:gd name="T6" fmla="*/ 2 w 2"/>
                <a:gd name="T7" fmla="*/ 7 h 7"/>
                <a:gd name="T8" fmla="*/ 2 w 2"/>
                <a:gd name="T9" fmla="*/ 7 h 7"/>
                <a:gd name="T10" fmla="*/ 2 w 2"/>
                <a:gd name="T11" fmla="*/ 7 h 7"/>
                <a:gd name="T12" fmla="*/ 2 w 2"/>
                <a:gd name="T13" fmla="*/ 4 h 7"/>
                <a:gd name="T14" fmla="*/ 0 w 2"/>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0" y="0"/>
                  </a:moveTo>
                  <a:lnTo>
                    <a:pt x="0" y="0"/>
                  </a:lnTo>
                  <a:lnTo>
                    <a:pt x="0" y="3"/>
                  </a:lnTo>
                  <a:lnTo>
                    <a:pt x="2" y="7"/>
                  </a:lnTo>
                  <a:lnTo>
                    <a:pt x="2" y="7"/>
                  </a:lnTo>
                  <a:lnTo>
                    <a:pt x="2" y="7"/>
                  </a:lnTo>
                  <a:lnTo>
                    <a:pt x="2" y="4"/>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1" name="Freeform 653"/>
            <p:cNvSpPr/>
            <p:nvPr/>
          </p:nvSpPr>
          <p:spPr bwMode="auto">
            <a:xfrm>
              <a:off x="5407920" y="3272352"/>
              <a:ext cx="6145" cy="43007"/>
            </a:xfrm>
            <a:custGeom>
              <a:avLst/>
              <a:gdLst>
                <a:gd name="T0" fmla="*/ 0 w 1"/>
                <a:gd name="T1" fmla="*/ 0 h 14"/>
                <a:gd name="T2" fmla="*/ 0 w 1"/>
                <a:gd name="T3" fmla="*/ 0 h 14"/>
                <a:gd name="T4" fmla="*/ 0 w 1"/>
                <a:gd name="T5" fmla="*/ 1 h 14"/>
                <a:gd name="T6" fmla="*/ 0 w 1"/>
                <a:gd name="T7" fmla="*/ 5 h 14"/>
                <a:gd name="T8" fmla="*/ 1 w 1"/>
                <a:gd name="T9" fmla="*/ 14 h 14"/>
                <a:gd name="T10" fmla="*/ 1 w 1"/>
                <a:gd name="T11" fmla="*/ 14 h 14"/>
                <a:gd name="T12" fmla="*/ 0 w 1"/>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 h="14">
                  <a:moveTo>
                    <a:pt x="0" y="0"/>
                  </a:moveTo>
                  <a:lnTo>
                    <a:pt x="0" y="0"/>
                  </a:lnTo>
                  <a:lnTo>
                    <a:pt x="0" y="1"/>
                  </a:lnTo>
                  <a:lnTo>
                    <a:pt x="0" y="5"/>
                  </a:lnTo>
                  <a:lnTo>
                    <a:pt x="1" y="14"/>
                  </a:lnTo>
                  <a:lnTo>
                    <a:pt x="1" y="1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2" name="Freeform 654"/>
            <p:cNvSpPr/>
            <p:nvPr/>
          </p:nvSpPr>
          <p:spPr bwMode="auto">
            <a:xfrm>
              <a:off x="5407920" y="3272352"/>
              <a:ext cx="6145" cy="43007"/>
            </a:xfrm>
            <a:custGeom>
              <a:avLst/>
              <a:gdLst>
                <a:gd name="T0" fmla="*/ 0 w 1"/>
                <a:gd name="T1" fmla="*/ 0 h 14"/>
                <a:gd name="T2" fmla="*/ 0 w 1"/>
                <a:gd name="T3" fmla="*/ 0 h 14"/>
                <a:gd name="T4" fmla="*/ 0 w 1"/>
                <a:gd name="T5" fmla="*/ 1 h 14"/>
                <a:gd name="T6" fmla="*/ 0 w 1"/>
                <a:gd name="T7" fmla="*/ 5 h 14"/>
                <a:gd name="T8" fmla="*/ 1 w 1"/>
                <a:gd name="T9" fmla="*/ 14 h 14"/>
                <a:gd name="T10" fmla="*/ 1 w 1"/>
                <a:gd name="T11" fmla="*/ 14 h 14"/>
                <a:gd name="T12" fmla="*/ 0 w 1"/>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 h="14">
                  <a:moveTo>
                    <a:pt x="0" y="0"/>
                  </a:moveTo>
                  <a:lnTo>
                    <a:pt x="0" y="0"/>
                  </a:lnTo>
                  <a:lnTo>
                    <a:pt x="0" y="1"/>
                  </a:lnTo>
                  <a:lnTo>
                    <a:pt x="0" y="5"/>
                  </a:lnTo>
                  <a:lnTo>
                    <a:pt x="1" y="14"/>
                  </a:lnTo>
                  <a:lnTo>
                    <a:pt x="1" y="14"/>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3" name="Freeform 655"/>
            <p:cNvSpPr/>
            <p:nvPr/>
          </p:nvSpPr>
          <p:spPr bwMode="auto">
            <a:xfrm>
              <a:off x="5420208" y="3444371"/>
              <a:ext cx="6145" cy="55293"/>
            </a:xfrm>
            <a:custGeom>
              <a:avLst/>
              <a:gdLst>
                <a:gd name="T0" fmla="*/ 0 w 1"/>
                <a:gd name="T1" fmla="*/ 0 h 17"/>
                <a:gd name="T2" fmla="*/ 0 w 1"/>
                <a:gd name="T3" fmla="*/ 0 h 17"/>
                <a:gd name="T4" fmla="*/ 0 w 1"/>
                <a:gd name="T5" fmla="*/ 10 h 17"/>
                <a:gd name="T6" fmla="*/ 1 w 1"/>
                <a:gd name="T7" fmla="*/ 17 h 17"/>
                <a:gd name="T8" fmla="*/ 1 w 1"/>
                <a:gd name="T9" fmla="*/ 17 h 17"/>
                <a:gd name="T10" fmla="*/ 1 w 1"/>
                <a:gd name="T11" fmla="*/ 7 h 17"/>
                <a:gd name="T12" fmla="*/ 0 w 1"/>
                <a:gd name="T13" fmla="*/ 3 h 17"/>
                <a:gd name="T14" fmla="*/ 0 w 1"/>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7">
                  <a:moveTo>
                    <a:pt x="0" y="0"/>
                  </a:moveTo>
                  <a:lnTo>
                    <a:pt x="0" y="0"/>
                  </a:lnTo>
                  <a:lnTo>
                    <a:pt x="0" y="10"/>
                  </a:lnTo>
                  <a:lnTo>
                    <a:pt x="1" y="17"/>
                  </a:lnTo>
                  <a:lnTo>
                    <a:pt x="1" y="17"/>
                  </a:lnTo>
                  <a:lnTo>
                    <a:pt x="1" y="7"/>
                  </a:lnTo>
                  <a:lnTo>
                    <a:pt x="0" y="3"/>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4" name="Freeform 656"/>
            <p:cNvSpPr/>
            <p:nvPr/>
          </p:nvSpPr>
          <p:spPr bwMode="auto">
            <a:xfrm>
              <a:off x="5420208" y="3444371"/>
              <a:ext cx="6145" cy="55293"/>
            </a:xfrm>
            <a:custGeom>
              <a:avLst/>
              <a:gdLst>
                <a:gd name="T0" fmla="*/ 0 w 1"/>
                <a:gd name="T1" fmla="*/ 0 h 17"/>
                <a:gd name="T2" fmla="*/ 0 w 1"/>
                <a:gd name="T3" fmla="*/ 0 h 17"/>
                <a:gd name="T4" fmla="*/ 0 w 1"/>
                <a:gd name="T5" fmla="*/ 10 h 17"/>
                <a:gd name="T6" fmla="*/ 1 w 1"/>
                <a:gd name="T7" fmla="*/ 17 h 17"/>
                <a:gd name="T8" fmla="*/ 1 w 1"/>
                <a:gd name="T9" fmla="*/ 17 h 17"/>
                <a:gd name="T10" fmla="*/ 1 w 1"/>
                <a:gd name="T11" fmla="*/ 7 h 17"/>
                <a:gd name="T12" fmla="*/ 0 w 1"/>
                <a:gd name="T13" fmla="*/ 3 h 17"/>
                <a:gd name="T14" fmla="*/ 0 w 1"/>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7">
                  <a:moveTo>
                    <a:pt x="0" y="0"/>
                  </a:moveTo>
                  <a:lnTo>
                    <a:pt x="0" y="0"/>
                  </a:lnTo>
                  <a:lnTo>
                    <a:pt x="0" y="10"/>
                  </a:lnTo>
                  <a:lnTo>
                    <a:pt x="1" y="17"/>
                  </a:lnTo>
                  <a:lnTo>
                    <a:pt x="1" y="17"/>
                  </a:lnTo>
                  <a:lnTo>
                    <a:pt x="1" y="7"/>
                  </a:lnTo>
                  <a:lnTo>
                    <a:pt x="0"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5" name="Freeform 657"/>
            <p:cNvSpPr/>
            <p:nvPr/>
          </p:nvSpPr>
          <p:spPr bwMode="auto">
            <a:xfrm>
              <a:off x="5383347" y="3794551"/>
              <a:ext cx="12287" cy="36861"/>
            </a:xfrm>
            <a:custGeom>
              <a:avLst/>
              <a:gdLst>
                <a:gd name="T0" fmla="*/ 3 w 3"/>
                <a:gd name="T1" fmla="*/ 0 h 12"/>
                <a:gd name="T2" fmla="*/ 3 w 3"/>
                <a:gd name="T3" fmla="*/ 0 h 12"/>
                <a:gd name="T4" fmla="*/ 2 w 3"/>
                <a:gd name="T5" fmla="*/ 5 h 12"/>
                <a:gd name="T6" fmla="*/ 0 w 3"/>
                <a:gd name="T7" fmla="*/ 12 h 12"/>
                <a:gd name="T8" fmla="*/ 0 w 3"/>
                <a:gd name="T9" fmla="*/ 12 h 12"/>
                <a:gd name="T10" fmla="*/ 2 w 3"/>
                <a:gd name="T11" fmla="*/ 8 h 12"/>
                <a:gd name="T12" fmla="*/ 3 w 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 h="12">
                  <a:moveTo>
                    <a:pt x="3" y="0"/>
                  </a:moveTo>
                  <a:lnTo>
                    <a:pt x="3" y="0"/>
                  </a:lnTo>
                  <a:lnTo>
                    <a:pt x="2" y="5"/>
                  </a:lnTo>
                  <a:lnTo>
                    <a:pt x="0" y="12"/>
                  </a:lnTo>
                  <a:lnTo>
                    <a:pt x="0" y="12"/>
                  </a:lnTo>
                  <a:lnTo>
                    <a:pt x="2" y="8"/>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6" name="Freeform 658"/>
            <p:cNvSpPr/>
            <p:nvPr/>
          </p:nvSpPr>
          <p:spPr bwMode="auto">
            <a:xfrm>
              <a:off x="5383347" y="3794551"/>
              <a:ext cx="12287" cy="36861"/>
            </a:xfrm>
            <a:custGeom>
              <a:avLst/>
              <a:gdLst>
                <a:gd name="T0" fmla="*/ 3 w 3"/>
                <a:gd name="T1" fmla="*/ 0 h 12"/>
                <a:gd name="T2" fmla="*/ 3 w 3"/>
                <a:gd name="T3" fmla="*/ 0 h 12"/>
                <a:gd name="T4" fmla="*/ 2 w 3"/>
                <a:gd name="T5" fmla="*/ 5 h 12"/>
                <a:gd name="T6" fmla="*/ 0 w 3"/>
                <a:gd name="T7" fmla="*/ 12 h 12"/>
                <a:gd name="T8" fmla="*/ 0 w 3"/>
                <a:gd name="T9" fmla="*/ 12 h 12"/>
                <a:gd name="T10" fmla="*/ 2 w 3"/>
                <a:gd name="T11" fmla="*/ 8 h 12"/>
                <a:gd name="T12" fmla="*/ 3 w 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 h="12">
                  <a:moveTo>
                    <a:pt x="3" y="0"/>
                  </a:moveTo>
                  <a:lnTo>
                    <a:pt x="3" y="0"/>
                  </a:lnTo>
                  <a:lnTo>
                    <a:pt x="2" y="5"/>
                  </a:lnTo>
                  <a:lnTo>
                    <a:pt x="0" y="12"/>
                  </a:lnTo>
                  <a:lnTo>
                    <a:pt x="0" y="12"/>
                  </a:lnTo>
                  <a:lnTo>
                    <a:pt x="2" y="8"/>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7" name="Freeform 659"/>
            <p:cNvSpPr/>
            <p:nvPr/>
          </p:nvSpPr>
          <p:spPr bwMode="auto">
            <a:xfrm>
              <a:off x="5272764" y="4132446"/>
              <a:ext cx="12287" cy="18433"/>
            </a:xfrm>
            <a:custGeom>
              <a:avLst/>
              <a:gdLst>
                <a:gd name="T0" fmla="*/ 0 w 2"/>
                <a:gd name="T1" fmla="*/ 1 h 6"/>
                <a:gd name="T2" fmla="*/ 0 w 2"/>
                <a:gd name="T3" fmla="*/ 1 h 6"/>
                <a:gd name="T4" fmla="*/ 0 w 2"/>
                <a:gd name="T5" fmla="*/ 6 h 6"/>
                <a:gd name="T6" fmla="*/ 0 w 2"/>
                <a:gd name="T7" fmla="*/ 6 h 6"/>
                <a:gd name="T8" fmla="*/ 2 w 2"/>
                <a:gd name="T9" fmla="*/ 0 h 6"/>
                <a:gd name="T10" fmla="*/ 2 w 2"/>
                <a:gd name="T11" fmla="*/ 0 h 6"/>
                <a:gd name="T12" fmla="*/ 1 w 2"/>
                <a:gd name="T13" fmla="*/ 0 h 6"/>
                <a:gd name="T14" fmla="*/ 0 w 2"/>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6">
                  <a:moveTo>
                    <a:pt x="0" y="1"/>
                  </a:moveTo>
                  <a:lnTo>
                    <a:pt x="0" y="1"/>
                  </a:lnTo>
                  <a:lnTo>
                    <a:pt x="0" y="6"/>
                  </a:lnTo>
                  <a:lnTo>
                    <a:pt x="0" y="6"/>
                  </a:lnTo>
                  <a:lnTo>
                    <a:pt x="2" y="0"/>
                  </a:lnTo>
                  <a:lnTo>
                    <a:pt x="2" y="0"/>
                  </a:lnTo>
                  <a:lnTo>
                    <a:pt x="1" y="0"/>
                  </a:lnTo>
                  <a:lnTo>
                    <a:pt x="0"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8" name="Freeform 660"/>
            <p:cNvSpPr/>
            <p:nvPr/>
          </p:nvSpPr>
          <p:spPr bwMode="auto">
            <a:xfrm>
              <a:off x="5272764" y="4132446"/>
              <a:ext cx="12287" cy="18433"/>
            </a:xfrm>
            <a:custGeom>
              <a:avLst/>
              <a:gdLst>
                <a:gd name="T0" fmla="*/ 0 w 2"/>
                <a:gd name="T1" fmla="*/ 1 h 6"/>
                <a:gd name="T2" fmla="*/ 0 w 2"/>
                <a:gd name="T3" fmla="*/ 1 h 6"/>
                <a:gd name="T4" fmla="*/ 0 w 2"/>
                <a:gd name="T5" fmla="*/ 6 h 6"/>
                <a:gd name="T6" fmla="*/ 0 w 2"/>
                <a:gd name="T7" fmla="*/ 6 h 6"/>
                <a:gd name="T8" fmla="*/ 2 w 2"/>
                <a:gd name="T9" fmla="*/ 0 h 6"/>
                <a:gd name="T10" fmla="*/ 2 w 2"/>
                <a:gd name="T11" fmla="*/ 0 h 6"/>
                <a:gd name="T12" fmla="*/ 1 w 2"/>
                <a:gd name="T13" fmla="*/ 0 h 6"/>
                <a:gd name="T14" fmla="*/ 0 w 2"/>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6">
                  <a:moveTo>
                    <a:pt x="0" y="1"/>
                  </a:moveTo>
                  <a:lnTo>
                    <a:pt x="0" y="1"/>
                  </a:lnTo>
                  <a:lnTo>
                    <a:pt x="0" y="6"/>
                  </a:lnTo>
                  <a:lnTo>
                    <a:pt x="0" y="6"/>
                  </a:lnTo>
                  <a:lnTo>
                    <a:pt x="2" y="0"/>
                  </a:lnTo>
                  <a:lnTo>
                    <a:pt x="2" y="0"/>
                  </a:lnTo>
                  <a:lnTo>
                    <a:pt x="1" y="0"/>
                  </a:lnTo>
                  <a:lnTo>
                    <a:pt x="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9" name="Freeform 661"/>
            <p:cNvSpPr/>
            <p:nvPr/>
          </p:nvSpPr>
          <p:spPr bwMode="auto">
            <a:xfrm>
              <a:off x="4289800" y="4746799"/>
              <a:ext cx="55294" cy="36861"/>
            </a:xfrm>
            <a:custGeom>
              <a:avLst/>
              <a:gdLst>
                <a:gd name="T0" fmla="*/ 18 w 18"/>
                <a:gd name="T1" fmla="*/ 0 h 13"/>
                <a:gd name="T2" fmla="*/ 18 w 18"/>
                <a:gd name="T3" fmla="*/ 0 h 13"/>
                <a:gd name="T4" fmla="*/ 14 w 18"/>
                <a:gd name="T5" fmla="*/ 3 h 13"/>
                <a:gd name="T6" fmla="*/ 10 w 18"/>
                <a:gd name="T7" fmla="*/ 7 h 13"/>
                <a:gd name="T8" fmla="*/ 5 w 18"/>
                <a:gd name="T9" fmla="*/ 10 h 13"/>
                <a:gd name="T10" fmla="*/ 0 w 18"/>
                <a:gd name="T11" fmla="*/ 13 h 13"/>
                <a:gd name="T12" fmla="*/ 0 w 18"/>
                <a:gd name="T13" fmla="*/ 13 h 13"/>
                <a:gd name="T14" fmla="*/ 4 w 18"/>
                <a:gd name="T15" fmla="*/ 12 h 13"/>
                <a:gd name="T16" fmla="*/ 8 w 18"/>
                <a:gd name="T17" fmla="*/ 9 h 13"/>
                <a:gd name="T18" fmla="*/ 18 w 18"/>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3">
                  <a:moveTo>
                    <a:pt x="18" y="0"/>
                  </a:moveTo>
                  <a:lnTo>
                    <a:pt x="18" y="0"/>
                  </a:lnTo>
                  <a:lnTo>
                    <a:pt x="14" y="3"/>
                  </a:lnTo>
                  <a:lnTo>
                    <a:pt x="10" y="7"/>
                  </a:lnTo>
                  <a:lnTo>
                    <a:pt x="5" y="10"/>
                  </a:lnTo>
                  <a:lnTo>
                    <a:pt x="0" y="13"/>
                  </a:lnTo>
                  <a:lnTo>
                    <a:pt x="0" y="13"/>
                  </a:lnTo>
                  <a:lnTo>
                    <a:pt x="4" y="12"/>
                  </a:lnTo>
                  <a:lnTo>
                    <a:pt x="8" y="9"/>
                  </a:lnTo>
                  <a:lnTo>
                    <a:pt x="18"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0" name="Freeform 662"/>
            <p:cNvSpPr/>
            <p:nvPr/>
          </p:nvSpPr>
          <p:spPr bwMode="auto">
            <a:xfrm>
              <a:off x="4289800" y="4746799"/>
              <a:ext cx="55294" cy="36861"/>
            </a:xfrm>
            <a:custGeom>
              <a:avLst/>
              <a:gdLst>
                <a:gd name="T0" fmla="*/ 18 w 18"/>
                <a:gd name="T1" fmla="*/ 0 h 13"/>
                <a:gd name="T2" fmla="*/ 18 w 18"/>
                <a:gd name="T3" fmla="*/ 0 h 13"/>
                <a:gd name="T4" fmla="*/ 14 w 18"/>
                <a:gd name="T5" fmla="*/ 3 h 13"/>
                <a:gd name="T6" fmla="*/ 10 w 18"/>
                <a:gd name="T7" fmla="*/ 7 h 13"/>
                <a:gd name="T8" fmla="*/ 5 w 18"/>
                <a:gd name="T9" fmla="*/ 10 h 13"/>
                <a:gd name="T10" fmla="*/ 0 w 18"/>
                <a:gd name="T11" fmla="*/ 13 h 13"/>
                <a:gd name="T12" fmla="*/ 0 w 18"/>
                <a:gd name="T13" fmla="*/ 13 h 13"/>
                <a:gd name="T14" fmla="*/ 4 w 18"/>
                <a:gd name="T15" fmla="*/ 12 h 13"/>
                <a:gd name="T16" fmla="*/ 8 w 18"/>
                <a:gd name="T17" fmla="*/ 9 h 13"/>
                <a:gd name="T18" fmla="*/ 18 w 18"/>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3">
                  <a:moveTo>
                    <a:pt x="18" y="0"/>
                  </a:moveTo>
                  <a:lnTo>
                    <a:pt x="18" y="0"/>
                  </a:lnTo>
                  <a:lnTo>
                    <a:pt x="14" y="3"/>
                  </a:lnTo>
                  <a:lnTo>
                    <a:pt x="10" y="7"/>
                  </a:lnTo>
                  <a:lnTo>
                    <a:pt x="5" y="10"/>
                  </a:lnTo>
                  <a:lnTo>
                    <a:pt x="0" y="13"/>
                  </a:lnTo>
                  <a:lnTo>
                    <a:pt x="0" y="13"/>
                  </a:lnTo>
                  <a:lnTo>
                    <a:pt x="4" y="12"/>
                  </a:lnTo>
                  <a:lnTo>
                    <a:pt x="8" y="9"/>
                  </a:lnTo>
                  <a:lnTo>
                    <a:pt x="18"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1" name="Freeform 663"/>
            <p:cNvSpPr/>
            <p:nvPr/>
          </p:nvSpPr>
          <p:spPr bwMode="auto">
            <a:xfrm>
              <a:off x="4265226" y="4789802"/>
              <a:ext cx="24574" cy="12287"/>
            </a:xfrm>
            <a:custGeom>
              <a:avLst/>
              <a:gdLst>
                <a:gd name="T0" fmla="*/ 9 w 9"/>
                <a:gd name="T1" fmla="*/ 0 h 4"/>
                <a:gd name="T2" fmla="*/ 9 w 9"/>
                <a:gd name="T3" fmla="*/ 0 h 4"/>
                <a:gd name="T4" fmla="*/ 4 w 9"/>
                <a:gd name="T5" fmla="*/ 1 h 4"/>
                <a:gd name="T6" fmla="*/ 0 w 9"/>
                <a:gd name="T7" fmla="*/ 4 h 4"/>
                <a:gd name="T8" fmla="*/ 0 w 9"/>
                <a:gd name="T9" fmla="*/ 4 h 4"/>
                <a:gd name="T10" fmla="*/ 9 w 9"/>
                <a:gd name="T11" fmla="*/ 0 h 4"/>
              </a:gdLst>
              <a:ahLst/>
              <a:cxnLst>
                <a:cxn ang="0">
                  <a:pos x="T0" y="T1"/>
                </a:cxn>
                <a:cxn ang="0">
                  <a:pos x="T2" y="T3"/>
                </a:cxn>
                <a:cxn ang="0">
                  <a:pos x="T4" y="T5"/>
                </a:cxn>
                <a:cxn ang="0">
                  <a:pos x="T6" y="T7"/>
                </a:cxn>
                <a:cxn ang="0">
                  <a:pos x="T8" y="T9"/>
                </a:cxn>
                <a:cxn ang="0">
                  <a:pos x="T10" y="T11"/>
                </a:cxn>
              </a:cxnLst>
              <a:rect l="0" t="0" r="r" b="b"/>
              <a:pathLst>
                <a:path w="9" h="4">
                  <a:moveTo>
                    <a:pt x="9" y="0"/>
                  </a:moveTo>
                  <a:lnTo>
                    <a:pt x="9" y="0"/>
                  </a:lnTo>
                  <a:lnTo>
                    <a:pt x="4" y="1"/>
                  </a:lnTo>
                  <a:lnTo>
                    <a:pt x="0" y="4"/>
                  </a:lnTo>
                  <a:lnTo>
                    <a:pt x="0" y="4"/>
                  </a:lnTo>
                  <a:lnTo>
                    <a:pt x="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2" name="Freeform 664"/>
            <p:cNvSpPr/>
            <p:nvPr/>
          </p:nvSpPr>
          <p:spPr bwMode="auto">
            <a:xfrm>
              <a:off x="4265226" y="4789802"/>
              <a:ext cx="24574" cy="12287"/>
            </a:xfrm>
            <a:custGeom>
              <a:avLst/>
              <a:gdLst>
                <a:gd name="T0" fmla="*/ 9 w 9"/>
                <a:gd name="T1" fmla="*/ 0 h 4"/>
                <a:gd name="T2" fmla="*/ 9 w 9"/>
                <a:gd name="T3" fmla="*/ 0 h 4"/>
                <a:gd name="T4" fmla="*/ 4 w 9"/>
                <a:gd name="T5" fmla="*/ 1 h 4"/>
                <a:gd name="T6" fmla="*/ 0 w 9"/>
                <a:gd name="T7" fmla="*/ 4 h 4"/>
                <a:gd name="T8" fmla="*/ 0 w 9"/>
                <a:gd name="T9" fmla="*/ 4 h 4"/>
                <a:gd name="T10" fmla="*/ 9 w 9"/>
                <a:gd name="T11" fmla="*/ 0 h 4"/>
              </a:gdLst>
              <a:ahLst/>
              <a:cxnLst>
                <a:cxn ang="0">
                  <a:pos x="T0" y="T1"/>
                </a:cxn>
                <a:cxn ang="0">
                  <a:pos x="T2" y="T3"/>
                </a:cxn>
                <a:cxn ang="0">
                  <a:pos x="T4" y="T5"/>
                </a:cxn>
                <a:cxn ang="0">
                  <a:pos x="T6" y="T7"/>
                </a:cxn>
                <a:cxn ang="0">
                  <a:pos x="T8" y="T9"/>
                </a:cxn>
                <a:cxn ang="0">
                  <a:pos x="T10" y="T11"/>
                </a:cxn>
              </a:cxnLst>
              <a:rect l="0" t="0" r="r" b="b"/>
              <a:pathLst>
                <a:path w="9" h="4">
                  <a:moveTo>
                    <a:pt x="9" y="0"/>
                  </a:moveTo>
                  <a:lnTo>
                    <a:pt x="9" y="0"/>
                  </a:lnTo>
                  <a:lnTo>
                    <a:pt x="4" y="1"/>
                  </a:lnTo>
                  <a:lnTo>
                    <a:pt x="0" y="4"/>
                  </a:lnTo>
                  <a:lnTo>
                    <a:pt x="0" y="4"/>
                  </a:lnTo>
                  <a:lnTo>
                    <a:pt x="9"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3" name="Freeform 665"/>
            <p:cNvSpPr/>
            <p:nvPr/>
          </p:nvSpPr>
          <p:spPr bwMode="auto">
            <a:xfrm>
              <a:off x="4904152" y="4697651"/>
              <a:ext cx="49148" cy="55293"/>
            </a:xfrm>
            <a:custGeom>
              <a:avLst/>
              <a:gdLst>
                <a:gd name="T0" fmla="*/ 12 w 17"/>
                <a:gd name="T1" fmla="*/ 3 h 17"/>
                <a:gd name="T2" fmla="*/ 12 w 17"/>
                <a:gd name="T3" fmla="*/ 3 h 17"/>
                <a:gd name="T4" fmla="*/ 12 w 17"/>
                <a:gd name="T5" fmla="*/ 4 h 17"/>
                <a:gd name="T6" fmla="*/ 13 w 17"/>
                <a:gd name="T7" fmla="*/ 4 h 17"/>
                <a:gd name="T8" fmla="*/ 13 w 17"/>
                <a:gd name="T9" fmla="*/ 4 h 17"/>
                <a:gd name="T10" fmla="*/ 8 w 17"/>
                <a:gd name="T11" fmla="*/ 10 h 17"/>
                <a:gd name="T12" fmla="*/ 8 w 17"/>
                <a:gd name="T13" fmla="*/ 10 h 17"/>
                <a:gd name="T14" fmla="*/ 0 w 17"/>
                <a:gd name="T15" fmla="*/ 17 h 17"/>
                <a:gd name="T16" fmla="*/ 0 w 17"/>
                <a:gd name="T17" fmla="*/ 17 h 17"/>
                <a:gd name="T18" fmla="*/ 5 w 17"/>
                <a:gd name="T19" fmla="*/ 14 h 17"/>
                <a:gd name="T20" fmla="*/ 5 w 17"/>
                <a:gd name="T21" fmla="*/ 14 h 17"/>
                <a:gd name="T22" fmla="*/ 9 w 17"/>
                <a:gd name="T23" fmla="*/ 10 h 17"/>
                <a:gd name="T24" fmla="*/ 9 w 17"/>
                <a:gd name="T25" fmla="*/ 10 h 17"/>
                <a:gd name="T26" fmla="*/ 17 w 17"/>
                <a:gd name="T27" fmla="*/ 0 h 17"/>
                <a:gd name="T28" fmla="*/ 17 w 17"/>
                <a:gd name="T29" fmla="*/ 0 h 17"/>
                <a:gd name="T30" fmla="*/ 13 w 17"/>
                <a:gd name="T31" fmla="*/ 3 h 17"/>
                <a:gd name="T32" fmla="*/ 12 w 17"/>
                <a:gd name="T3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12" y="3"/>
                  </a:moveTo>
                  <a:lnTo>
                    <a:pt x="12" y="3"/>
                  </a:lnTo>
                  <a:lnTo>
                    <a:pt x="12" y="4"/>
                  </a:lnTo>
                  <a:lnTo>
                    <a:pt x="13" y="4"/>
                  </a:lnTo>
                  <a:lnTo>
                    <a:pt x="13" y="4"/>
                  </a:lnTo>
                  <a:lnTo>
                    <a:pt x="8" y="10"/>
                  </a:lnTo>
                  <a:lnTo>
                    <a:pt x="8" y="10"/>
                  </a:lnTo>
                  <a:lnTo>
                    <a:pt x="0" y="17"/>
                  </a:lnTo>
                  <a:lnTo>
                    <a:pt x="0" y="17"/>
                  </a:lnTo>
                  <a:lnTo>
                    <a:pt x="5" y="14"/>
                  </a:lnTo>
                  <a:lnTo>
                    <a:pt x="5" y="14"/>
                  </a:lnTo>
                  <a:lnTo>
                    <a:pt x="9" y="10"/>
                  </a:lnTo>
                  <a:lnTo>
                    <a:pt x="9" y="10"/>
                  </a:lnTo>
                  <a:lnTo>
                    <a:pt x="17" y="0"/>
                  </a:lnTo>
                  <a:lnTo>
                    <a:pt x="17" y="0"/>
                  </a:lnTo>
                  <a:lnTo>
                    <a:pt x="13" y="3"/>
                  </a:lnTo>
                  <a:lnTo>
                    <a:pt x="12"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4" name="Freeform 666"/>
            <p:cNvSpPr/>
            <p:nvPr/>
          </p:nvSpPr>
          <p:spPr bwMode="auto">
            <a:xfrm>
              <a:off x="4904152" y="4697651"/>
              <a:ext cx="49148" cy="55293"/>
            </a:xfrm>
            <a:custGeom>
              <a:avLst/>
              <a:gdLst>
                <a:gd name="T0" fmla="*/ 12 w 17"/>
                <a:gd name="T1" fmla="*/ 3 h 17"/>
                <a:gd name="T2" fmla="*/ 12 w 17"/>
                <a:gd name="T3" fmla="*/ 3 h 17"/>
                <a:gd name="T4" fmla="*/ 12 w 17"/>
                <a:gd name="T5" fmla="*/ 4 h 17"/>
                <a:gd name="T6" fmla="*/ 13 w 17"/>
                <a:gd name="T7" fmla="*/ 4 h 17"/>
                <a:gd name="T8" fmla="*/ 13 w 17"/>
                <a:gd name="T9" fmla="*/ 4 h 17"/>
                <a:gd name="T10" fmla="*/ 8 w 17"/>
                <a:gd name="T11" fmla="*/ 10 h 17"/>
                <a:gd name="T12" fmla="*/ 8 w 17"/>
                <a:gd name="T13" fmla="*/ 10 h 17"/>
                <a:gd name="T14" fmla="*/ 0 w 17"/>
                <a:gd name="T15" fmla="*/ 17 h 17"/>
                <a:gd name="T16" fmla="*/ 0 w 17"/>
                <a:gd name="T17" fmla="*/ 17 h 17"/>
                <a:gd name="T18" fmla="*/ 5 w 17"/>
                <a:gd name="T19" fmla="*/ 14 h 17"/>
                <a:gd name="T20" fmla="*/ 5 w 17"/>
                <a:gd name="T21" fmla="*/ 14 h 17"/>
                <a:gd name="T22" fmla="*/ 9 w 17"/>
                <a:gd name="T23" fmla="*/ 10 h 17"/>
                <a:gd name="T24" fmla="*/ 9 w 17"/>
                <a:gd name="T25" fmla="*/ 10 h 17"/>
                <a:gd name="T26" fmla="*/ 17 w 17"/>
                <a:gd name="T27" fmla="*/ 0 h 17"/>
                <a:gd name="T28" fmla="*/ 17 w 17"/>
                <a:gd name="T29" fmla="*/ 0 h 17"/>
                <a:gd name="T30" fmla="*/ 13 w 17"/>
                <a:gd name="T31" fmla="*/ 3 h 17"/>
                <a:gd name="T32" fmla="*/ 12 w 17"/>
                <a:gd name="T3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12" y="3"/>
                  </a:moveTo>
                  <a:lnTo>
                    <a:pt x="12" y="3"/>
                  </a:lnTo>
                  <a:lnTo>
                    <a:pt x="12" y="4"/>
                  </a:lnTo>
                  <a:lnTo>
                    <a:pt x="13" y="4"/>
                  </a:lnTo>
                  <a:lnTo>
                    <a:pt x="13" y="4"/>
                  </a:lnTo>
                  <a:lnTo>
                    <a:pt x="8" y="10"/>
                  </a:lnTo>
                  <a:lnTo>
                    <a:pt x="8" y="10"/>
                  </a:lnTo>
                  <a:lnTo>
                    <a:pt x="0" y="17"/>
                  </a:lnTo>
                  <a:lnTo>
                    <a:pt x="0" y="17"/>
                  </a:lnTo>
                  <a:lnTo>
                    <a:pt x="5" y="14"/>
                  </a:lnTo>
                  <a:lnTo>
                    <a:pt x="5" y="14"/>
                  </a:lnTo>
                  <a:lnTo>
                    <a:pt x="9" y="10"/>
                  </a:lnTo>
                  <a:lnTo>
                    <a:pt x="9" y="10"/>
                  </a:lnTo>
                  <a:lnTo>
                    <a:pt x="17" y="0"/>
                  </a:lnTo>
                  <a:lnTo>
                    <a:pt x="17" y="0"/>
                  </a:lnTo>
                  <a:lnTo>
                    <a:pt x="13" y="3"/>
                  </a:lnTo>
                  <a:lnTo>
                    <a:pt x="12"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5" name="Freeform 667"/>
            <p:cNvSpPr/>
            <p:nvPr/>
          </p:nvSpPr>
          <p:spPr bwMode="auto">
            <a:xfrm>
              <a:off x="4842717" y="4777515"/>
              <a:ext cx="18433" cy="12287"/>
            </a:xfrm>
            <a:custGeom>
              <a:avLst/>
              <a:gdLst>
                <a:gd name="T0" fmla="*/ 1 w 4"/>
                <a:gd name="T1" fmla="*/ 0 h 4"/>
                <a:gd name="T2" fmla="*/ 1 w 4"/>
                <a:gd name="T3" fmla="*/ 0 h 4"/>
                <a:gd name="T4" fmla="*/ 0 w 4"/>
                <a:gd name="T5" fmla="*/ 3 h 4"/>
                <a:gd name="T6" fmla="*/ 0 w 4"/>
                <a:gd name="T7" fmla="*/ 4 h 4"/>
                <a:gd name="T8" fmla="*/ 1 w 4"/>
                <a:gd name="T9" fmla="*/ 3 h 4"/>
                <a:gd name="T10" fmla="*/ 1 w 4"/>
                <a:gd name="T11" fmla="*/ 3 h 4"/>
                <a:gd name="T12" fmla="*/ 4 w 4"/>
                <a:gd name="T13" fmla="*/ 1 h 4"/>
                <a:gd name="T14" fmla="*/ 4 w 4"/>
                <a:gd name="T15" fmla="*/ 0 h 4"/>
                <a:gd name="T16" fmla="*/ 3 w 4"/>
                <a:gd name="T17" fmla="*/ 0 h 4"/>
                <a:gd name="T18" fmla="*/ 1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1" y="0"/>
                  </a:moveTo>
                  <a:lnTo>
                    <a:pt x="1" y="0"/>
                  </a:lnTo>
                  <a:lnTo>
                    <a:pt x="0" y="3"/>
                  </a:lnTo>
                  <a:lnTo>
                    <a:pt x="0" y="4"/>
                  </a:lnTo>
                  <a:lnTo>
                    <a:pt x="1" y="3"/>
                  </a:lnTo>
                  <a:lnTo>
                    <a:pt x="1" y="3"/>
                  </a:lnTo>
                  <a:lnTo>
                    <a:pt x="4" y="1"/>
                  </a:lnTo>
                  <a:lnTo>
                    <a:pt x="4" y="0"/>
                  </a:lnTo>
                  <a:lnTo>
                    <a:pt x="3" y="0"/>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6" name="Freeform 668"/>
            <p:cNvSpPr/>
            <p:nvPr/>
          </p:nvSpPr>
          <p:spPr bwMode="auto">
            <a:xfrm>
              <a:off x="4842717" y="4777515"/>
              <a:ext cx="18433" cy="12287"/>
            </a:xfrm>
            <a:custGeom>
              <a:avLst/>
              <a:gdLst>
                <a:gd name="T0" fmla="*/ 1 w 4"/>
                <a:gd name="T1" fmla="*/ 0 h 4"/>
                <a:gd name="T2" fmla="*/ 1 w 4"/>
                <a:gd name="T3" fmla="*/ 0 h 4"/>
                <a:gd name="T4" fmla="*/ 0 w 4"/>
                <a:gd name="T5" fmla="*/ 3 h 4"/>
                <a:gd name="T6" fmla="*/ 0 w 4"/>
                <a:gd name="T7" fmla="*/ 4 h 4"/>
                <a:gd name="T8" fmla="*/ 1 w 4"/>
                <a:gd name="T9" fmla="*/ 3 h 4"/>
                <a:gd name="T10" fmla="*/ 1 w 4"/>
                <a:gd name="T11" fmla="*/ 3 h 4"/>
                <a:gd name="T12" fmla="*/ 4 w 4"/>
                <a:gd name="T13" fmla="*/ 1 h 4"/>
                <a:gd name="T14" fmla="*/ 4 w 4"/>
                <a:gd name="T15" fmla="*/ 0 h 4"/>
                <a:gd name="T16" fmla="*/ 3 w 4"/>
                <a:gd name="T17" fmla="*/ 0 h 4"/>
                <a:gd name="T18" fmla="*/ 1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1" y="0"/>
                  </a:moveTo>
                  <a:lnTo>
                    <a:pt x="1" y="0"/>
                  </a:lnTo>
                  <a:lnTo>
                    <a:pt x="0" y="3"/>
                  </a:lnTo>
                  <a:lnTo>
                    <a:pt x="0" y="4"/>
                  </a:lnTo>
                  <a:lnTo>
                    <a:pt x="1" y="3"/>
                  </a:lnTo>
                  <a:lnTo>
                    <a:pt x="1" y="3"/>
                  </a:lnTo>
                  <a:lnTo>
                    <a:pt x="4" y="1"/>
                  </a:lnTo>
                  <a:lnTo>
                    <a:pt x="4" y="0"/>
                  </a:lnTo>
                  <a:lnTo>
                    <a:pt x="3"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7" name="Freeform 669"/>
            <p:cNvSpPr/>
            <p:nvPr/>
          </p:nvSpPr>
          <p:spPr bwMode="auto">
            <a:xfrm>
              <a:off x="4867291" y="4771373"/>
              <a:ext cx="18433" cy="18433"/>
            </a:xfrm>
            <a:custGeom>
              <a:avLst/>
              <a:gdLst>
                <a:gd name="T0" fmla="*/ 6 w 6"/>
                <a:gd name="T1" fmla="*/ 1 h 7"/>
                <a:gd name="T2" fmla="*/ 6 w 6"/>
                <a:gd name="T3" fmla="*/ 1 h 7"/>
                <a:gd name="T4" fmla="*/ 4 w 6"/>
                <a:gd name="T5" fmla="*/ 0 h 7"/>
                <a:gd name="T6" fmla="*/ 4 w 6"/>
                <a:gd name="T7" fmla="*/ 0 h 7"/>
                <a:gd name="T8" fmla="*/ 1 w 6"/>
                <a:gd name="T9" fmla="*/ 1 h 7"/>
                <a:gd name="T10" fmla="*/ 1 w 6"/>
                <a:gd name="T11" fmla="*/ 1 h 7"/>
                <a:gd name="T12" fmla="*/ 0 w 6"/>
                <a:gd name="T13" fmla="*/ 7 h 7"/>
                <a:gd name="T14" fmla="*/ 0 w 6"/>
                <a:gd name="T15" fmla="*/ 7 h 7"/>
                <a:gd name="T16" fmla="*/ 1 w 6"/>
                <a:gd name="T17" fmla="*/ 3 h 7"/>
                <a:gd name="T18" fmla="*/ 6 w 6"/>
                <a:gd name="T1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6" y="1"/>
                  </a:moveTo>
                  <a:lnTo>
                    <a:pt x="6" y="1"/>
                  </a:lnTo>
                  <a:lnTo>
                    <a:pt x="4" y="0"/>
                  </a:lnTo>
                  <a:lnTo>
                    <a:pt x="4" y="0"/>
                  </a:lnTo>
                  <a:lnTo>
                    <a:pt x="1" y="1"/>
                  </a:lnTo>
                  <a:lnTo>
                    <a:pt x="1" y="1"/>
                  </a:lnTo>
                  <a:lnTo>
                    <a:pt x="0" y="7"/>
                  </a:lnTo>
                  <a:lnTo>
                    <a:pt x="0" y="7"/>
                  </a:lnTo>
                  <a:lnTo>
                    <a:pt x="1" y="3"/>
                  </a:lnTo>
                  <a:lnTo>
                    <a:pt x="6"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8" name="Freeform 670"/>
            <p:cNvSpPr/>
            <p:nvPr/>
          </p:nvSpPr>
          <p:spPr bwMode="auto">
            <a:xfrm>
              <a:off x="4867291" y="4771373"/>
              <a:ext cx="18433" cy="18433"/>
            </a:xfrm>
            <a:custGeom>
              <a:avLst/>
              <a:gdLst>
                <a:gd name="T0" fmla="*/ 6 w 6"/>
                <a:gd name="T1" fmla="*/ 1 h 7"/>
                <a:gd name="T2" fmla="*/ 6 w 6"/>
                <a:gd name="T3" fmla="*/ 1 h 7"/>
                <a:gd name="T4" fmla="*/ 4 w 6"/>
                <a:gd name="T5" fmla="*/ 0 h 7"/>
                <a:gd name="T6" fmla="*/ 4 w 6"/>
                <a:gd name="T7" fmla="*/ 0 h 7"/>
                <a:gd name="T8" fmla="*/ 1 w 6"/>
                <a:gd name="T9" fmla="*/ 1 h 7"/>
                <a:gd name="T10" fmla="*/ 1 w 6"/>
                <a:gd name="T11" fmla="*/ 1 h 7"/>
                <a:gd name="T12" fmla="*/ 0 w 6"/>
                <a:gd name="T13" fmla="*/ 7 h 7"/>
                <a:gd name="T14" fmla="*/ 0 w 6"/>
                <a:gd name="T15" fmla="*/ 7 h 7"/>
                <a:gd name="T16" fmla="*/ 1 w 6"/>
                <a:gd name="T17" fmla="*/ 3 h 7"/>
                <a:gd name="T18" fmla="*/ 6 w 6"/>
                <a:gd name="T1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6" y="1"/>
                  </a:moveTo>
                  <a:lnTo>
                    <a:pt x="6" y="1"/>
                  </a:lnTo>
                  <a:lnTo>
                    <a:pt x="4" y="0"/>
                  </a:lnTo>
                  <a:lnTo>
                    <a:pt x="4" y="0"/>
                  </a:lnTo>
                  <a:lnTo>
                    <a:pt x="1" y="1"/>
                  </a:lnTo>
                  <a:lnTo>
                    <a:pt x="1" y="1"/>
                  </a:lnTo>
                  <a:lnTo>
                    <a:pt x="0" y="7"/>
                  </a:lnTo>
                  <a:lnTo>
                    <a:pt x="0" y="7"/>
                  </a:lnTo>
                  <a:lnTo>
                    <a:pt x="1" y="3"/>
                  </a:lnTo>
                  <a:lnTo>
                    <a:pt x="6"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7" name="Freeform 709"/>
            <p:cNvSpPr/>
            <p:nvPr/>
          </p:nvSpPr>
          <p:spPr bwMode="auto">
            <a:xfrm>
              <a:off x="2016696" y="4224597"/>
              <a:ext cx="92155" cy="141303"/>
            </a:xfrm>
            <a:custGeom>
              <a:avLst/>
              <a:gdLst>
                <a:gd name="T0" fmla="*/ 24 w 28"/>
                <a:gd name="T1" fmla="*/ 42 h 48"/>
                <a:gd name="T2" fmla="*/ 24 w 28"/>
                <a:gd name="T3" fmla="*/ 42 h 48"/>
                <a:gd name="T4" fmla="*/ 24 w 28"/>
                <a:gd name="T5" fmla="*/ 42 h 48"/>
                <a:gd name="T6" fmla="*/ 23 w 28"/>
                <a:gd name="T7" fmla="*/ 42 h 48"/>
                <a:gd name="T8" fmla="*/ 23 w 28"/>
                <a:gd name="T9" fmla="*/ 42 h 48"/>
                <a:gd name="T10" fmla="*/ 23 w 28"/>
                <a:gd name="T11" fmla="*/ 43 h 48"/>
                <a:gd name="T12" fmla="*/ 23 w 28"/>
                <a:gd name="T13" fmla="*/ 43 h 48"/>
                <a:gd name="T14" fmla="*/ 27 w 28"/>
                <a:gd name="T15" fmla="*/ 48 h 48"/>
                <a:gd name="T16" fmla="*/ 27 w 28"/>
                <a:gd name="T17" fmla="*/ 48 h 48"/>
                <a:gd name="T18" fmla="*/ 26 w 28"/>
                <a:gd name="T19" fmla="*/ 45 h 48"/>
                <a:gd name="T20" fmla="*/ 27 w 28"/>
                <a:gd name="T21" fmla="*/ 45 h 48"/>
                <a:gd name="T22" fmla="*/ 28 w 28"/>
                <a:gd name="T23" fmla="*/ 45 h 48"/>
                <a:gd name="T24" fmla="*/ 26 w 28"/>
                <a:gd name="T25" fmla="*/ 42 h 48"/>
                <a:gd name="T26" fmla="*/ 26 w 28"/>
                <a:gd name="T27" fmla="*/ 42 h 48"/>
                <a:gd name="T28" fmla="*/ 18 w 28"/>
                <a:gd name="T29" fmla="*/ 30 h 48"/>
                <a:gd name="T30" fmla="*/ 18 w 28"/>
                <a:gd name="T31" fmla="*/ 30 h 48"/>
                <a:gd name="T32" fmla="*/ 16 w 28"/>
                <a:gd name="T33" fmla="*/ 25 h 48"/>
                <a:gd name="T34" fmla="*/ 16 w 28"/>
                <a:gd name="T35" fmla="*/ 25 h 48"/>
                <a:gd name="T36" fmla="*/ 14 w 28"/>
                <a:gd name="T37" fmla="*/ 22 h 48"/>
                <a:gd name="T38" fmla="*/ 14 w 28"/>
                <a:gd name="T39" fmla="*/ 22 h 48"/>
                <a:gd name="T40" fmla="*/ 13 w 28"/>
                <a:gd name="T41" fmla="*/ 19 h 48"/>
                <a:gd name="T42" fmla="*/ 13 w 28"/>
                <a:gd name="T43" fmla="*/ 19 h 48"/>
                <a:gd name="T44" fmla="*/ 10 w 28"/>
                <a:gd name="T45" fmla="*/ 15 h 48"/>
                <a:gd name="T46" fmla="*/ 10 w 28"/>
                <a:gd name="T47" fmla="*/ 12 h 48"/>
                <a:gd name="T48" fmla="*/ 10 w 28"/>
                <a:gd name="T49" fmla="*/ 12 h 48"/>
                <a:gd name="T50" fmla="*/ 10 w 28"/>
                <a:gd name="T51" fmla="*/ 12 h 48"/>
                <a:gd name="T52" fmla="*/ 8 w 28"/>
                <a:gd name="T53" fmla="*/ 12 h 48"/>
                <a:gd name="T54" fmla="*/ 8 w 28"/>
                <a:gd name="T55" fmla="*/ 12 h 48"/>
                <a:gd name="T56" fmla="*/ 8 w 28"/>
                <a:gd name="T57" fmla="*/ 12 h 48"/>
                <a:gd name="T58" fmla="*/ 7 w 28"/>
                <a:gd name="T59" fmla="*/ 10 h 48"/>
                <a:gd name="T60" fmla="*/ 8 w 28"/>
                <a:gd name="T61" fmla="*/ 9 h 48"/>
                <a:gd name="T62" fmla="*/ 8 w 28"/>
                <a:gd name="T63" fmla="*/ 9 h 48"/>
                <a:gd name="T64" fmla="*/ 8 w 28"/>
                <a:gd name="T65" fmla="*/ 8 h 48"/>
                <a:gd name="T66" fmla="*/ 8 w 28"/>
                <a:gd name="T67" fmla="*/ 8 h 48"/>
                <a:gd name="T68" fmla="*/ 6 w 28"/>
                <a:gd name="T69" fmla="*/ 5 h 48"/>
                <a:gd name="T70" fmla="*/ 0 w 28"/>
                <a:gd name="T71" fmla="*/ 0 h 48"/>
                <a:gd name="T72" fmla="*/ 0 w 28"/>
                <a:gd name="T73" fmla="*/ 0 h 48"/>
                <a:gd name="T74" fmla="*/ 3 w 28"/>
                <a:gd name="T75" fmla="*/ 6 h 48"/>
                <a:gd name="T76" fmla="*/ 7 w 28"/>
                <a:gd name="T77" fmla="*/ 10 h 48"/>
                <a:gd name="T78" fmla="*/ 7 w 28"/>
                <a:gd name="T79" fmla="*/ 10 h 48"/>
                <a:gd name="T80" fmla="*/ 7 w 28"/>
                <a:gd name="T81" fmla="*/ 13 h 48"/>
                <a:gd name="T82" fmla="*/ 8 w 28"/>
                <a:gd name="T83" fmla="*/ 15 h 48"/>
                <a:gd name="T84" fmla="*/ 11 w 28"/>
                <a:gd name="T85" fmla="*/ 19 h 48"/>
                <a:gd name="T86" fmla="*/ 11 w 28"/>
                <a:gd name="T87" fmla="*/ 19 h 48"/>
                <a:gd name="T88" fmla="*/ 13 w 28"/>
                <a:gd name="T89" fmla="*/ 25 h 48"/>
                <a:gd name="T90" fmla="*/ 16 w 28"/>
                <a:gd name="T91" fmla="*/ 30 h 48"/>
                <a:gd name="T92" fmla="*/ 16 w 28"/>
                <a:gd name="T93" fmla="*/ 30 h 48"/>
                <a:gd name="T94" fmla="*/ 18 w 28"/>
                <a:gd name="T95" fmla="*/ 38 h 48"/>
                <a:gd name="T96" fmla="*/ 18 w 28"/>
                <a:gd name="T97" fmla="*/ 38 h 48"/>
                <a:gd name="T98" fmla="*/ 20 w 28"/>
                <a:gd name="T99" fmla="*/ 39 h 48"/>
                <a:gd name="T100" fmla="*/ 20 w 28"/>
                <a:gd name="T101" fmla="*/ 36 h 48"/>
                <a:gd name="T102" fmla="*/ 17 w 28"/>
                <a:gd name="T103" fmla="*/ 30 h 48"/>
                <a:gd name="T104" fmla="*/ 17 w 28"/>
                <a:gd name="T105" fmla="*/ 30 h 48"/>
                <a:gd name="T106" fmla="*/ 20 w 28"/>
                <a:gd name="T107" fmla="*/ 33 h 48"/>
                <a:gd name="T108" fmla="*/ 21 w 28"/>
                <a:gd name="T109" fmla="*/ 36 h 48"/>
                <a:gd name="T110" fmla="*/ 23 w 28"/>
                <a:gd name="T111" fmla="*/ 39 h 48"/>
                <a:gd name="T112" fmla="*/ 24 w 28"/>
                <a:gd name="T113" fmla="*/ 4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 h="48">
                  <a:moveTo>
                    <a:pt x="24" y="42"/>
                  </a:moveTo>
                  <a:lnTo>
                    <a:pt x="24" y="42"/>
                  </a:lnTo>
                  <a:lnTo>
                    <a:pt x="24" y="42"/>
                  </a:lnTo>
                  <a:lnTo>
                    <a:pt x="23" y="42"/>
                  </a:lnTo>
                  <a:lnTo>
                    <a:pt x="23" y="42"/>
                  </a:lnTo>
                  <a:lnTo>
                    <a:pt x="23" y="43"/>
                  </a:lnTo>
                  <a:lnTo>
                    <a:pt x="23" y="43"/>
                  </a:lnTo>
                  <a:lnTo>
                    <a:pt x="27" y="48"/>
                  </a:lnTo>
                  <a:lnTo>
                    <a:pt x="27" y="48"/>
                  </a:lnTo>
                  <a:lnTo>
                    <a:pt x="26" y="45"/>
                  </a:lnTo>
                  <a:lnTo>
                    <a:pt x="27" y="45"/>
                  </a:lnTo>
                  <a:lnTo>
                    <a:pt x="28" y="45"/>
                  </a:lnTo>
                  <a:lnTo>
                    <a:pt x="26" y="42"/>
                  </a:lnTo>
                  <a:lnTo>
                    <a:pt x="26" y="42"/>
                  </a:lnTo>
                  <a:lnTo>
                    <a:pt x="18" y="30"/>
                  </a:lnTo>
                  <a:lnTo>
                    <a:pt x="18" y="30"/>
                  </a:lnTo>
                  <a:lnTo>
                    <a:pt x="16" y="25"/>
                  </a:lnTo>
                  <a:lnTo>
                    <a:pt x="16" y="25"/>
                  </a:lnTo>
                  <a:lnTo>
                    <a:pt x="14" y="22"/>
                  </a:lnTo>
                  <a:lnTo>
                    <a:pt x="14" y="22"/>
                  </a:lnTo>
                  <a:lnTo>
                    <a:pt x="13" y="19"/>
                  </a:lnTo>
                  <a:lnTo>
                    <a:pt x="13" y="19"/>
                  </a:lnTo>
                  <a:lnTo>
                    <a:pt x="10" y="15"/>
                  </a:lnTo>
                  <a:lnTo>
                    <a:pt x="10" y="12"/>
                  </a:lnTo>
                  <a:lnTo>
                    <a:pt x="10" y="12"/>
                  </a:lnTo>
                  <a:lnTo>
                    <a:pt x="10" y="12"/>
                  </a:lnTo>
                  <a:lnTo>
                    <a:pt x="8" y="12"/>
                  </a:lnTo>
                  <a:lnTo>
                    <a:pt x="8" y="12"/>
                  </a:lnTo>
                  <a:lnTo>
                    <a:pt x="8" y="12"/>
                  </a:lnTo>
                  <a:lnTo>
                    <a:pt x="7" y="10"/>
                  </a:lnTo>
                  <a:lnTo>
                    <a:pt x="8" y="9"/>
                  </a:lnTo>
                  <a:lnTo>
                    <a:pt x="8" y="9"/>
                  </a:lnTo>
                  <a:lnTo>
                    <a:pt x="8" y="8"/>
                  </a:lnTo>
                  <a:lnTo>
                    <a:pt x="8" y="8"/>
                  </a:lnTo>
                  <a:lnTo>
                    <a:pt x="6" y="5"/>
                  </a:lnTo>
                  <a:lnTo>
                    <a:pt x="0" y="0"/>
                  </a:lnTo>
                  <a:lnTo>
                    <a:pt x="0" y="0"/>
                  </a:lnTo>
                  <a:lnTo>
                    <a:pt x="3" y="6"/>
                  </a:lnTo>
                  <a:lnTo>
                    <a:pt x="7" y="10"/>
                  </a:lnTo>
                  <a:lnTo>
                    <a:pt x="7" y="10"/>
                  </a:lnTo>
                  <a:lnTo>
                    <a:pt x="7" y="13"/>
                  </a:lnTo>
                  <a:lnTo>
                    <a:pt x="8" y="15"/>
                  </a:lnTo>
                  <a:lnTo>
                    <a:pt x="11" y="19"/>
                  </a:lnTo>
                  <a:lnTo>
                    <a:pt x="11" y="19"/>
                  </a:lnTo>
                  <a:lnTo>
                    <a:pt x="13" y="25"/>
                  </a:lnTo>
                  <a:lnTo>
                    <a:pt x="16" y="30"/>
                  </a:lnTo>
                  <a:lnTo>
                    <a:pt x="16" y="30"/>
                  </a:lnTo>
                  <a:lnTo>
                    <a:pt x="18" y="38"/>
                  </a:lnTo>
                  <a:lnTo>
                    <a:pt x="18" y="38"/>
                  </a:lnTo>
                  <a:lnTo>
                    <a:pt x="20" y="39"/>
                  </a:lnTo>
                  <a:lnTo>
                    <a:pt x="20" y="36"/>
                  </a:lnTo>
                  <a:lnTo>
                    <a:pt x="17" y="30"/>
                  </a:lnTo>
                  <a:lnTo>
                    <a:pt x="17" y="30"/>
                  </a:lnTo>
                  <a:lnTo>
                    <a:pt x="20" y="33"/>
                  </a:lnTo>
                  <a:lnTo>
                    <a:pt x="21" y="36"/>
                  </a:lnTo>
                  <a:lnTo>
                    <a:pt x="23" y="39"/>
                  </a:lnTo>
                  <a:lnTo>
                    <a:pt x="24"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8" name="Freeform 710"/>
            <p:cNvSpPr/>
            <p:nvPr/>
          </p:nvSpPr>
          <p:spPr bwMode="auto">
            <a:xfrm>
              <a:off x="2016696" y="4224597"/>
              <a:ext cx="92155" cy="141303"/>
            </a:xfrm>
            <a:custGeom>
              <a:avLst/>
              <a:gdLst>
                <a:gd name="T0" fmla="*/ 24 w 28"/>
                <a:gd name="T1" fmla="*/ 42 h 48"/>
                <a:gd name="T2" fmla="*/ 24 w 28"/>
                <a:gd name="T3" fmla="*/ 42 h 48"/>
                <a:gd name="T4" fmla="*/ 24 w 28"/>
                <a:gd name="T5" fmla="*/ 42 h 48"/>
                <a:gd name="T6" fmla="*/ 23 w 28"/>
                <a:gd name="T7" fmla="*/ 42 h 48"/>
                <a:gd name="T8" fmla="*/ 23 w 28"/>
                <a:gd name="T9" fmla="*/ 42 h 48"/>
                <a:gd name="T10" fmla="*/ 23 w 28"/>
                <a:gd name="T11" fmla="*/ 43 h 48"/>
                <a:gd name="T12" fmla="*/ 23 w 28"/>
                <a:gd name="T13" fmla="*/ 43 h 48"/>
                <a:gd name="T14" fmla="*/ 27 w 28"/>
                <a:gd name="T15" fmla="*/ 48 h 48"/>
                <a:gd name="T16" fmla="*/ 27 w 28"/>
                <a:gd name="T17" fmla="*/ 48 h 48"/>
                <a:gd name="T18" fmla="*/ 26 w 28"/>
                <a:gd name="T19" fmla="*/ 45 h 48"/>
                <a:gd name="T20" fmla="*/ 27 w 28"/>
                <a:gd name="T21" fmla="*/ 45 h 48"/>
                <a:gd name="T22" fmla="*/ 28 w 28"/>
                <a:gd name="T23" fmla="*/ 45 h 48"/>
                <a:gd name="T24" fmla="*/ 26 w 28"/>
                <a:gd name="T25" fmla="*/ 42 h 48"/>
                <a:gd name="T26" fmla="*/ 26 w 28"/>
                <a:gd name="T27" fmla="*/ 42 h 48"/>
                <a:gd name="T28" fmla="*/ 18 w 28"/>
                <a:gd name="T29" fmla="*/ 30 h 48"/>
                <a:gd name="T30" fmla="*/ 18 w 28"/>
                <a:gd name="T31" fmla="*/ 30 h 48"/>
                <a:gd name="T32" fmla="*/ 16 w 28"/>
                <a:gd name="T33" fmla="*/ 25 h 48"/>
                <a:gd name="T34" fmla="*/ 16 w 28"/>
                <a:gd name="T35" fmla="*/ 25 h 48"/>
                <a:gd name="T36" fmla="*/ 14 w 28"/>
                <a:gd name="T37" fmla="*/ 22 h 48"/>
                <a:gd name="T38" fmla="*/ 14 w 28"/>
                <a:gd name="T39" fmla="*/ 22 h 48"/>
                <a:gd name="T40" fmla="*/ 13 w 28"/>
                <a:gd name="T41" fmla="*/ 19 h 48"/>
                <a:gd name="T42" fmla="*/ 13 w 28"/>
                <a:gd name="T43" fmla="*/ 19 h 48"/>
                <a:gd name="T44" fmla="*/ 10 w 28"/>
                <a:gd name="T45" fmla="*/ 15 h 48"/>
                <a:gd name="T46" fmla="*/ 10 w 28"/>
                <a:gd name="T47" fmla="*/ 12 h 48"/>
                <a:gd name="T48" fmla="*/ 10 w 28"/>
                <a:gd name="T49" fmla="*/ 12 h 48"/>
                <a:gd name="T50" fmla="*/ 10 w 28"/>
                <a:gd name="T51" fmla="*/ 12 h 48"/>
                <a:gd name="T52" fmla="*/ 8 w 28"/>
                <a:gd name="T53" fmla="*/ 12 h 48"/>
                <a:gd name="T54" fmla="*/ 8 w 28"/>
                <a:gd name="T55" fmla="*/ 12 h 48"/>
                <a:gd name="T56" fmla="*/ 8 w 28"/>
                <a:gd name="T57" fmla="*/ 12 h 48"/>
                <a:gd name="T58" fmla="*/ 7 w 28"/>
                <a:gd name="T59" fmla="*/ 10 h 48"/>
                <a:gd name="T60" fmla="*/ 8 w 28"/>
                <a:gd name="T61" fmla="*/ 9 h 48"/>
                <a:gd name="T62" fmla="*/ 8 w 28"/>
                <a:gd name="T63" fmla="*/ 9 h 48"/>
                <a:gd name="T64" fmla="*/ 8 w 28"/>
                <a:gd name="T65" fmla="*/ 8 h 48"/>
                <a:gd name="T66" fmla="*/ 8 w 28"/>
                <a:gd name="T67" fmla="*/ 8 h 48"/>
                <a:gd name="T68" fmla="*/ 6 w 28"/>
                <a:gd name="T69" fmla="*/ 5 h 48"/>
                <a:gd name="T70" fmla="*/ 0 w 28"/>
                <a:gd name="T71" fmla="*/ 0 h 48"/>
                <a:gd name="T72" fmla="*/ 0 w 28"/>
                <a:gd name="T73" fmla="*/ 0 h 48"/>
                <a:gd name="T74" fmla="*/ 3 w 28"/>
                <a:gd name="T75" fmla="*/ 6 h 48"/>
                <a:gd name="T76" fmla="*/ 7 w 28"/>
                <a:gd name="T77" fmla="*/ 10 h 48"/>
                <a:gd name="T78" fmla="*/ 7 w 28"/>
                <a:gd name="T79" fmla="*/ 10 h 48"/>
                <a:gd name="T80" fmla="*/ 7 w 28"/>
                <a:gd name="T81" fmla="*/ 13 h 48"/>
                <a:gd name="T82" fmla="*/ 8 w 28"/>
                <a:gd name="T83" fmla="*/ 15 h 48"/>
                <a:gd name="T84" fmla="*/ 11 w 28"/>
                <a:gd name="T85" fmla="*/ 19 h 48"/>
                <a:gd name="T86" fmla="*/ 11 w 28"/>
                <a:gd name="T87" fmla="*/ 19 h 48"/>
                <a:gd name="T88" fmla="*/ 13 w 28"/>
                <a:gd name="T89" fmla="*/ 25 h 48"/>
                <a:gd name="T90" fmla="*/ 16 w 28"/>
                <a:gd name="T91" fmla="*/ 30 h 48"/>
                <a:gd name="T92" fmla="*/ 16 w 28"/>
                <a:gd name="T93" fmla="*/ 30 h 48"/>
                <a:gd name="T94" fmla="*/ 18 w 28"/>
                <a:gd name="T95" fmla="*/ 38 h 48"/>
                <a:gd name="T96" fmla="*/ 18 w 28"/>
                <a:gd name="T97" fmla="*/ 38 h 48"/>
                <a:gd name="T98" fmla="*/ 20 w 28"/>
                <a:gd name="T99" fmla="*/ 39 h 48"/>
                <a:gd name="T100" fmla="*/ 20 w 28"/>
                <a:gd name="T101" fmla="*/ 36 h 48"/>
                <a:gd name="T102" fmla="*/ 17 w 28"/>
                <a:gd name="T103" fmla="*/ 30 h 48"/>
                <a:gd name="T104" fmla="*/ 17 w 28"/>
                <a:gd name="T105" fmla="*/ 30 h 48"/>
                <a:gd name="T106" fmla="*/ 20 w 28"/>
                <a:gd name="T107" fmla="*/ 33 h 48"/>
                <a:gd name="T108" fmla="*/ 21 w 28"/>
                <a:gd name="T109" fmla="*/ 36 h 48"/>
                <a:gd name="T110" fmla="*/ 23 w 28"/>
                <a:gd name="T111" fmla="*/ 39 h 48"/>
                <a:gd name="T112" fmla="*/ 24 w 28"/>
                <a:gd name="T113" fmla="*/ 4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 h="48">
                  <a:moveTo>
                    <a:pt x="24" y="42"/>
                  </a:moveTo>
                  <a:lnTo>
                    <a:pt x="24" y="42"/>
                  </a:lnTo>
                  <a:lnTo>
                    <a:pt x="24" y="42"/>
                  </a:lnTo>
                  <a:lnTo>
                    <a:pt x="23" y="42"/>
                  </a:lnTo>
                  <a:lnTo>
                    <a:pt x="23" y="42"/>
                  </a:lnTo>
                  <a:lnTo>
                    <a:pt x="23" y="43"/>
                  </a:lnTo>
                  <a:lnTo>
                    <a:pt x="23" y="43"/>
                  </a:lnTo>
                  <a:lnTo>
                    <a:pt x="27" y="48"/>
                  </a:lnTo>
                  <a:lnTo>
                    <a:pt x="27" y="48"/>
                  </a:lnTo>
                  <a:lnTo>
                    <a:pt x="26" y="45"/>
                  </a:lnTo>
                  <a:lnTo>
                    <a:pt x="27" y="45"/>
                  </a:lnTo>
                  <a:lnTo>
                    <a:pt x="28" y="45"/>
                  </a:lnTo>
                  <a:lnTo>
                    <a:pt x="26" y="42"/>
                  </a:lnTo>
                  <a:lnTo>
                    <a:pt x="26" y="42"/>
                  </a:lnTo>
                  <a:lnTo>
                    <a:pt x="18" y="30"/>
                  </a:lnTo>
                  <a:lnTo>
                    <a:pt x="18" y="30"/>
                  </a:lnTo>
                  <a:lnTo>
                    <a:pt x="16" y="25"/>
                  </a:lnTo>
                  <a:lnTo>
                    <a:pt x="16" y="25"/>
                  </a:lnTo>
                  <a:lnTo>
                    <a:pt x="14" y="22"/>
                  </a:lnTo>
                  <a:lnTo>
                    <a:pt x="14" y="22"/>
                  </a:lnTo>
                  <a:lnTo>
                    <a:pt x="13" y="19"/>
                  </a:lnTo>
                  <a:lnTo>
                    <a:pt x="13" y="19"/>
                  </a:lnTo>
                  <a:lnTo>
                    <a:pt x="10" y="15"/>
                  </a:lnTo>
                  <a:lnTo>
                    <a:pt x="10" y="12"/>
                  </a:lnTo>
                  <a:lnTo>
                    <a:pt x="10" y="12"/>
                  </a:lnTo>
                  <a:lnTo>
                    <a:pt x="10" y="12"/>
                  </a:lnTo>
                  <a:lnTo>
                    <a:pt x="8" y="12"/>
                  </a:lnTo>
                  <a:lnTo>
                    <a:pt x="8" y="12"/>
                  </a:lnTo>
                  <a:lnTo>
                    <a:pt x="8" y="12"/>
                  </a:lnTo>
                  <a:lnTo>
                    <a:pt x="7" y="10"/>
                  </a:lnTo>
                  <a:lnTo>
                    <a:pt x="8" y="9"/>
                  </a:lnTo>
                  <a:lnTo>
                    <a:pt x="8" y="9"/>
                  </a:lnTo>
                  <a:lnTo>
                    <a:pt x="8" y="8"/>
                  </a:lnTo>
                  <a:lnTo>
                    <a:pt x="8" y="8"/>
                  </a:lnTo>
                  <a:lnTo>
                    <a:pt x="6" y="5"/>
                  </a:lnTo>
                  <a:lnTo>
                    <a:pt x="0" y="0"/>
                  </a:lnTo>
                  <a:lnTo>
                    <a:pt x="0" y="0"/>
                  </a:lnTo>
                  <a:lnTo>
                    <a:pt x="3" y="6"/>
                  </a:lnTo>
                  <a:lnTo>
                    <a:pt x="7" y="10"/>
                  </a:lnTo>
                  <a:lnTo>
                    <a:pt x="7" y="10"/>
                  </a:lnTo>
                  <a:lnTo>
                    <a:pt x="7" y="13"/>
                  </a:lnTo>
                  <a:lnTo>
                    <a:pt x="8" y="15"/>
                  </a:lnTo>
                  <a:lnTo>
                    <a:pt x="11" y="19"/>
                  </a:lnTo>
                  <a:lnTo>
                    <a:pt x="11" y="19"/>
                  </a:lnTo>
                  <a:lnTo>
                    <a:pt x="13" y="25"/>
                  </a:lnTo>
                  <a:lnTo>
                    <a:pt x="16" y="30"/>
                  </a:lnTo>
                  <a:lnTo>
                    <a:pt x="16" y="30"/>
                  </a:lnTo>
                  <a:lnTo>
                    <a:pt x="18" y="38"/>
                  </a:lnTo>
                  <a:lnTo>
                    <a:pt x="18" y="38"/>
                  </a:lnTo>
                  <a:lnTo>
                    <a:pt x="20" y="39"/>
                  </a:lnTo>
                  <a:lnTo>
                    <a:pt x="20" y="36"/>
                  </a:lnTo>
                  <a:lnTo>
                    <a:pt x="17" y="30"/>
                  </a:lnTo>
                  <a:lnTo>
                    <a:pt x="17" y="30"/>
                  </a:lnTo>
                  <a:lnTo>
                    <a:pt x="20" y="33"/>
                  </a:lnTo>
                  <a:lnTo>
                    <a:pt x="21" y="36"/>
                  </a:lnTo>
                  <a:lnTo>
                    <a:pt x="23" y="39"/>
                  </a:lnTo>
                  <a:lnTo>
                    <a:pt x="24" y="4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9" name="Freeform 711"/>
            <p:cNvSpPr/>
            <p:nvPr/>
          </p:nvSpPr>
          <p:spPr bwMode="auto">
            <a:xfrm>
              <a:off x="1985976" y="4040292"/>
              <a:ext cx="18433" cy="49148"/>
            </a:xfrm>
            <a:custGeom>
              <a:avLst/>
              <a:gdLst>
                <a:gd name="T0" fmla="*/ 6 w 6"/>
                <a:gd name="T1" fmla="*/ 16 h 16"/>
                <a:gd name="T2" fmla="*/ 6 w 6"/>
                <a:gd name="T3" fmla="*/ 16 h 16"/>
                <a:gd name="T4" fmla="*/ 3 w 6"/>
                <a:gd name="T5" fmla="*/ 7 h 16"/>
                <a:gd name="T6" fmla="*/ 0 w 6"/>
                <a:gd name="T7" fmla="*/ 0 h 16"/>
                <a:gd name="T8" fmla="*/ 0 w 6"/>
                <a:gd name="T9" fmla="*/ 0 h 16"/>
                <a:gd name="T10" fmla="*/ 0 w 6"/>
                <a:gd name="T11" fmla="*/ 3 h 16"/>
                <a:gd name="T12" fmla="*/ 0 w 6"/>
                <a:gd name="T13" fmla="*/ 4 h 16"/>
                <a:gd name="T14" fmla="*/ 0 w 6"/>
                <a:gd name="T15" fmla="*/ 4 h 16"/>
                <a:gd name="T16" fmla="*/ 1 w 6"/>
                <a:gd name="T17" fmla="*/ 6 h 16"/>
                <a:gd name="T18" fmla="*/ 3 w 6"/>
                <a:gd name="T19" fmla="*/ 8 h 16"/>
                <a:gd name="T20" fmla="*/ 6 w 6"/>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6">
                  <a:moveTo>
                    <a:pt x="6" y="16"/>
                  </a:moveTo>
                  <a:lnTo>
                    <a:pt x="6" y="16"/>
                  </a:lnTo>
                  <a:lnTo>
                    <a:pt x="3" y="7"/>
                  </a:lnTo>
                  <a:lnTo>
                    <a:pt x="0" y="0"/>
                  </a:lnTo>
                  <a:lnTo>
                    <a:pt x="0" y="0"/>
                  </a:lnTo>
                  <a:lnTo>
                    <a:pt x="0" y="3"/>
                  </a:lnTo>
                  <a:lnTo>
                    <a:pt x="0" y="4"/>
                  </a:lnTo>
                  <a:lnTo>
                    <a:pt x="0" y="4"/>
                  </a:lnTo>
                  <a:lnTo>
                    <a:pt x="1" y="6"/>
                  </a:lnTo>
                  <a:lnTo>
                    <a:pt x="3" y="8"/>
                  </a:lnTo>
                  <a:lnTo>
                    <a:pt x="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0" name="Freeform 712"/>
            <p:cNvSpPr/>
            <p:nvPr/>
          </p:nvSpPr>
          <p:spPr bwMode="auto">
            <a:xfrm>
              <a:off x="1985976" y="4040292"/>
              <a:ext cx="18433" cy="49148"/>
            </a:xfrm>
            <a:custGeom>
              <a:avLst/>
              <a:gdLst>
                <a:gd name="T0" fmla="*/ 6 w 6"/>
                <a:gd name="T1" fmla="*/ 16 h 16"/>
                <a:gd name="T2" fmla="*/ 6 w 6"/>
                <a:gd name="T3" fmla="*/ 16 h 16"/>
                <a:gd name="T4" fmla="*/ 3 w 6"/>
                <a:gd name="T5" fmla="*/ 7 h 16"/>
                <a:gd name="T6" fmla="*/ 0 w 6"/>
                <a:gd name="T7" fmla="*/ 0 h 16"/>
                <a:gd name="T8" fmla="*/ 0 w 6"/>
                <a:gd name="T9" fmla="*/ 0 h 16"/>
                <a:gd name="T10" fmla="*/ 0 w 6"/>
                <a:gd name="T11" fmla="*/ 3 h 16"/>
                <a:gd name="T12" fmla="*/ 0 w 6"/>
                <a:gd name="T13" fmla="*/ 4 h 16"/>
                <a:gd name="T14" fmla="*/ 0 w 6"/>
                <a:gd name="T15" fmla="*/ 4 h 16"/>
                <a:gd name="T16" fmla="*/ 1 w 6"/>
                <a:gd name="T17" fmla="*/ 6 h 16"/>
                <a:gd name="T18" fmla="*/ 3 w 6"/>
                <a:gd name="T19" fmla="*/ 8 h 16"/>
                <a:gd name="T20" fmla="*/ 6 w 6"/>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6">
                  <a:moveTo>
                    <a:pt x="6" y="16"/>
                  </a:moveTo>
                  <a:lnTo>
                    <a:pt x="6" y="16"/>
                  </a:lnTo>
                  <a:lnTo>
                    <a:pt x="3" y="7"/>
                  </a:lnTo>
                  <a:lnTo>
                    <a:pt x="0" y="0"/>
                  </a:lnTo>
                  <a:lnTo>
                    <a:pt x="0" y="0"/>
                  </a:lnTo>
                  <a:lnTo>
                    <a:pt x="0" y="3"/>
                  </a:lnTo>
                  <a:lnTo>
                    <a:pt x="0" y="4"/>
                  </a:lnTo>
                  <a:lnTo>
                    <a:pt x="0" y="4"/>
                  </a:lnTo>
                  <a:lnTo>
                    <a:pt x="1" y="6"/>
                  </a:lnTo>
                  <a:lnTo>
                    <a:pt x="3" y="8"/>
                  </a:lnTo>
                  <a:lnTo>
                    <a:pt x="6" y="1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1" name="Freeform 713"/>
            <p:cNvSpPr>
              <a:spLocks noEditPoints="1"/>
            </p:cNvSpPr>
            <p:nvPr/>
          </p:nvSpPr>
          <p:spPr bwMode="auto">
            <a:xfrm>
              <a:off x="1635797" y="1546020"/>
              <a:ext cx="3784411" cy="3815131"/>
            </a:xfrm>
            <a:custGeom>
              <a:avLst/>
              <a:gdLst>
                <a:gd name="T0" fmla="*/ 91 w 1231"/>
                <a:gd name="T1" fmla="*/ 628 h 1242"/>
                <a:gd name="T2" fmla="*/ 179 w 1231"/>
                <a:gd name="T3" fmla="*/ 354 h 1242"/>
                <a:gd name="T4" fmla="*/ 965 w 1231"/>
                <a:gd name="T5" fmla="*/ 260 h 1242"/>
                <a:gd name="T6" fmla="*/ 483 w 1231"/>
                <a:gd name="T7" fmla="*/ 139 h 1242"/>
                <a:gd name="T8" fmla="*/ 204 w 1231"/>
                <a:gd name="T9" fmla="*/ 336 h 1242"/>
                <a:gd name="T10" fmla="*/ 108 w 1231"/>
                <a:gd name="T11" fmla="*/ 630 h 1242"/>
                <a:gd name="T12" fmla="*/ 131 w 1231"/>
                <a:gd name="T13" fmla="*/ 511 h 1242"/>
                <a:gd name="T14" fmla="*/ 378 w 1231"/>
                <a:gd name="T15" fmla="*/ 199 h 1242"/>
                <a:gd name="T16" fmla="*/ 1108 w 1231"/>
                <a:gd name="T17" fmla="*/ 640 h 1242"/>
                <a:gd name="T18" fmla="*/ 824 w 1231"/>
                <a:gd name="T19" fmla="*/ 1081 h 1242"/>
                <a:gd name="T20" fmla="*/ 326 w 1231"/>
                <a:gd name="T21" fmla="*/ 1077 h 1242"/>
                <a:gd name="T22" fmla="*/ 224 w 1231"/>
                <a:gd name="T23" fmla="*/ 1042 h 1242"/>
                <a:gd name="T24" fmla="*/ 117 w 1231"/>
                <a:gd name="T25" fmla="*/ 987 h 1242"/>
                <a:gd name="T26" fmla="*/ 279 w 1231"/>
                <a:gd name="T27" fmla="*/ 1144 h 1242"/>
                <a:gd name="T28" fmla="*/ 529 w 1231"/>
                <a:gd name="T29" fmla="*/ 1236 h 1242"/>
                <a:gd name="T30" fmla="*/ 761 w 1231"/>
                <a:gd name="T31" fmla="*/ 1221 h 1242"/>
                <a:gd name="T32" fmla="*/ 1055 w 1231"/>
                <a:gd name="T33" fmla="*/ 1045 h 1242"/>
                <a:gd name="T34" fmla="*/ 1182 w 1231"/>
                <a:gd name="T35" fmla="*/ 847 h 1242"/>
                <a:gd name="T36" fmla="*/ 1226 w 1231"/>
                <a:gd name="T37" fmla="*/ 573 h 1242"/>
                <a:gd name="T38" fmla="*/ 1166 w 1231"/>
                <a:gd name="T39" fmla="*/ 353 h 1242"/>
                <a:gd name="T40" fmla="*/ 1014 w 1231"/>
                <a:gd name="T41" fmla="*/ 150 h 1242"/>
                <a:gd name="T42" fmla="*/ 917 w 1231"/>
                <a:gd name="T43" fmla="*/ 83 h 1242"/>
                <a:gd name="T44" fmla="*/ 800 w 1231"/>
                <a:gd name="T45" fmla="*/ 36 h 1242"/>
                <a:gd name="T46" fmla="*/ 572 w 1231"/>
                <a:gd name="T47" fmla="*/ 6 h 1242"/>
                <a:gd name="T48" fmla="*/ 411 w 1231"/>
                <a:gd name="T49" fmla="*/ 39 h 1242"/>
                <a:gd name="T50" fmla="*/ 144 w 1231"/>
                <a:gd name="T51" fmla="*/ 210 h 1242"/>
                <a:gd name="T52" fmla="*/ 21 w 1231"/>
                <a:gd name="T53" fmla="*/ 426 h 1242"/>
                <a:gd name="T54" fmla="*/ 95 w 1231"/>
                <a:gd name="T55" fmla="*/ 289 h 1242"/>
                <a:gd name="T56" fmla="*/ 259 w 1231"/>
                <a:gd name="T57" fmla="*/ 135 h 1242"/>
                <a:gd name="T58" fmla="*/ 265 w 1231"/>
                <a:gd name="T59" fmla="*/ 143 h 1242"/>
                <a:gd name="T60" fmla="*/ 111 w 1231"/>
                <a:gd name="T61" fmla="*/ 287 h 1242"/>
                <a:gd name="T62" fmla="*/ 7 w 1231"/>
                <a:gd name="T63" fmla="*/ 564 h 1242"/>
                <a:gd name="T64" fmla="*/ 15 w 1231"/>
                <a:gd name="T65" fmla="*/ 743 h 1242"/>
                <a:gd name="T66" fmla="*/ 25 w 1231"/>
                <a:gd name="T67" fmla="*/ 574 h 1242"/>
                <a:gd name="T68" fmla="*/ 31 w 1231"/>
                <a:gd name="T69" fmla="*/ 634 h 1242"/>
                <a:gd name="T70" fmla="*/ 175 w 1231"/>
                <a:gd name="T71" fmla="*/ 260 h 1242"/>
                <a:gd name="T72" fmla="*/ 421 w 1231"/>
                <a:gd name="T73" fmla="*/ 93 h 1242"/>
                <a:gd name="T74" fmla="*/ 402 w 1231"/>
                <a:gd name="T75" fmla="*/ 109 h 1242"/>
                <a:gd name="T76" fmla="*/ 205 w 1231"/>
                <a:gd name="T77" fmla="*/ 239 h 1242"/>
                <a:gd name="T78" fmla="*/ 77 w 1231"/>
                <a:gd name="T79" fmla="*/ 471 h 1242"/>
                <a:gd name="T80" fmla="*/ 58 w 1231"/>
                <a:gd name="T81" fmla="*/ 633 h 1242"/>
                <a:gd name="T82" fmla="*/ 74 w 1231"/>
                <a:gd name="T83" fmla="*/ 601 h 1242"/>
                <a:gd name="T84" fmla="*/ 110 w 1231"/>
                <a:gd name="T85" fmla="*/ 805 h 1242"/>
                <a:gd name="T86" fmla="*/ 98 w 1231"/>
                <a:gd name="T87" fmla="*/ 413 h 1242"/>
                <a:gd name="T88" fmla="*/ 84 w 1231"/>
                <a:gd name="T89" fmla="*/ 466 h 1242"/>
                <a:gd name="T90" fmla="*/ 102 w 1231"/>
                <a:gd name="T91" fmla="*/ 420 h 1242"/>
                <a:gd name="T92" fmla="*/ 107 w 1231"/>
                <a:gd name="T93" fmla="*/ 410 h 1242"/>
                <a:gd name="T94" fmla="*/ 72 w 1231"/>
                <a:gd name="T95" fmla="*/ 427 h 1242"/>
                <a:gd name="T96" fmla="*/ 53 w 1231"/>
                <a:gd name="T97" fmla="*/ 411 h 1242"/>
                <a:gd name="T98" fmla="*/ 140 w 1231"/>
                <a:gd name="T99" fmla="*/ 297 h 1242"/>
                <a:gd name="T100" fmla="*/ 92 w 1231"/>
                <a:gd name="T101" fmla="*/ 289 h 1242"/>
                <a:gd name="T102" fmla="*/ 212 w 1231"/>
                <a:gd name="T103" fmla="*/ 184 h 1242"/>
                <a:gd name="T104" fmla="*/ 201 w 1231"/>
                <a:gd name="T105" fmla="*/ 169 h 1242"/>
                <a:gd name="T106" fmla="*/ 526 w 1231"/>
                <a:gd name="T107" fmla="*/ 69 h 1242"/>
                <a:gd name="T108" fmla="*/ 472 w 1231"/>
                <a:gd name="T109" fmla="*/ 43 h 1242"/>
                <a:gd name="T110" fmla="*/ 527 w 1231"/>
                <a:gd name="T111" fmla="*/ 37 h 1242"/>
                <a:gd name="T112" fmla="*/ 834 w 1231"/>
                <a:gd name="T113" fmla="*/ 173 h 1242"/>
                <a:gd name="T114" fmla="*/ 716 w 1231"/>
                <a:gd name="T115" fmla="*/ 50 h 1242"/>
                <a:gd name="T116" fmla="*/ 807 w 1231"/>
                <a:gd name="T117" fmla="*/ 69 h 1242"/>
                <a:gd name="T118" fmla="*/ 1079 w 1231"/>
                <a:gd name="T119" fmla="*/ 417 h 1242"/>
                <a:gd name="T120" fmla="*/ 1088 w 1231"/>
                <a:gd name="T121" fmla="*/ 229 h 1242"/>
                <a:gd name="T122" fmla="*/ 1168 w 1231"/>
                <a:gd name="T123" fmla="*/ 881 h 1242"/>
                <a:gd name="T124" fmla="*/ 423 w 1231"/>
                <a:gd name="T125" fmla="*/ 1141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1" h="1242">
                  <a:moveTo>
                    <a:pt x="111" y="805"/>
                  </a:moveTo>
                  <a:lnTo>
                    <a:pt x="111" y="805"/>
                  </a:lnTo>
                  <a:lnTo>
                    <a:pt x="110" y="802"/>
                  </a:lnTo>
                  <a:lnTo>
                    <a:pt x="110" y="804"/>
                  </a:lnTo>
                  <a:lnTo>
                    <a:pt x="110" y="804"/>
                  </a:lnTo>
                  <a:lnTo>
                    <a:pt x="108" y="800"/>
                  </a:lnTo>
                  <a:lnTo>
                    <a:pt x="108" y="800"/>
                  </a:lnTo>
                  <a:lnTo>
                    <a:pt x="107" y="797"/>
                  </a:lnTo>
                  <a:lnTo>
                    <a:pt x="105" y="795"/>
                  </a:lnTo>
                  <a:lnTo>
                    <a:pt x="105" y="795"/>
                  </a:lnTo>
                  <a:lnTo>
                    <a:pt x="102" y="787"/>
                  </a:lnTo>
                  <a:lnTo>
                    <a:pt x="102" y="787"/>
                  </a:lnTo>
                  <a:lnTo>
                    <a:pt x="98" y="778"/>
                  </a:lnTo>
                  <a:lnTo>
                    <a:pt x="98" y="778"/>
                  </a:lnTo>
                  <a:lnTo>
                    <a:pt x="98" y="772"/>
                  </a:lnTo>
                  <a:lnTo>
                    <a:pt x="97" y="767"/>
                  </a:lnTo>
                  <a:lnTo>
                    <a:pt x="95" y="761"/>
                  </a:lnTo>
                  <a:lnTo>
                    <a:pt x="94" y="755"/>
                  </a:lnTo>
                  <a:lnTo>
                    <a:pt x="94" y="755"/>
                  </a:lnTo>
                  <a:lnTo>
                    <a:pt x="95" y="758"/>
                  </a:lnTo>
                  <a:lnTo>
                    <a:pt x="97" y="761"/>
                  </a:lnTo>
                  <a:lnTo>
                    <a:pt x="97" y="761"/>
                  </a:lnTo>
                  <a:lnTo>
                    <a:pt x="98" y="765"/>
                  </a:lnTo>
                  <a:lnTo>
                    <a:pt x="101" y="768"/>
                  </a:lnTo>
                  <a:lnTo>
                    <a:pt x="101" y="768"/>
                  </a:lnTo>
                  <a:lnTo>
                    <a:pt x="98" y="760"/>
                  </a:lnTo>
                  <a:lnTo>
                    <a:pt x="97" y="753"/>
                  </a:lnTo>
                  <a:lnTo>
                    <a:pt x="97" y="753"/>
                  </a:lnTo>
                  <a:lnTo>
                    <a:pt x="95" y="745"/>
                  </a:lnTo>
                  <a:lnTo>
                    <a:pt x="92" y="738"/>
                  </a:lnTo>
                  <a:lnTo>
                    <a:pt x="92" y="738"/>
                  </a:lnTo>
                  <a:lnTo>
                    <a:pt x="92" y="734"/>
                  </a:lnTo>
                  <a:lnTo>
                    <a:pt x="92" y="731"/>
                  </a:lnTo>
                  <a:lnTo>
                    <a:pt x="91" y="728"/>
                  </a:lnTo>
                  <a:lnTo>
                    <a:pt x="91" y="728"/>
                  </a:lnTo>
                  <a:lnTo>
                    <a:pt x="92" y="727"/>
                  </a:lnTo>
                  <a:lnTo>
                    <a:pt x="92" y="727"/>
                  </a:lnTo>
                  <a:lnTo>
                    <a:pt x="95" y="731"/>
                  </a:lnTo>
                  <a:lnTo>
                    <a:pt x="95" y="731"/>
                  </a:lnTo>
                  <a:lnTo>
                    <a:pt x="95" y="728"/>
                  </a:lnTo>
                  <a:lnTo>
                    <a:pt x="94" y="725"/>
                  </a:lnTo>
                  <a:lnTo>
                    <a:pt x="94" y="725"/>
                  </a:lnTo>
                  <a:lnTo>
                    <a:pt x="94" y="725"/>
                  </a:lnTo>
                  <a:lnTo>
                    <a:pt x="92" y="725"/>
                  </a:lnTo>
                  <a:lnTo>
                    <a:pt x="91" y="724"/>
                  </a:lnTo>
                  <a:lnTo>
                    <a:pt x="91" y="725"/>
                  </a:lnTo>
                  <a:lnTo>
                    <a:pt x="91" y="725"/>
                  </a:lnTo>
                  <a:lnTo>
                    <a:pt x="91" y="721"/>
                  </a:lnTo>
                  <a:lnTo>
                    <a:pt x="90" y="715"/>
                  </a:lnTo>
                  <a:lnTo>
                    <a:pt x="90" y="715"/>
                  </a:lnTo>
                  <a:lnTo>
                    <a:pt x="88" y="710"/>
                  </a:lnTo>
                  <a:lnTo>
                    <a:pt x="88" y="710"/>
                  </a:lnTo>
                  <a:lnTo>
                    <a:pt x="87" y="704"/>
                  </a:lnTo>
                  <a:lnTo>
                    <a:pt x="87" y="704"/>
                  </a:lnTo>
                  <a:lnTo>
                    <a:pt x="90" y="711"/>
                  </a:lnTo>
                  <a:lnTo>
                    <a:pt x="90" y="711"/>
                  </a:lnTo>
                  <a:lnTo>
                    <a:pt x="91" y="715"/>
                  </a:lnTo>
                  <a:lnTo>
                    <a:pt x="91" y="715"/>
                  </a:lnTo>
                  <a:lnTo>
                    <a:pt x="92" y="721"/>
                  </a:lnTo>
                  <a:lnTo>
                    <a:pt x="92" y="721"/>
                  </a:lnTo>
                  <a:lnTo>
                    <a:pt x="94" y="718"/>
                  </a:lnTo>
                  <a:lnTo>
                    <a:pt x="92" y="713"/>
                  </a:lnTo>
                  <a:lnTo>
                    <a:pt x="92" y="713"/>
                  </a:lnTo>
                  <a:lnTo>
                    <a:pt x="90" y="707"/>
                  </a:lnTo>
                  <a:lnTo>
                    <a:pt x="90" y="707"/>
                  </a:lnTo>
                  <a:lnTo>
                    <a:pt x="88" y="701"/>
                  </a:lnTo>
                  <a:lnTo>
                    <a:pt x="88" y="701"/>
                  </a:lnTo>
                  <a:lnTo>
                    <a:pt x="90" y="700"/>
                  </a:lnTo>
                  <a:lnTo>
                    <a:pt x="88" y="697"/>
                  </a:lnTo>
                  <a:lnTo>
                    <a:pt x="88" y="690"/>
                  </a:lnTo>
                  <a:lnTo>
                    <a:pt x="88" y="690"/>
                  </a:lnTo>
                  <a:lnTo>
                    <a:pt x="87" y="690"/>
                  </a:lnTo>
                  <a:lnTo>
                    <a:pt x="87" y="690"/>
                  </a:lnTo>
                  <a:lnTo>
                    <a:pt x="87" y="690"/>
                  </a:lnTo>
                  <a:lnTo>
                    <a:pt x="85" y="687"/>
                  </a:lnTo>
                  <a:lnTo>
                    <a:pt x="85" y="687"/>
                  </a:lnTo>
                  <a:lnTo>
                    <a:pt x="87" y="687"/>
                  </a:lnTo>
                  <a:lnTo>
                    <a:pt x="87" y="685"/>
                  </a:lnTo>
                  <a:lnTo>
                    <a:pt x="87" y="685"/>
                  </a:lnTo>
                  <a:lnTo>
                    <a:pt x="84" y="660"/>
                  </a:lnTo>
                  <a:lnTo>
                    <a:pt x="84" y="660"/>
                  </a:lnTo>
                  <a:lnTo>
                    <a:pt x="84" y="660"/>
                  </a:lnTo>
                  <a:lnTo>
                    <a:pt x="84" y="660"/>
                  </a:lnTo>
                  <a:lnTo>
                    <a:pt x="88" y="680"/>
                  </a:lnTo>
                  <a:lnTo>
                    <a:pt x="88" y="680"/>
                  </a:lnTo>
                  <a:lnTo>
                    <a:pt x="88" y="668"/>
                  </a:lnTo>
                  <a:lnTo>
                    <a:pt x="88" y="658"/>
                  </a:lnTo>
                  <a:lnTo>
                    <a:pt x="88" y="658"/>
                  </a:lnTo>
                  <a:lnTo>
                    <a:pt x="87" y="658"/>
                  </a:lnTo>
                  <a:lnTo>
                    <a:pt x="87" y="660"/>
                  </a:lnTo>
                  <a:lnTo>
                    <a:pt x="87" y="663"/>
                  </a:lnTo>
                  <a:lnTo>
                    <a:pt x="87" y="663"/>
                  </a:lnTo>
                  <a:lnTo>
                    <a:pt x="85" y="657"/>
                  </a:lnTo>
                  <a:lnTo>
                    <a:pt x="85" y="657"/>
                  </a:lnTo>
                  <a:lnTo>
                    <a:pt x="87" y="655"/>
                  </a:lnTo>
                  <a:lnTo>
                    <a:pt x="87" y="654"/>
                  </a:lnTo>
                  <a:lnTo>
                    <a:pt x="88" y="654"/>
                  </a:lnTo>
                  <a:lnTo>
                    <a:pt x="88" y="651"/>
                  </a:lnTo>
                  <a:lnTo>
                    <a:pt x="88" y="651"/>
                  </a:lnTo>
                  <a:lnTo>
                    <a:pt x="87" y="648"/>
                  </a:lnTo>
                  <a:lnTo>
                    <a:pt x="87" y="648"/>
                  </a:lnTo>
                  <a:lnTo>
                    <a:pt x="87" y="651"/>
                  </a:lnTo>
                  <a:lnTo>
                    <a:pt x="87" y="651"/>
                  </a:lnTo>
                  <a:lnTo>
                    <a:pt x="85" y="653"/>
                  </a:lnTo>
                  <a:lnTo>
                    <a:pt x="85" y="654"/>
                  </a:lnTo>
                  <a:lnTo>
                    <a:pt x="85" y="655"/>
                  </a:lnTo>
                  <a:lnTo>
                    <a:pt x="85" y="655"/>
                  </a:lnTo>
                  <a:lnTo>
                    <a:pt x="85" y="657"/>
                  </a:lnTo>
                  <a:lnTo>
                    <a:pt x="84" y="655"/>
                  </a:lnTo>
                  <a:lnTo>
                    <a:pt x="84" y="650"/>
                  </a:lnTo>
                  <a:lnTo>
                    <a:pt x="84" y="650"/>
                  </a:lnTo>
                  <a:lnTo>
                    <a:pt x="84" y="651"/>
                  </a:lnTo>
                  <a:lnTo>
                    <a:pt x="84" y="650"/>
                  </a:lnTo>
                  <a:lnTo>
                    <a:pt x="85" y="647"/>
                  </a:lnTo>
                  <a:lnTo>
                    <a:pt x="85" y="648"/>
                  </a:lnTo>
                  <a:lnTo>
                    <a:pt x="85" y="648"/>
                  </a:lnTo>
                  <a:lnTo>
                    <a:pt x="85" y="644"/>
                  </a:lnTo>
                  <a:lnTo>
                    <a:pt x="84" y="640"/>
                  </a:lnTo>
                  <a:lnTo>
                    <a:pt x="84" y="640"/>
                  </a:lnTo>
                  <a:lnTo>
                    <a:pt x="85" y="640"/>
                  </a:lnTo>
                  <a:lnTo>
                    <a:pt x="85" y="641"/>
                  </a:lnTo>
                  <a:lnTo>
                    <a:pt x="87" y="647"/>
                  </a:lnTo>
                  <a:lnTo>
                    <a:pt x="87" y="647"/>
                  </a:lnTo>
                  <a:lnTo>
                    <a:pt x="87" y="648"/>
                  </a:lnTo>
                  <a:lnTo>
                    <a:pt x="88" y="647"/>
                  </a:lnTo>
                  <a:lnTo>
                    <a:pt x="88" y="647"/>
                  </a:lnTo>
                  <a:lnTo>
                    <a:pt x="90" y="647"/>
                  </a:lnTo>
                  <a:lnTo>
                    <a:pt x="90" y="647"/>
                  </a:lnTo>
                  <a:lnTo>
                    <a:pt x="90" y="641"/>
                  </a:lnTo>
                  <a:lnTo>
                    <a:pt x="90" y="637"/>
                  </a:lnTo>
                  <a:lnTo>
                    <a:pt x="90" y="637"/>
                  </a:lnTo>
                  <a:lnTo>
                    <a:pt x="91" y="638"/>
                  </a:lnTo>
                  <a:lnTo>
                    <a:pt x="92" y="643"/>
                  </a:lnTo>
                  <a:lnTo>
                    <a:pt x="92" y="643"/>
                  </a:lnTo>
                  <a:lnTo>
                    <a:pt x="92" y="640"/>
                  </a:lnTo>
                  <a:lnTo>
                    <a:pt x="92" y="637"/>
                  </a:lnTo>
                  <a:lnTo>
                    <a:pt x="92" y="634"/>
                  </a:lnTo>
                  <a:lnTo>
                    <a:pt x="92" y="631"/>
                  </a:lnTo>
                  <a:lnTo>
                    <a:pt x="92" y="631"/>
                  </a:lnTo>
                  <a:lnTo>
                    <a:pt x="92" y="631"/>
                  </a:lnTo>
                  <a:lnTo>
                    <a:pt x="92" y="634"/>
                  </a:lnTo>
                  <a:lnTo>
                    <a:pt x="91" y="637"/>
                  </a:lnTo>
                  <a:lnTo>
                    <a:pt x="91" y="637"/>
                  </a:lnTo>
                  <a:lnTo>
                    <a:pt x="91" y="633"/>
                  </a:lnTo>
                  <a:lnTo>
                    <a:pt x="91" y="628"/>
                  </a:lnTo>
                  <a:lnTo>
                    <a:pt x="91" y="628"/>
                  </a:lnTo>
                  <a:lnTo>
                    <a:pt x="90" y="631"/>
                  </a:lnTo>
                  <a:lnTo>
                    <a:pt x="90" y="631"/>
                  </a:lnTo>
                  <a:lnTo>
                    <a:pt x="88" y="630"/>
                  </a:lnTo>
                  <a:lnTo>
                    <a:pt x="88" y="630"/>
                  </a:lnTo>
                  <a:lnTo>
                    <a:pt x="87" y="625"/>
                  </a:lnTo>
                  <a:lnTo>
                    <a:pt x="87" y="625"/>
                  </a:lnTo>
                  <a:lnTo>
                    <a:pt x="88" y="624"/>
                  </a:lnTo>
                  <a:lnTo>
                    <a:pt x="88" y="625"/>
                  </a:lnTo>
                  <a:lnTo>
                    <a:pt x="90" y="625"/>
                  </a:lnTo>
                  <a:lnTo>
                    <a:pt x="90" y="624"/>
                  </a:lnTo>
                  <a:lnTo>
                    <a:pt x="90" y="624"/>
                  </a:lnTo>
                  <a:lnTo>
                    <a:pt x="88" y="618"/>
                  </a:lnTo>
                  <a:lnTo>
                    <a:pt x="90" y="608"/>
                  </a:lnTo>
                  <a:lnTo>
                    <a:pt x="90" y="608"/>
                  </a:lnTo>
                  <a:lnTo>
                    <a:pt x="91" y="601"/>
                  </a:lnTo>
                  <a:lnTo>
                    <a:pt x="91" y="598"/>
                  </a:lnTo>
                  <a:lnTo>
                    <a:pt x="92" y="598"/>
                  </a:lnTo>
                  <a:lnTo>
                    <a:pt x="92" y="598"/>
                  </a:lnTo>
                  <a:lnTo>
                    <a:pt x="91" y="594"/>
                  </a:lnTo>
                  <a:lnTo>
                    <a:pt x="91" y="593"/>
                  </a:lnTo>
                  <a:lnTo>
                    <a:pt x="91" y="593"/>
                  </a:lnTo>
                  <a:lnTo>
                    <a:pt x="91" y="593"/>
                  </a:lnTo>
                  <a:lnTo>
                    <a:pt x="91" y="590"/>
                  </a:lnTo>
                  <a:lnTo>
                    <a:pt x="92" y="590"/>
                  </a:lnTo>
                  <a:lnTo>
                    <a:pt x="92" y="588"/>
                  </a:lnTo>
                  <a:lnTo>
                    <a:pt x="94" y="588"/>
                  </a:lnTo>
                  <a:lnTo>
                    <a:pt x="94" y="588"/>
                  </a:lnTo>
                  <a:lnTo>
                    <a:pt x="94" y="596"/>
                  </a:lnTo>
                  <a:lnTo>
                    <a:pt x="94" y="603"/>
                  </a:lnTo>
                  <a:lnTo>
                    <a:pt x="94" y="603"/>
                  </a:lnTo>
                  <a:lnTo>
                    <a:pt x="95" y="594"/>
                  </a:lnTo>
                  <a:lnTo>
                    <a:pt x="95" y="583"/>
                  </a:lnTo>
                  <a:lnTo>
                    <a:pt x="95" y="583"/>
                  </a:lnTo>
                  <a:lnTo>
                    <a:pt x="97" y="581"/>
                  </a:lnTo>
                  <a:lnTo>
                    <a:pt x="97" y="581"/>
                  </a:lnTo>
                  <a:lnTo>
                    <a:pt x="97" y="583"/>
                  </a:lnTo>
                  <a:lnTo>
                    <a:pt x="98" y="581"/>
                  </a:lnTo>
                  <a:lnTo>
                    <a:pt x="98" y="581"/>
                  </a:lnTo>
                  <a:lnTo>
                    <a:pt x="97" y="574"/>
                  </a:lnTo>
                  <a:lnTo>
                    <a:pt x="100" y="566"/>
                  </a:lnTo>
                  <a:lnTo>
                    <a:pt x="100" y="566"/>
                  </a:lnTo>
                  <a:lnTo>
                    <a:pt x="98" y="563"/>
                  </a:lnTo>
                  <a:lnTo>
                    <a:pt x="97" y="563"/>
                  </a:lnTo>
                  <a:lnTo>
                    <a:pt x="97" y="563"/>
                  </a:lnTo>
                  <a:lnTo>
                    <a:pt x="97" y="563"/>
                  </a:lnTo>
                  <a:lnTo>
                    <a:pt x="97" y="561"/>
                  </a:lnTo>
                  <a:lnTo>
                    <a:pt x="97" y="558"/>
                  </a:lnTo>
                  <a:lnTo>
                    <a:pt x="97" y="554"/>
                  </a:lnTo>
                  <a:lnTo>
                    <a:pt x="98" y="551"/>
                  </a:lnTo>
                  <a:lnTo>
                    <a:pt x="98" y="551"/>
                  </a:lnTo>
                  <a:lnTo>
                    <a:pt x="98" y="551"/>
                  </a:lnTo>
                  <a:lnTo>
                    <a:pt x="97" y="551"/>
                  </a:lnTo>
                  <a:lnTo>
                    <a:pt x="98" y="548"/>
                  </a:lnTo>
                  <a:lnTo>
                    <a:pt x="98" y="544"/>
                  </a:lnTo>
                  <a:lnTo>
                    <a:pt x="97" y="543"/>
                  </a:lnTo>
                  <a:lnTo>
                    <a:pt x="97" y="543"/>
                  </a:lnTo>
                  <a:lnTo>
                    <a:pt x="98" y="540"/>
                  </a:lnTo>
                  <a:lnTo>
                    <a:pt x="100" y="541"/>
                  </a:lnTo>
                  <a:lnTo>
                    <a:pt x="100" y="544"/>
                  </a:lnTo>
                  <a:lnTo>
                    <a:pt x="100" y="543"/>
                  </a:lnTo>
                  <a:lnTo>
                    <a:pt x="100" y="543"/>
                  </a:lnTo>
                  <a:lnTo>
                    <a:pt x="100" y="538"/>
                  </a:lnTo>
                  <a:lnTo>
                    <a:pt x="101" y="533"/>
                  </a:lnTo>
                  <a:lnTo>
                    <a:pt x="101" y="533"/>
                  </a:lnTo>
                  <a:lnTo>
                    <a:pt x="102" y="534"/>
                  </a:lnTo>
                  <a:lnTo>
                    <a:pt x="102" y="536"/>
                  </a:lnTo>
                  <a:lnTo>
                    <a:pt x="102" y="536"/>
                  </a:lnTo>
                  <a:lnTo>
                    <a:pt x="101" y="550"/>
                  </a:lnTo>
                  <a:lnTo>
                    <a:pt x="101" y="550"/>
                  </a:lnTo>
                  <a:lnTo>
                    <a:pt x="100" y="557"/>
                  </a:lnTo>
                  <a:lnTo>
                    <a:pt x="100" y="557"/>
                  </a:lnTo>
                  <a:lnTo>
                    <a:pt x="100" y="563"/>
                  </a:lnTo>
                  <a:lnTo>
                    <a:pt x="100" y="563"/>
                  </a:lnTo>
                  <a:lnTo>
                    <a:pt x="101" y="560"/>
                  </a:lnTo>
                  <a:lnTo>
                    <a:pt x="101" y="558"/>
                  </a:lnTo>
                  <a:lnTo>
                    <a:pt x="101" y="556"/>
                  </a:lnTo>
                  <a:lnTo>
                    <a:pt x="101" y="556"/>
                  </a:lnTo>
                  <a:lnTo>
                    <a:pt x="102" y="547"/>
                  </a:lnTo>
                  <a:lnTo>
                    <a:pt x="104" y="537"/>
                  </a:lnTo>
                  <a:lnTo>
                    <a:pt x="104" y="537"/>
                  </a:lnTo>
                  <a:lnTo>
                    <a:pt x="107" y="527"/>
                  </a:lnTo>
                  <a:lnTo>
                    <a:pt x="107" y="527"/>
                  </a:lnTo>
                  <a:lnTo>
                    <a:pt x="108" y="518"/>
                  </a:lnTo>
                  <a:lnTo>
                    <a:pt x="108" y="518"/>
                  </a:lnTo>
                  <a:lnTo>
                    <a:pt x="111" y="507"/>
                  </a:lnTo>
                  <a:lnTo>
                    <a:pt x="111" y="507"/>
                  </a:lnTo>
                  <a:lnTo>
                    <a:pt x="114" y="496"/>
                  </a:lnTo>
                  <a:lnTo>
                    <a:pt x="114" y="496"/>
                  </a:lnTo>
                  <a:lnTo>
                    <a:pt x="118" y="486"/>
                  </a:lnTo>
                  <a:lnTo>
                    <a:pt x="118" y="486"/>
                  </a:lnTo>
                  <a:lnTo>
                    <a:pt x="120" y="481"/>
                  </a:lnTo>
                  <a:lnTo>
                    <a:pt x="121" y="478"/>
                  </a:lnTo>
                  <a:lnTo>
                    <a:pt x="121" y="478"/>
                  </a:lnTo>
                  <a:lnTo>
                    <a:pt x="125" y="468"/>
                  </a:lnTo>
                  <a:lnTo>
                    <a:pt x="125" y="468"/>
                  </a:lnTo>
                  <a:lnTo>
                    <a:pt x="125" y="466"/>
                  </a:lnTo>
                  <a:lnTo>
                    <a:pt x="125" y="461"/>
                  </a:lnTo>
                  <a:lnTo>
                    <a:pt x="128" y="454"/>
                  </a:lnTo>
                  <a:lnTo>
                    <a:pt x="128" y="454"/>
                  </a:lnTo>
                  <a:lnTo>
                    <a:pt x="130" y="456"/>
                  </a:lnTo>
                  <a:lnTo>
                    <a:pt x="130" y="454"/>
                  </a:lnTo>
                  <a:lnTo>
                    <a:pt x="130" y="454"/>
                  </a:lnTo>
                  <a:lnTo>
                    <a:pt x="130" y="453"/>
                  </a:lnTo>
                  <a:lnTo>
                    <a:pt x="131" y="450"/>
                  </a:lnTo>
                  <a:lnTo>
                    <a:pt x="131" y="449"/>
                  </a:lnTo>
                  <a:lnTo>
                    <a:pt x="132" y="447"/>
                  </a:lnTo>
                  <a:lnTo>
                    <a:pt x="132" y="447"/>
                  </a:lnTo>
                  <a:lnTo>
                    <a:pt x="134" y="440"/>
                  </a:lnTo>
                  <a:lnTo>
                    <a:pt x="138" y="433"/>
                  </a:lnTo>
                  <a:lnTo>
                    <a:pt x="141" y="426"/>
                  </a:lnTo>
                  <a:lnTo>
                    <a:pt x="144" y="417"/>
                  </a:lnTo>
                  <a:lnTo>
                    <a:pt x="144" y="417"/>
                  </a:lnTo>
                  <a:lnTo>
                    <a:pt x="144" y="419"/>
                  </a:lnTo>
                  <a:lnTo>
                    <a:pt x="144" y="417"/>
                  </a:lnTo>
                  <a:lnTo>
                    <a:pt x="144" y="413"/>
                  </a:lnTo>
                  <a:lnTo>
                    <a:pt x="144" y="413"/>
                  </a:lnTo>
                  <a:lnTo>
                    <a:pt x="145" y="413"/>
                  </a:lnTo>
                  <a:lnTo>
                    <a:pt x="145" y="414"/>
                  </a:lnTo>
                  <a:lnTo>
                    <a:pt x="144" y="416"/>
                  </a:lnTo>
                  <a:lnTo>
                    <a:pt x="145" y="417"/>
                  </a:lnTo>
                  <a:lnTo>
                    <a:pt x="145" y="417"/>
                  </a:lnTo>
                  <a:lnTo>
                    <a:pt x="147" y="414"/>
                  </a:lnTo>
                  <a:lnTo>
                    <a:pt x="147" y="414"/>
                  </a:lnTo>
                  <a:lnTo>
                    <a:pt x="148" y="411"/>
                  </a:lnTo>
                  <a:lnTo>
                    <a:pt x="148" y="411"/>
                  </a:lnTo>
                  <a:lnTo>
                    <a:pt x="151" y="404"/>
                  </a:lnTo>
                  <a:lnTo>
                    <a:pt x="151" y="404"/>
                  </a:lnTo>
                  <a:lnTo>
                    <a:pt x="157" y="391"/>
                  </a:lnTo>
                  <a:lnTo>
                    <a:pt x="157" y="391"/>
                  </a:lnTo>
                  <a:lnTo>
                    <a:pt x="158" y="391"/>
                  </a:lnTo>
                  <a:lnTo>
                    <a:pt x="161" y="389"/>
                  </a:lnTo>
                  <a:lnTo>
                    <a:pt x="162" y="384"/>
                  </a:lnTo>
                  <a:lnTo>
                    <a:pt x="162" y="381"/>
                  </a:lnTo>
                  <a:lnTo>
                    <a:pt x="162" y="381"/>
                  </a:lnTo>
                  <a:lnTo>
                    <a:pt x="165" y="379"/>
                  </a:lnTo>
                  <a:lnTo>
                    <a:pt x="167" y="377"/>
                  </a:lnTo>
                  <a:lnTo>
                    <a:pt x="167" y="377"/>
                  </a:lnTo>
                  <a:lnTo>
                    <a:pt x="167" y="374"/>
                  </a:lnTo>
                  <a:lnTo>
                    <a:pt x="168" y="370"/>
                  </a:lnTo>
                  <a:lnTo>
                    <a:pt x="168" y="370"/>
                  </a:lnTo>
                  <a:lnTo>
                    <a:pt x="174" y="363"/>
                  </a:lnTo>
                  <a:lnTo>
                    <a:pt x="174" y="363"/>
                  </a:lnTo>
                  <a:lnTo>
                    <a:pt x="179" y="354"/>
                  </a:lnTo>
                  <a:lnTo>
                    <a:pt x="179" y="354"/>
                  </a:lnTo>
                  <a:lnTo>
                    <a:pt x="182" y="349"/>
                  </a:lnTo>
                  <a:lnTo>
                    <a:pt x="182" y="349"/>
                  </a:lnTo>
                  <a:lnTo>
                    <a:pt x="184" y="344"/>
                  </a:lnTo>
                  <a:lnTo>
                    <a:pt x="184" y="344"/>
                  </a:lnTo>
                  <a:lnTo>
                    <a:pt x="189" y="340"/>
                  </a:lnTo>
                  <a:lnTo>
                    <a:pt x="194" y="331"/>
                  </a:lnTo>
                  <a:lnTo>
                    <a:pt x="194" y="331"/>
                  </a:lnTo>
                  <a:lnTo>
                    <a:pt x="197" y="329"/>
                  </a:lnTo>
                  <a:lnTo>
                    <a:pt x="197" y="329"/>
                  </a:lnTo>
                  <a:lnTo>
                    <a:pt x="198" y="324"/>
                  </a:lnTo>
                  <a:lnTo>
                    <a:pt x="198" y="324"/>
                  </a:lnTo>
                  <a:lnTo>
                    <a:pt x="201" y="321"/>
                  </a:lnTo>
                  <a:lnTo>
                    <a:pt x="204" y="320"/>
                  </a:lnTo>
                  <a:lnTo>
                    <a:pt x="204" y="320"/>
                  </a:lnTo>
                  <a:lnTo>
                    <a:pt x="198" y="327"/>
                  </a:lnTo>
                  <a:lnTo>
                    <a:pt x="198" y="327"/>
                  </a:lnTo>
                  <a:lnTo>
                    <a:pt x="201" y="326"/>
                  </a:lnTo>
                  <a:lnTo>
                    <a:pt x="204" y="321"/>
                  </a:lnTo>
                  <a:lnTo>
                    <a:pt x="209" y="311"/>
                  </a:lnTo>
                  <a:lnTo>
                    <a:pt x="209" y="311"/>
                  </a:lnTo>
                  <a:lnTo>
                    <a:pt x="215" y="306"/>
                  </a:lnTo>
                  <a:lnTo>
                    <a:pt x="218" y="303"/>
                  </a:lnTo>
                  <a:lnTo>
                    <a:pt x="219" y="300"/>
                  </a:lnTo>
                  <a:lnTo>
                    <a:pt x="219" y="300"/>
                  </a:lnTo>
                  <a:lnTo>
                    <a:pt x="221" y="299"/>
                  </a:lnTo>
                  <a:lnTo>
                    <a:pt x="224" y="297"/>
                  </a:lnTo>
                  <a:lnTo>
                    <a:pt x="224" y="297"/>
                  </a:lnTo>
                  <a:lnTo>
                    <a:pt x="229" y="289"/>
                  </a:lnTo>
                  <a:lnTo>
                    <a:pt x="229" y="289"/>
                  </a:lnTo>
                  <a:lnTo>
                    <a:pt x="237" y="280"/>
                  </a:lnTo>
                  <a:lnTo>
                    <a:pt x="237" y="280"/>
                  </a:lnTo>
                  <a:lnTo>
                    <a:pt x="242" y="276"/>
                  </a:lnTo>
                  <a:lnTo>
                    <a:pt x="242" y="276"/>
                  </a:lnTo>
                  <a:lnTo>
                    <a:pt x="248" y="269"/>
                  </a:lnTo>
                  <a:lnTo>
                    <a:pt x="248" y="269"/>
                  </a:lnTo>
                  <a:lnTo>
                    <a:pt x="264" y="254"/>
                  </a:lnTo>
                  <a:lnTo>
                    <a:pt x="264" y="254"/>
                  </a:lnTo>
                  <a:lnTo>
                    <a:pt x="286" y="234"/>
                  </a:lnTo>
                  <a:lnTo>
                    <a:pt x="311" y="216"/>
                  </a:lnTo>
                  <a:lnTo>
                    <a:pt x="336" y="200"/>
                  </a:lnTo>
                  <a:lnTo>
                    <a:pt x="362" y="184"/>
                  </a:lnTo>
                  <a:lnTo>
                    <a:pt x="362" y="184"/>
                  </a:lnTo>
                  <a:lnTo>
                    <a:pt x="376" y="177"/>
                  </a:lnTo>
                  <a:lnTo>
                    <a:pt x="389" y="170"/>
                  </a:lnTo>
                  <a:lnTo>
                    <a:pt x="389" y="170"/>
                  </a:lnTo>
                  <a:lnTo>
                    <a:pt x="403" y="164"/>
                  </a:lnTo>
                  <a:lnTo>
                    <a:pt x="418" y="157"/>
                  </a:lnTo>
                  <a:lnTo>
                    <a:pt x="431" y="152"/>
                  </a:lnTo>
                  <a:lnTo>
                    <a:pt x="431" y="152"/>
                  </a:lnTo>
                  <a:lnTo>
                    <a:pt x="445" y="147"/>
                  </a:lnTo>
                  <a:lnTo>
                    <a:pt x="445" y="147"/>
                  </a:lnTo>
                  <a:lnTo>
                    <a:pt x="459" y="143"/>
                  </a:lnTo>
                  <a:lnTo>
                    <a:pt x="475" y="139"/>
                  </a:lnTo>
                  <a:lnTo>
                    <a:pt x="475" y="139"/>
                  </a:lnTo>
                  <a:lnTo>
                    <a:pt x="503" y="130"/>
                  </a:lnTo>
                  <a:lnTo>
                    <a:pt x="533" y="125"/>
                  </a:lnTo>
                  <a:lnTo>
                    <a:pt x="563" y="122"/>
                  </a:lnTo>
                  <a:lnTo>
                    <a:pt x="593" y="119"/>
                  </a:lnTo>
                  <a:lnTo>
                    <a:pt x="607" y="119"/>
                  </a:lnTo>
                  <a:lnTo>
                    <a:pt x="607" y="119"/>
                  </a:lnTo>
                  <a:lnTo>
                    <a:pt x="616" y="119"/>
                  </a:lnTo>
                  <a:lnTo>
                    <a:pt x="623" y="119"/>
                  </a:lnTo>
                  <a:lnTo>
                    <a:pt x="630" y="119"/>
                  </a:lnTo>
                  <a:lnTo>
                    <a:pt x="634" y="119"/>
                  </a:lnTo>
                  <a:lnTo>
                    <a:pt x="639" y="119"/>
                  </a:lnTo>
                  <a:lnTo>
                    <a:pt x="653" y="120"/>
                  </a:lnTo>
                  <a:lnTo>
                    <a:pt x="653" y="120"/>
                  </a:lnTo>
                  <a:lnTo>
                    <a:pt x="669" y="122"/>
                  </a:lnTo>
                  <a:lnTo>
                    <a:pt x="683" y="123"/>
                  </a:lnTo>
                  <a:lnTo>
                    <a:pt x="697" y="126"/>
                  </a:lnTo>
                  <a:lnTo>
                    <a:pt x="706" y="127"/>
                  </a:lnTo>
                  <a:lnTo>
                    <a:pt x="706" y="127"/>
                  </a:lnTo>
                  <a:lnTo>
                    <a:pt x="713" y="129"/>
                  </a:lnTo>
                  <a:lnTo>
                    <a:pt x="713" y="129"/>
                  </a:lnTo>
                  <a:lnTo>
                    <a:pt x="741" y="135"/>
                  </a:lnTo>
                  <a:lnTo>
                    <a:pt x="771" y="143"/>
                  </a:lnTo>
                  <a:lnTo>
                    <a:pt x="800" y="153"/>
                  </a:lnTo>
                  <a:lnTo>
                    <a:pt x="827" y="164"/>
                  </a:lnTo>
                  <a:lnTo>
                    <a:pt x="854" y="177"/>
                  </a:lnTo>
                  <a:lnTo>
                    <a:pt x="880" y="193"/>
                  </a:lnTo>
                  <a:lnTo>
                    <a:pt x="905" y="209"/>
                  </a:lnTo>
                  <a:lnTo>
                    <a:pt x="930" y="227"/>
                  </a:lnTo>
                  <a:lnTo>
                    <a:pt x="930" y="227"/>
                  </a:lnTo>
                  <a:lnTo>
                    <a:pt x="953" y="246"/>
                  </a:lnTo>
                  <a:lnTo>
                    <a:pt x="975" y="266"/>
                  </a:lnTo>
                  <a:lnTo>
                    <a:pt x="995" y="289"/>
                  </a:lnTo>
                  <a:lnTo>
                    <a:pt x="1015" y="311"/>
                  </a:lnTo>
                  <a:lnTo>
                    <a:pt x="1015" y="311"/>
                  </a:lnTo>
                  <a:lnTo>
                    <a:pt x="1034" y="336"/>
                  </a:lnTo>
                  <a:lnTo>
                    <a:pt x="1050" y="361"/>
                  </a:lnTo>
                  <a:lnTo>
                    <a:pt x="1065" y="387"/>
                  </a:lnTo>
                  <a:lnTo>
                    <a:pt x="1078" y="414"/>
                  </a:lnTo>
                  <a:lnTo>
                    <a:pt x="1078" y="414"/>
                  </a:lnTo>
                  <a:lnTo>
                    <a:pt x="1078" y="416"/>
                  </a:lnTo>
                  <a:lnTo>
                    <a:pt x="1078" y="416"/>
                  </a:lnTo>
                  <a:lnTo>
                    <a:pt x="1075" y="414"/>
                  </a:lnTo>
                  <a:lnTo>
                    <a:pt x="1075" y="414"/>
                  </a:lnTo>
                  <a:lnTo>
                    <a:pt x="1070" y="397"/>
                  </a:lnTo>
                  <a:lnTo>
                    <a:pt x="1070" y="397"/>
                  </a:lnTo>
                  <a:lnTo>
                    <a:pt x="1060" y="381"/>
                  </a:lnTo>
                  <a:lnTo>
                    <a:pt x="1058" y="377"/>
                  </a:lnTo>
                  <a:lnTo>
                    <a:pt x="1057" y="376"/>
                  </a:lnTo>
                  <a:lnTo>
                    <a:pt x="1055" y="374"/>
                  </a:lnTo>
                  <a:lnTo>
                    <a:pt x="1055" y="374"/>
                  </a:lnTo>
                  <a:lnTo>
                    <a:pt x="1051" y="366"/>
                  </a:lnTo>
                  <a:lnTo>
                    <a:pt x="1051" y="366"/>
                  </a:lnTo>
                  <a:lnTo>
                    <a:pt x="1047" y="359"/>
                  </a:lnTo>
                  <a:lnTo>
                    <a:pt x="1047" y="359"/>
                  </a:lnTo>
                  <a:lnTo>
                    <a:pt x="1041" y="350"/>
                  </a:lnTo>
                  <a:lnTo>
                    <a:pt x="1041" y="350"/>
                  </a:lnTo>
                  <a:lnTo>
                    <a:pt x="1040" y="349"/>
                  </a:lnTo>
                  <a:lnTo>
                    <a:pt x="1037" y="346"/>
                  </a:lnTo>
                  <a:lnTo>
                    <a:pt x="1037" y="346"/>
                  </a:lnTo>
                  <a:lnTo>
                    <a:pt x="1037" y="346"/>
                  </a:lnTo>
                  <a:lnTo>
                    <a:pt x="1040" y="347"/>
                  </a:lnTo>
                  <a:lnTo>
                    <a:pt x="1040" y="347"/>
                  </a:lnTo>
                  <a:lnTo>
                    <a:pt x="1035" y="343"/>
                  </a:lnTo>
                  <a:lnTo>
                    <a:pt x="1034" y="340"/>
                  </a:lnTo>
                  <a:lnTo>
                    <a:pt x="1032" y="337"/>
                  </a:lnTo>
                  <a:lnTo>
                    <a:pt x="1032" y="337"/>
                  </a:lnTo>
                  <a:lnTo>
                    <a:pt x="1031" y="337"/>
                  </a:lnTo>
                  <a:lnTo>
                    <a:pt x="1031" y="337"/>
                  </a:lnTo>
                  <a:lnTo>
                    <a:pt x="1031" y="337"/>
                  </a:lnTo>
                  <a:lnTo>
                    <a:pt x="1030" y="337"/>
                  </a:lnTo>
                  <a:lnTo>
                    <a:pt x="1030" y="337"/>
                  </a:lnTo>
                  <a:lnTo>
                    <a:pt x="1025" y="330"/>
                  </a:lnTo>
                  <a:lnTo>
                    <a:pt x="1021" y="321"/>
                  </a:lnTo>
                  <a:lnTo>
                    <a:pt x="1021" y="321"/>
                  </a:lnTo>
                  <a:lnTo>
                    <a:pt x="1014" y="313"/>
                  </a:lnTo>
                  <a:lnTo>
                    <a:pt x="1014" y="313"/>
                  </a:lnTo>
                  <a:lnTo>
                    <a:pt x="1007" y="306"/>
                  </a:lnTo>
                  <a:lnTo>
                    <a:pt x="1007" y="306"/>
                  </a:lnTo>
                  <a:lnTo>
                    <a:pt x="997" y="293"/>
                  </a:lnTo>
                  <a:lnTo>
                    <a:pt x="997" y="293"/>
                  </a:lnTo>
                  <a:lnTo>
                    <a:pt x="985" y="282"/>
                  </a:lnTo>
                  <a:lnTo>
                    <a:pt x="985" y="282"/>
                  </a:lnTo>
                  <a:lnTo>
                    <a:pt x="984" y="280"/>
                  </a:lnTo>
                  <a:lnTo>
                    <a:pt x="985" y="280"/>
                  </a:lnTo>
                  <a:lnTo>
                    <a:pt x="985" y="280"/>
                  </a:lnTo>
                  <a:lnTo>
                    <a:pt x="980" y="276"/>
                  </a:lnTo>
                  <a:lnTo>
                    <a:pt x="980" y="276"/>
                  </a:lnTo>
                  <a:lnTo>
                    <a:pt x="975" y="270"/>
                  </a:lnTo>
                  <a:lnTo>
                    <a:pt x="975" y="270"/>
                  </a:lnTo>
                  <a:lnTo>
                    <a:pt x="965" y="260"/>
                  </a:lnTo>
                  <a:lnTo>
                    <a:pt x="965" y="260"/>
                  </a:lnTo>
                  <a:lnTo>
                    <a:pt x="955" y="252"/>
                  </a:lnTo>
                  <a:lnTo>
                    <a:pt x="955" y="252"/>
                  </a:lnTo>
                  <a:lnTo>
                    <a:pt x="947" y="246"/>
                  </a:lnTo>
                  <a:lnTo>
                    <a:pt x="947" y="246"/>
                  </a:lnTo>
                  <a:lnTo>
                    <a:pt x="947" y="243"/>
                  </a:lnTo>
                  <a:lnTo>
                    <a:pt x="945" y="242"/>
                  </a:lnTo>
                  <a:lnTo>
                    <a:pt x="945" y="242"/>
                  </a:lnTo>
                  <a:lnTo>
                    <a:pt x="945" y="243"/>
                  </a:lnTo>
                  <a:lnTo>
                    <a:pt x="945" y="244"/>
                  </a:lnTo>
                  <a:lnTo>
                    <a:pt x="945" y="244"/>
                  </a:lnTo>
                  <a:lnTo>
                    <a:pt x="943" y="242"/>
                  </a:lnTo>
                  <a:lnTo>
                    <a:pt x="943" y="242"/>
                  </a:lnTo>
                  <a:lnTo>
                    <a:pt x="940" y="239"/>
                  </a:lnTo>
                  <a:lnTo>
                    <a:pt x="940" y="239"/>
                  </a:lnTo>
                  <a:lnTo>
                    <a:pt x="934" y="234"/>
                  </a:lnTo>
                  <a:lnTo>
                    <a:pt x="934" y="234"/>
                  </a:lnTo>
                  <a:lnTo>
                    <a:pt x="923" y="224"/>
                  </a:lnTo>
                  <a:lnTo>
                    <a:pt x="923" y="224"/>
                  </a:lnTo>
                  <a:lnTo>
                    <a:pt x="911" y="216"/>
                  </a:lnTo>
                  <a:lnTo>
                    <a:pt x="911" y="216"/>
                  </a:lnTo>
                  <a:lnTo>
                    <a:pt x="904" y="212"/>
                  </a:lnTo>
                  <a:lnTo>
                    <a:pt x="904" y="212"/>
                  </a:lnTo>
                  <a:lnTo>
                    <a:pt x="898" y="207"/>
                  </a:lnTo>
                  <a:lnTo>
                    <a:pt x="898" y="207"/>
                  </a:lnTo>
                  <a:lnTo>
                    <a:pt x="895" y="206"/>
                  </a:lnTo>
                  <a:lnTo>
                    <a:pt x="891" y="203"/>
                  </a:lnTo>
                  <a:lnTo>
                    <a:pt x="883" y="197"/>
                  </a:lnTo>
                  <a:lnTo>
                    <a:pt x="883" y="197"/>
                  </a:lnTo>
                  <a:lnTo>
                    <a:pt x="873" y="192"/>
                  </a:lnTo>
                  <a:lnTo>
                    <a:pt x="870" y="190"/>
                  </a:lnTo>
                  <a:lnTo>
                    <a:pt x="867" y="187"/>
                  </a:lnTo>
                  <a:lnTo>
                    <a:pt x="867" y="187"/>
                  </a:lnTo>
                  <a:lnTo>
                    <a:pt x="856" y="183"/>
                  </a:lnTo>
                  <a:lnTo>
                    <a:pt x="856" y="183"/>
                  </a:lnTo>
                  <a:lnTo>
                    <a:pt x="847" y="176"/>
                  </a:lnTo>
                  <a:lnTo>
                    <a:pt x="847" y="176"/>
                  </a:lnTo>
                  <a:lnTo>
                    <a:pt x="846" y="176"/>
                  </a:lnTo>
                  <a:lnTo>
                    <a:pt x="846" y="177"/>
                  </a:lnTo>
                  <a:lnTo>
                    <a:pt x="846" y="177"/>
                  </a:lnTo>
                  <a:lnTo>
                    <a:pt x="844" y="177"/>
                  </a:lnTo>
                  <a:lnTo>
                    <a:pt x="844" y="177"/>
                  </a:lnTo>
                  <a:lnTo>
                    <a:pt x="841" y="176"/>
                  </a:lnTo>
                  <a:lnTo>
                    <a:pt x="841" y="176"/>
                  </a:lnTo>
                  <a:lnTo>
                    <a:pt x="841" y="174"/>
                  </a:lnTo>
                  <a:lnTo>
                    <a:pt x="841" y="174"/>
                  </a:lnTo>
                  <a:lnTo>
                    <a:pt x="841" y="174"/>
                  </a:lnTo>
                  <a:lnTo>
                    <a:pt x="834" y="172"/>
                  </a:lnTo>
                  <a:lnTo>
                    <a:pt x="827" y="169"/>
                  </a:lnTo>
                  <a:lnTo>
                    <a:pt x="827" y="169"/>
                  </a:lnTo>
                  <a:lnTo>
                    <a:pt x="827" y="167"/>
                  </a:lnTo>
                  <a:lnTo>
                    <a:pt x="828" y="167"/>
                  </a:lnTo>
                  <a:lnTo>
                    <a:pt x="828" y="167"/>
                  </a:lnTo>
                  <a:lnTo>
                    <a:pt x="818" y="164"/>
                  </a:lnTo>
                  <a:lnTo>
                    <a:pt x="818" y="164"/>
                  </a:lnTo>
                  <a:lnTo>
                    <a:pt x="808" y="162"/>
                  </a:lnTo>
                  <a:lnTo>
                    <a:pt x="808" y="162"/>
                  </a:lnTo>
                  <a:lnTo>
                    <a:pt x="808" y="160"/>
                  </a:lnTo>
                  <a:lnTo>
                    <a:pt x="808" y="160"/>
                  </a:lnTo>
                  <a:lnTo>
                    <a:pt x="804" y="157"/>
                  </a:lnTo>
                  <a:lnTo>
                    <a:pt x="804" y="157"/>
                  </a:lnTo>
                  <a:lnTo>
                    <a:pt x="803" y="159"/>
                  </a:lnTo>
                  <a:lnTo>
                    <a:pt x="800" y="157"/>
                  </a:lnTo>
                  <a:lnTo>
                    <a:pt x="800" y="157"/>
                  </a:lnTo>
                  <a:lnTo>
                    <a:pt x="797" y="154"/>
                  </a:lnTo>
                  <a:lnTo>
                    <a:pt x="797" y="154"/>
                  </a:lnTo>
                  <a:lnTo>
                    <a:pt x="793" y="154"/>
                  </a:lnTo>
                  <a:lnTo>
                    <a:pt x="789" y="152"/>
                  </a:lnTo>
                  <a:lnTo>
                    <a:pt x="783" y="150"/>
                  </a:lnTo>
                  <a:lnTo>
                    <a:pt x="776" y="149"/>
                  </a:lnTo>
                  <a:lnTo>
                    <a:pt x="776" y="149"/>
                  </a:lnTo>
                  <a:lnTo>
                    <a:pt x="774" y="147"/>
                  </a:lnTo>
                  <a:lnTo>
                    <a:pt x="776" y="147"/>
                  </a:lnTo>
                  <a:lnTo>
                    <a:pt x="776" y="147"/>
                  </a:lnTo>
                  <a:lnTo>
                    <a:pt x="753" y="140"/>
                  </a:lnTo>
                  <a:lnTo>
                    <a:pt x="753" y="140"/>
                  </a:lnTo>
                  <a:lnTo>
                    <a:pt x="743" y="137"/>
                  </a:lnTo>
                  <a:lnTo>
                    <a:pt x="736" y="137"/>
                  </a:lnTo>
                  <a:lnTo>
                    <a:pt x="736" y="137"/>
                  </a:lnTo>
                  <a:lnTo>
                    <a:pt x="729" y="135"/>
                  </a:lnTo>
                  <a:lnTo>
                    <a:pt x="729" y="135"/>
                  </a:lnTo>
                  <a:lnTo>
                    <a:pt x="724" y="135"/>
                  </a:lnTo>
                  <a:lnTo>
                    <a:pt x="720" y="135"/>
                  </a:lnTo>
                  <a:lnTo>
                    <a:pt x="720" y="135"/>
                  </a:lnTo>
                  <a:lnTo>
                    <a:pt x="710" y="130"/>
                  </a:lnTo>
                  <a:lnTo>
                    <a:pt x="710" y="130"/>
                  </a:lnTo>
                  <a:lnTo>
                    <a:pt x="706" y="130"/>
                  </a:lnTo>
                  <a:lnTo>
                    <a:pt x="706" y="130"/>
                  </a:lnTo>
                  <a:lnTo>
                    <a:pt x="703" y="130"/>
                  </a:lnTo>
                  <a:lnTo>
                    <a:pt x="703" y="130"/>
                  </a:lnTo>
                  <a:lnTo>
                    <a:pt x="690" y="127"/>
                  </a:lnTo>
                  <a:lnTo>
                    <a:pt x="690" y="127"/>
                  </a:lnTo>
                  <a:lnTo>
                    <a:pt x="677" y="126"/>
                  </a:lnTo>
                  <a:lnTo>
                    <a:pt x="677" y="126"/>
                  </a:lnTo>
                  <a:lnTo>
                    <a:pt x="664" y="125"/>
                  </a:lnTo>
                  <a:lnTo>
                    <a:pt x="659" y="123"/>
                  </a:lnTo>
                  <a:lnTo>
                    <a:pt x="652" y="123"/>
                  </a:lnTo>
                  <a:lnTo>
                    <a:pt x="652" y="123"/>
                  </a:lnTo>
                  <a:lnTo>
                    <a:pt x="626" y="122"/>
                  </a:lnTo>
                  <a:lnTo>
                    <a:pt x="626" y="122"/>
                  </a:lnTo>
                  <a:lnTo>
                    <a:pt x="613" y="122"/>
                  </a:lnTo>
                  <a:lnTo>
                    <a:pt x="613" y="122"/>
                  </a:lnTo>
                  <a:lnTo>
                    <a:pt x="606" y="122"/>
                  </a:lnTo>
                  <a:lnTo>
                    <a:pt x="606" y="122"/>
                  </a:lnTo>
                  <a:lnTo>
                    <a:pt x="599" y="122"/>
                  </a:lnTo>
                  <a:lnTo>
                    <a:pt x="599" y="122"/>
                  </a:lnTo>
                  <a:lnTo>
                    <a:pt x="597" y="123"/>
                  </a:lnTo>
                  <a:lnTo>
                    <a:pt x="597" y="123"/>
                  </a:lnTo>
                  <a:lnTo>
                    <a:pt x="597" y="123"/>
                  </a:lnTo>
                  <a:lnTo>
                    <a:pt x="589" y="122"/>
                  </a:lnTo>
                  <a:lnTo>
                    <a:pt x="589" y="122"/>
                  </a:lnTo>
                  <a:lnTo>
                    <a:pt x="580" y="123"/>
                  </a:lnTo>
                  <a:lnTo>
                    <a:pt x="580" y="123"/>
                  </a:lnTo>
                  <a:lnTo>
                    <a:pt x="572" y="123"/>
                  </a:lnTo>
                  <a:lnTo>
                    <a:pt x="572" y="123"/>
                  </a:lnTo>
                  <a:lnTo>
                    <a:pt x="563" y="125"/>
                  </a:lnTo>
                  <a:lnTo>
                    <a:pt x="563" y="125"/>
                  </a:lnTo>
                  <a:lnTo>
                    <a:pt x="555" y="126"/>
                  </a:lnTo>
                  <a:lnTo>
                    <a:pt x="555" y="126"/>
                  </a:lnTo>
                  <a:lnTo>
                    <a:pt x="536" y="127"/>
                  </a:lnTo>
                  <a:lnTo>
                    <a:pt x="536" y="127"/>
                  </a:lnTo>
                  <a:lnTo>
                    <a:pt x="519" y="132"/>
                  </a:lnTo>
                  <a:lnTo>
                    <a:pt x="519" y="132"/>
                  </a:lnTo>
                  <a:lnTo>
                    <a:pt x="516" y="130"/>
                  </a:lnTo>
                  <a:lnTo>
                    <a:pt x="516" y="130"/>
                  </a:lnTo>
                  <a:lnTo>
                    <a:pt x="509" y="133"/>
                  </a:lnTo>
                  <a:lnTo>
                    <a:pt x="503" y="135"/>
                  </a:lnTo>
                  <a:lnTo>
                    <a:pt x="503" y="135"/>
                  </a:lnTo>
                  <a:lnTo>
                    <a:pt x="490" y="137"/>
                  </a:lnTo>
                  <a:lnTo>
                    <a:pt x="490" y="137"/>
                  </a:lnTo>
                  <a:lnTo>
                    <a:pt x="490" y="139"/>
                  </a:lnTo>
                  <a:lnTo>
                    <a:pt x="490" y="139"/>
                  </a:lnTo>
                  <a:lnTo>
                    <a:pt x="489" y="142"/>
                  </a:lnTo>
                  <a:lnTo>
                    <a:pt x="485" y="143"/>
                  </a:lnTo>
                  <a:lnTo>
                    <a:pt x="485" y="143"/>
                  </a:lnTo>
                  <a:lnTo>
                    <a:pt x="483" y="142"/>
                  </a:lnTo>
                  <a:lnTo>
                    <a:pt x="479" y="142"/>
                  </a:lnTo>
                  <a:lnTo>
                    <a:pt x="479" y="142"/>
                  </a:lnTo>
                  <a:lnTo>
                    <a:pt x="479" y="142"/>
                  </a:lnTo>
                  <a:lnTo>
                    <a:pt x="482" y="140"/>
                  </a:lnTo>
                  <a:lnTo>
                    <a:pt x="483" y="139"/>
                  </a:lnTo>
                  <a:lnTo>
                    <a:pt x="486" y="139"/>
                  </a:lnTo>
                  <a:lnTo>
                    <a:pt x="486" y="139"/>
                  </a:lnTo>
                  <a:lnTo>
                    <a:pt x="486" y="139"/>
                  </a:lnTo>
                  <a:lnTo>
                    <a:pt x="486" y="139"/>
                  </a:lnTo>
                  <a:lnTo>
                    <a:pt x="483" y="139"/>
                  </a:lnTo>
                  <a:lnTo>
                    <a:pt x="480" y="139"/>
                  </a:lnTo>
                  <a:lnTo>
                    <a:pt x="480" y="140"/>
                  </a:lnTo>
                  <a:lnTo>
                    <a:pt x="480" y="140"/>
                  </a:lnTo>
                  <a:lnTo>
                    <a:pt x="472" y="142"/>
                  </a:lnTo>
                  <a:lnTo>
                    <a:pt x="472" y="142"/>
                  </a:lnTo>
                  <a:lnTo>
                    <a:pt x="463" y="144"/>
                  </a:lnTo>
                  <a:lnTo>
                    <a:pt x="463" y="144"/>
                  </a:lnTo>
                  <a:lnTo>
                    <a:pt x="455" y="147"/>
                  </a:lnTo>
                  <a:lnTo>
                    <a:pt x="446" y="150"/>
                  </a:lnTo>
                  <a:lnTo>
                    <a:pt x="446" y="150"/>
                  </a:lnTo>
                  <a:lnTo>
                    <a:pt x="443" y="152"/>
                  </a:lnTo>
                  <a:lnTo>
                    <a:pt x="439" y="153"/>
                  </a:lnTo>
                  <a:lnTo>
                    <a:pt x="431" y="156"/>
                  </a:lnTo>
                  <a:lnTo>
                    <a:pt x="431" y="156"/>
                  </a:lnTo>
                  <a:lnTo>
                    <a:pt x="429" y="156"/>
                  </a:lnTo>
                  <a:lnTo>
                    <a:pt x="431" y="156"/>
                  </a:lnTo>
                  <a:lnTo>
                    <a:pt x="431" y="156"/>
                  </a:lnTo>
                  <a:lnTo>
                    <a:pt x="423" y="159"/>
                  </a:lnTo>
                  <a:lnTo>
                    <a:pt x="419" y="160"/>
                  </a:lnTo>
                  <a:lnTo>
                    <a:pt x="419" y="160"/>
                  </a:lnTo>
                  <a:lnTo>
                    <a:pt x="415" y="162"/>
                  </a:lnTo>
                  <a:lnTo>
                    <a:pt x="415" y="162"/>
                  </a:lnTo>
                  <a:lnTo>
                    <a:pt x="401" y="167"/>
                  </a:lnTo>
                  <a:lnTo>
                    <a:pt x="401" y="167"/>
                  </a:lnTo>
                  <a:lnTo>
                    <a:pt x="401" y="169"/>
                  </a:lnTo>
                  <a:lnTo>
                    <a:pt x="401" y="170"/>
                  </a:lnTo>
                  <a:lnTo>
                    <a:pt x="401" y="170"/>
                  </a:lnTo>
                  <a:lnTo>
                    <a:pt x="389" y="174"/>
                  </a:lnTo>
                  <a:lnTo>
                    <a:pt x="389" y="174"/>
                  </a:lnTo>
                  <a:lnTo>
                    <a:pt x="378" y="182"/>
                  </a:lnTo>
                  <a:lnTo>
                    <a:pt x="378" y="182"/>
                  </a:lnTo>
                  <a:lnTo>
                    <a:pt x="366" y="187"/>
                  </a:lnTo>
                  <a:lnTo>
                    <a:pt x="366" y="187"/>
                  </a:lnTo>
                  <a:lnTo>
                    <a:pt x="356" y="192"/>
                  </a:lnTo>
                  <a:lnTo>
                    <a:pt x="356" y="192"/>
                  </a:lnTo>
                  <a:lnTo>
                    <a:pt x="356" y="192"/>
                  </a:lnTo>
                  <a:lnTo>
                    <a:pt x="358" y="192"/>
                  </a:lnTo>
                  <a:lnTo>
                    <a:pt x="358" y="192"/>
                  </a:lnTo>
                  <a:lnTo>
                    <a:pt x="346" y="197"/>
                  </a:lnTo>
                  <a:lnTo>
                    <a:pt x="336" y="204"/>
                  </a:lnTo>
                  <a:lnTo>
                    <a:pt x="336" y="204"/>
                  </a:lnTo>
                  <a:lnTo>
                    <a:pt x="314" y="219"/>
                  </a:lnTo>
                  <a:lnTo>
                    <a:pt x="314" y="219"/>
                  </a:lnTo>
                  <a:lnTo>
                    <a:pt x="306" y="226"/>
                  </a:lnTo>
                  <a:lnTo>
                    <a:pt x="306" y="226"/>
                  </a:lnTo>
                  <a:lnTo>
                    <a:pt x="296" y="233"/>
                  </a:lnTo>
                  <a:lnTo>
                    <a:pt x="296" y="233"/>
                  </a:lnTo>
                  <a:lnTo>
                    <a:pt x="286" y="242"/>
                  </a:lnTo>
                  <a:lnTo>
                    <a:pt x="286" y="242"/>
                  </a:lnTo>
                  <a:lnTo>
                    <a:pt x="276" y="249"/>
                  </a:lnTo>
                  <a:lnTo>
                    <a:pt x="276" y="249"/>
                  </a:lnTo>
                  <a:lnTo>
                    <a:pt x="276" y="250"/>
                  </a:lnTo>
                  <a:lnTo>
                    <a:pt x="276" y="250"/>
                  </a:lnTo>
                  <a:lnTo>
                    <a:pt x="276" y="252"/>
                  </a:lnTo>
                  <a:lnTo>
                    <a:pt x="276" y="253"/>
                  </a:lnTo>
                  <a:lnTo>
                    <a:pt x="276" y="253"/>
                  </a:lnTo>
                  <a:lnTo>
                    <a:pt x="274" y="256"/>
                  </a:lnTo>
                  <a:lnTo>
                    <a:pt x="274" y="256"/>
                  </a:lnTo>
                  <a:lnTo>
                    <a:pt x="274" y="254"/>
                  </a:lnTo>
                  <a:lnTo>
                    <a:pt x="272" y="254"/>
                  </a:lnTo>
                  <a:lnTo>
                    <a:pt x="268" y="257"/>
                  </a:lnTo>
                  <a:lnTo>
                    <a:pt x="268" y="257"/>
                  </a:lnTo>
                  <a:lnTo>
                    <a:pt x="259" y="264"/>
                  </a:lnTo>
                  <a:lnTo>
                    <a:pt x="259" y="264"/>
                  </a:lnTo>
                  <a:lnTo>
                    <a:pt x="259" y="266"/>
                  </a:lnTo>
                  <a:lnTo>
                    <a:pt x="261" y="264"/>
                  </a:lnTo>
                  <a:lnTo>
                    <a:pt x="264" y="262"/>
                  </a:lnTo>
                  <a:lnTo>
                    <a:pt x="264" y="262"/>
                  </a:lnTo>
                  <a:lnTo>
                    <a:pt x="265" y="263"/>
                  </a:lnTo>
                  <a:lnTo>
                    <a:pt x="264" y="264"/>
                  </a:lnTo>
                  <a:lnTo>
                    <a:pt x="261" y="267"/>
                  </a:lnTo>
                  <a:lnTo>
                    <a:pt x="261" y="267"/>
                  </a:lnTo>
                  <a:lnTo>
                    <a:pt x="255" y="270"/>
                  </a:lnTo>
                  <a:lnTo>
                    <a:pt x="249" y="274"/>
                  </a:lnTo>
                  <a:lnTo>
                    <a:pt x="249" y="274"/>
                  </a:lnTo>
                  <a:lnTo>
                    <a:pt x="244" y="280"/>
                  </a:lnTo>
                  <a:lnTo>
                    <a:pt x="239" y="286"/>
                  </a:lnTo>
                  <a:lnTo>
                    <a:pt x="239" y="286"/>
                  </a:lnTo>
                  <a:lnTo>
                    <a:pt x="238" y="287"/>
                  </a:lnTo>
                  <a:lnTo>
                    <a:pt x="238" y="287"/>
                  </a:lnTo>
                  <a:lnTo>
                    <a:pt x="239" y="287"/>
                  </a:lnTo>
                  <a:lnTo>
                    <a:pt x="238" y="289"/>
                  </a:lnTo>
                  <a:lnTo>
                    <a:pt x="238" y="289"/>
                  </a:lnTo>
                  <a:lnTo>
                    <a:pt x="235" y="292"/>
                  </a:lnTo>
                  <a:lnTo>
                    <a:pt x="235" y="292"/>
                  </a:lnTo>
                  <a:lnTo>
                    <a:pt x="235" y="292"/>
                  </a:lnTo>
                  <a:lnTo>
                    <a:pt x="237" y="289"/>
                  </a:lnTo>
                  <a:lnTo>
                    <a:pt x="237" y="289"/>
                  </a:lnTo>
                  <a:lnTo>
                    <a:pt x="234" y="292"/>
                  </a:lnTo>
                  <a:lnTo>
                    <a:pt x="231" y="296"/>
                  </a:lnTo>
                  <a:lnTo>
                    <a:pt x="231" y="296"/>
                  </a:lnTo>
                  <a:lnTo>
                    <a:pt x="232" y="294"/>
                  </a:lnTo>
                  <a:lnTo>
                    <a:pt x="232" y="296"/>
                  </a:lnTo>
                  <a:lnTo>
                    <a:pt x="232" y="297"/>
                  </a:lnTo>
                  <a:lnTo>
                    <a:pt x="232" y="297"/>
                  </a:lnTo>
                  <a:lnTo>
                    <a:pt x="234" y="294"/>
                  </a:lnTo>
                  <a:lnTo>
                    <a:pt x="237" y="293"/>
                  </a:lnTo>
                  <a:lnTo>
                    <a:pt x="237" y="293"/>
                  </a:lnTo>
                  <a:lnTo>
                    <a:pt x="234" y="297"/>
                  </a:lnTo>
                  <a:lnTo>
                    <a:pt x="234" y="297"/>
                  </a:lnTo>
                  <a:lnTo>
                    <a:pt x="231" y="301"/>
                  </a:lnTo>
                  <a:lnTo>
                    <a:pt x="231" y="301"/>
                  </a:lnTo>
                  <a:lnTo>
                    <a:pt x="228" y="304"/>
                  </a:lnTo>
                  <a:lnTo>
                    <a:pt x="224" y="307"/>
                  </a:lnTo>
                  <a:lnTo>
                    <a:pt x="224" y="307"/>
                  </a:lnTo>
                  <a:lnTo>
                    <a:pt x="224" y="306"/>
                  </a:lnTo>
                  <a:lnTo>
                    <a:pt x="225" y="304"/>
                  </a:lnTo>
                  <a:lnTo>
                    <a:pt x="229" y="300"/>
                  </a:lnTo>
                  <a:lnTo>
                    <a:pt x="229" y="300"/>
                  </a:lnTo>
                  <a:lnTo>
                    <a:pt x="227" y="301"/>
                  </a:lnTo>
                  <a:lnTo>
                    <a:pt x="228" y="300"/>
                  </a:lnTo>
                  <a:lnTo>
                    <a:pt x="231" y="296"/>
                  </a:lnTo>
                  <a:lnTo>
                    <a:pt x="231" y="296"/>
                  </a:lnTo>
                  <a:lnTo>
                    <a:pt x="227" y="299"/>
                  </a:lnTo>
                  <a:lnTo>
                    <a:pt x="225" y="301"/>
                  </a:lnTo>
                  <a:lnTo>
                    <a:pt x="222" y="304"/>
                  </a:lnTo>
                  <a:lnTo>
                    <a:pt x="219" y="307"/>
                  </a:lnTo>
                  <a:lnTo>
                    <a:pt x="219" y="307"/>
                  </a:lnTo>
                  <a:lnTo>
                    <a:pt x="219" y="309"/>
                  </a:lnTo>
                  <a:lnTo>
                    <a:pt x="221" y="307"/>
                  </a:lnTo>
                  <a:lnTo>
                    <a:pt x="222" y="307"/>
                  </a:lnTo>
                  <a:lnTo>
                    <a:pt x="222" y="307"/>
                  </a:lnTo>
                  <a:lnTo>
                    <a:pt x="219" y="310"/>
                  </a:lnTo>
                  <a:lnTo>
                    <a:pt x="219" y="310"/>
                  </a:lnTo>
                  <a:lnTo>
                    <a:pt x="219" y="310"/>
                  </a:lnTo>
                  <a:lnTo>
                    <a:pt x="222" y="309"/>
                  </a:lnTo>
                  <a:lnTo>
                    <a:pt x="222" y="309"/>
                  </a:lnTo>
                  <a:lnTo>
                    <a:pt x="218" y="316"/>
                  </a:lnTo>
                  <a:lnTo>
                    <a:pt x="215" y="323"/>
                  </a:lnTo>
                  <a:lnTo>
                    <a:pt x="215" y="323"/>
                  </a:lnTo>
                  <a:lnTo>
                    <a:pt x="212" y="324"/>
                  </a:lnTo>
                  <a:lnTo>
                    <a:pt x="212" y="324"/>
                  </a:lnTo>
                  <a:lnTo>
                    <a:pt x="211" y="324"/>
                  </a:lnTo>
                  <a:lnTo>
                    <a:pt x="211" y="324"/>
                  </a:lnTo>
                  <a:lnTo>
                    <a:pt x="208" y="330"/>
                  </a:lnTo>
                  <a:lnTo>
                    <a:pt x="207" y="333"/>
                  </a:lnTo>
                  <a:lnTo>
                    <a:pt x="205" y="336"/>
                  </a:lnTo>
                  <a:lnTo>
                    <a:pt x="205" y="336"/>
                  </a:lnTo>
                  <a:lnTo>
                    <a:pt x="204" y="336"/>
                  </a:lnTo>
                  <a:lnTo>
                    <a:pt x="205" y="334"/>
                  </a:lnTo>
                  <a:lnTo>
                    <a:pt x="205" y="334"/>
                  </a:lnTo>
                  <a:lnTo>
                    <a:pt x="205" y="330"/>
                  </a:lnTo>
                  <a:lnTo>
                    <a:pt x="205" y="330"/>
                  </a:lnTo>
                  <a:lnTo>
                    <a:pt x="204" y="334"/>
                  </a:lnTo>
                  <a:lnTo>
                    <a:pt x="204" y="336"/>
                  </a:lnTo>
                  <a:lnTo>
                    <a:pt x="204" y="336"/>
                  </a:lnTo>
                  <a:lnTo>
                    <a:pt x="204" y="336"/>
                  </a:lnTo>
                  <a:lnTo>
                    <a:pt x="202" y="339"/>
                  </a:lnTo>
                  <a:lnTo>
                    <a:pt x="199" y="343"/>
                  </a:lnTo>
                  <a:lnTo>
                    <a:pt x="199" y="343"/>
                  </a:lnTo>
                  <a:lnTo>
                    <a:pt x="198" y="343"/>
                  </a:lnTo>
                  <a:lnTo>
                    <a:pt x="198" y="341"/>
                  </a:lnTo>
                  <a:lnTo>
                    <a:pt x="198" y="341"/>
                  </a:lnTo>
                  <a:lnTo>
                    <a:pt x="197" y="343"/>
                  </a:lnTo>
                  <a:lnTo>
                    <a:pt x="197" y="343"/>
                  </a:lnTo>
                  <a:lnTo>
                    <a:pt x="195" y="347"/>
                  </a:lnTo>
                  <a:lnTo>
                    <a:pt x="192" y="353"/>
                  </a:lnTo>
                  <a:lnTo>
                    <a:pt x="192" y="353"/>
                  </a:lnTo>
                  <a:lnTo>
                    <a:pt x="189" y="359"/>
                  </a:lnTo>
                  <a:lnTo>
                    <a:pt x="187" y="359"/>
                  </a:lnTo>
                  <a:lnTo>
                    <a:pt x="187" y="359"/>
                  </a:lnTo>
                  <a:lnTo>
                    <a:pt x="184" y="364"/>
                  </a:lnTo>
                  <a:lnTo>
                    <a:pt x="181" y="370"/>
                  </a:lnTo>
                  <a:lnTo>
                    <a:pt x="181" y="370"/>
                  </a:lnTo>
                  <a:lnTo>
                    <a:pt x="178" y="373"/>
                  </a:lnTo>
                  <a:lnTo>
                    <a:pt x="175" y="377"/>
                  </a:lnTo>
                  <a:lnTo>
                    <a:pt x="174" y="381"/>
                  </a:lnTo>
                  <a:lnTo>
                    <a:pt x="172" y="383"/>
                  </a:lnTo>
                  <a:lnTo>
                    <a:pt x="172" y="383"/>
                  </a:lnTo>
                  <a:lnTo>
                    <a:pt x="171" y="386"/>
                  </a:lnTo>
                  <a:lnTo>
                    <a:pt x="171" y="389"/>
                  </a:lnTo>
                  <a:lnTo>
                    <a:pt x="167" y="393"/>
                  </a:lnTo>
                  <a:lnTo>
                    <a:pt x="167" y="393"/>
                  </a:lnTo>
                  <a:lnTo>
                    <a:pt x="162" y="400"/>
                  </a:lnTo>
                  <a:lnTo>
                    <a:pt x="162" y="400"/>
                  </a:lnTo>
                  <a:lnTo>
                    <a:pt x="161" y="406"/>
                  </a:lnTo>
                  <a:lnTo>
                    <a:pt x="161" y="406"/>
                  </a:lnTo>
                  <a:lnTo>
                    <a:pt x="155" y="417"/>
                  </a:lnTo>
                  <a:lnTo>
                    <a:pt x="155" y="417"/>
                  </a:lnTo>
                  <a:lnTo>
                    <a:pt x="150" y="427"/>
                  </a:lnTo>
                  <a:lnTo>
                    <a:pt x="150" y="427"/>
                  </a:lnTo>
                  <a:lnTo>
                    <a:pt x="150" y="429"/>
                  </a:lnTo>
                  <a:lnTo>
                    <a:pt x="150" y="427"/>
                  </a:lnTo>
                  <a:lnTo>
                    <a:pt x="150" y="426"/>
                  </a:lnTo>
                  <a:lnTo>
                    <a:pt x="148" y="427"/>
                  </a:lnTo>
                  <a:lnTo>
                    <a:pt x="148" y="427"/>
                  </a:lnTo>
                  <a:lnTo>
                    <a:pt x="145" y="437"/>
                  </a:lnTo>
                  <a:lnTo>
                    <a:pt x="142" y="446"/>
                  </a:lnTo>
                  <a:lnTo>
                    <a:pt x="138" y="454"/>
                  </a:lnTo>
                  <a:lnTo>
                    <a:pt x="135" y="463"/>
                  </a:lnTo>
                  <a:lnTo>
                    <a:pt x="135" y="463"/>
                  </a:lnTo>
                  <a:lnTo>
                    <a:pt x="138" y="458"/>
                  </a:lnTo>
                  <a:lnTo>
                    <a:pt x="138" y="458"/>
                  </a:lnTo>
                  <a:lnTo>
                    <a:pt x="138" y="460"/>
                  </a:lnTo>
                  <a:lnTo>
                    <a:pt x="140" y="460"/>
                  </a:lnTo>
                  <a:lnTo>
                    <a:pt x="140" y="460"/>
                  </a:lnTo>
                  <a:lnTo>
                    <a:pt x="137" y="464"/>
                  </a:lnTo>
                  <a:lnTo>
                    <a:pt x="135" y="467"/>
                  </a:lnTo>
                  <a:lnTo>
                    <a:pt x="135" y="467"/>
                  </a:lnTo>
                  <a:lnTo>
                    <a:pt x="131" y="476"/>
                  </a:lnTo>
                  <a:lnTo>
                    <a:pt x="131" y="476"/>
                  </a:lnTo>
                  <a:lnTo>
                    <a:pt x="132" y="476"/>
                  </a:lnTo>
                  <a:lnTo>
                    <a:pt x="132" y="476"/>
                  </a:lnTo>
                  <a:lnTo>
                    <a:pt x="134" y="473"/>
                  </a:lnTo>
                  <a:lnTo>
                    <a:pt x="134" y="473"/>
                  </a:lnTo>
                  <a:lnTo>
                    <a:pt x="134" y="473"/>
                  </a:lnTo>
                  <a:lnTo>
                    <a:pt x="134" y="474"/>
                  </a:lnTo>
                  <a:lnTo>
                    <a:pt x="132" y="477"/>
                  </a:lnTo>
                  <a:lnTo>
                    <a:pt x="132" y="478"/>
                  </a:lnTo>
                  <a:lnTo>
                    <a:pt x="132" y="478"/>
                  </a:lnTo>
                  <a:lnTo>
                    <a:pt x="131" y="480"/>
                  </a:lnTo>
                  <a:lnTo>
                    <a:pt x="131" y="483"/>
                  </a:lnTo>
                  <a:lnTo>
                    <a:pt x="131" y="483"/>
                  </a:lnTo>
                  <a:lnTo>
                    <a:pt x="131" y="487"/>
                  </a:lnTo>
                  <a:lnTo>
                    <a:pt x="131" y="487"/>
                  </a:lnTo>
                  <a:lnTo>
                    <a:pt x="128" y="493"/>
                  </a:lnTo>
                  <a:lnTo>
                    <a:pt x="128" y="493"/>
                  </a:lnTo>
                  <a:lnTo>
                    <a:pt x="127" y="498"/>
                  </a:lnTo>
                  <a:lnTo>
                    <a:pt x="125" y="506"/>
                  </a:lnTo>
                  <a:lnTo>
                    <a:pt x="125" y="506"/>
                  </a:lnTo>
                  <a:lnTo>
                    <a:pt x="124" y="507"/>
                  </a:lnTo>
                  <a:lnTo>
                    <a:pt x="122" y="504"/>
                  </a:lnTo>
                  <a:lnTo>
                    <a:pt x="122" y="504"/>
                  </a:lnTo>
                  <a:lnTo>
                    <a:pt x="121" y="507"/>
                  </a:lnTo>
                  <a:lnTo>
                    <a:pt x="121" y="511"/>
                  </a:lnTo>
                  <a:lnTo>
                    <a:pt x="121" y="511"/>
                  </a:lnTo>
                  <a:lnTo>
                    <a:pt x="121" y="511"/>
                  </a:lnTo>
                  <a:lnTo>
                    <a:pt x="121" y="511"/>
                  </a:lnTo>
                  <a:lnTo>
                    <a:pt x="122" y="508"/>
                  </a:lnTo>
                  <a:lnTo>
                    <a:pt x="122" y="508"/>
                  </a:lnTo>
                  <a:lnTo>
                    <a:pt x="122" y="513"/>
                  </a:lnTo>
                  <a:lnTo>
                    <a:pt x="122" y="517"/>
                  </a:lnTo>
                  <a:lnTo>
                    <a:pt x="122" y="517"/>
                  </a:lnTo>
                  <a:lnTo>
                    <a:pt x="121" y="517"/>
                  </a:lnTo>
                  <a:lnTo>
                    <a:pt x="121" y="514"/>
                  </a:lnTo>
                  <a:lnTo>
                    <a:pt x="121" y="514"/>
                  </a:lnTo>
                  <a:lnTo>
                    <a:pt x="120" y="524"/>
                  </a:lnTo>
                  <a:lnTo>
                    <a:pt x="117" y="534"/>
                  </a:lnTo>
                  <a:lnTo>
                    <a:pt x="117" y="534"/>
                  </a:lnTo>
                  <a:lnTo>
                    <a:pt x="117" y="534"/>
                  </a:lnTo>
                  <a:lnTo>
                    <a:pt x="117" y="534"/>
                  </a:lnTo>
                  <a:lnTo>
                    <a:pt x="115" y="534"/>
                  </a:lnTo>
                  <a:lnTo>
                    <a:pt x="115" y="536"/>
                  </a:lnTo>
                  <a:lnTo>
                    <a:pt x="115" y="536"/>
                  </a:lnTo>
                  <a:lnTo>
                    <a:pt x="115" y="541"/>
                  </a:lnTo>
                  <a:lnTo>
                    <a:pt x="114" y="551"/>
                  </a:lnTo>
                  <a:lnTo>
                    <a:pt x="112" y="560"/>
                  </a:lnTo>
                  <a:lnTo>
                    <a:pt x="112" y="567"/>
                  </a:lnTo>
                  <a:lnTo>
                    <a:pt x="112" y="567"/>
                  </a:lnTo>
                  <a:lnTo>
                    <a:pt x="111" y="571"/>
                  </a:lnTo>
                  <a:lnTo>
                    <a:pt x="110" y="573"/>
                  </a:lnTo>
                  <a:lnTo>
                    <a:pt x="110" y="570"/>
                  </a:lnTo>
                  <a:lnTo>
                    <a:pt x="110" y="570"/>
                  </a:lnTo>
                  <a:lnTo>
                    <a:pt x="110" y="574"/>
                  </a:lnTo>
                  <a:lnTo>
                    <a:pt x="111" y="576"/>
                  </a:lnTo>
                  <a:lnTo>
                    <a:pt x="111" y="576"/>
                  </a:lnTo>
                  <a:lnTo>
                    <a:pt x="110" y="578"/>
                  </a:lnTo>
                  <a:lnTo>
                    <a:pt x="108" y="580"/>
                  </a:lnTo>
                  <a:lnTo>
                    <a:pt x="108" y="580"/>
                  </a:lnTo>
                  <a:lnTo>
                    <a:pt x="108" y="583"/>
                  </a:lnTo>
                  <a:lnTo>
                    <a:pt x="108" y="583"/>
                  </a:lnTo>
                  <a:lnTo>
                    <a:pt x="108" y="586"/>
                  </a:lnTo>
                  <a:lnTo>
                    <a:pt x="108" y="586"/>
                  </a:lnTo>
                  <a:lnTo>
                    <a:pt x="108" y="583"/>
                  </a:lnTo>
                  <a:lnTo>
                    <a:pt x="110" y="580"/>
                  </a:lnTo>
                  <a:lnTo>
                    <a:pt x="110" y="580"/>
                  </a:lnTo>
                  <a:lnTo>
                    <a:pt x="110" y="581"/>
                  </a:lnTo>
                  <a:lnTo>
                    <a:pt x="110" y="581"/>
                  </a:lnTo>
                  <a:lnTo>
                    <a:pt x="110" y="581"/>
                  </a:lnTo>
                  <a:lnTo>
                    <a:pt x="108" y="596"/>
                  </a:lnTo>
                  <a:lnTo>
                    <a:pt x="108" y="596"/>
                  </a:lnTo>
                  <a:lnTo>
                    <a:pt x="108" y="603"/>
                  </a:lnTo>
                  <a:lnTo>
                    <a:pt x="108" y="603"/>
                  </a:lnTo>
                  <a:lnTo>
                    <a:pt x="108" y="607"/>
                  </a:lnTo>
                  <a:lnTo>
                    <a:pt x="108" y="607"/>
                  </a:lnTo>
                  <a:lnTo>
                    <a:pt x="108" y="611"/>
                  </a:lnTo>
                  <a:lnTo>
                    <a:pt x="108" y="611"/>
                  </a:lnTo>
                  <a:lnTo>
                    <a:pt x="107" y="611"/>
                  </a:lnTo>
                  <a:lnTo>
                    <a:pt x="105" y="614"/>
                  </a:lnTo>
                  <a:lnTo>
                    <a:pt x="105" y="614"/>
                  </a:lnTo>
                  <a:lnTo>
                    <a:pt x="107" y="615"/>
                  </a:lnTo>
                  <a:lnTo>
                    <a:pt x="107" y="614"/>
                  </a:lnTo>
                  <a:lnTo>
                    <a:pt x="108" y="611"/>
                  </a:lnTo>
                  <a:lnTo>
                    <a:pt x="108" y="611"/>
                  </a:lnTo>
                  <a:lnTo>
                    <a:pt x="110" y="615"/>
                  </a:lnTo>
                  <a:lnTo>
                    <a:pt x="108" y="620"/>
                  </a:lnTo>
                  <a:lnTo>
                    <a:pt x="108" y="623"/>
                  </a:lnTo>
                  <a:lnTo>
                    <a:pt x="108" y="627"/>
                  </a:lnTo>
                  <a:lnTo>
                    <a:pt x="108" y="627"/>
                  </a:lnTo>
                  <a:lnTo>
                    <a:pt x="108" y="630"/>
                  </a:lnTo>
                  <a:lnTo>
                    <a:pt x="107" y="628"/>
                  </a:lnTo>
                  <a:lnTo>
                    <a:pt x="105" y="627"/>
                  </a:lnTo>
                  <a:lnTo>
                    <a:pt x="105" y="627"/>
                  </a:lnTo>
                  <a:lnTo>
                    <a:pt x="105" y="627"/>
                  </a:lnTo>
                  <a:lnTo>
                    <a:pt x="105" y="630"/>
                  </a:lnTo>
                  <a:lnTo>
                    <a:pt x="107" y="630"/>
                  </a:lnTo>
                  <a:lnTo>
                    <a:pt x="108" y="631"/>
                  </a:lnTo>
                  <a:lnTo>
                    <a:pt x="108" y="631"/>
                  </a:lnTo>
                  <a:lnTo>
                    <a:pt x="110" y="633"/>
                  </a:lnTo>
                  <a:lnTo>
                    <a:pt x="108" y="634"/>
                  </a:lnTo>
                  <a:lnTo>
                    <a:pt x="108" y="637"/>
                  </a:lnTo>
                  <a:lnTo>
                    <a:pt x="108" y="637"/>
                  </a:lnTo>
                  <a:lnTo>
                    <a:pt x="107" y="635"/>
                  </a:lnTo>
                  <a:lnTo>
                    <a:pt x="107" y="634"/>
                  </a:lnTo>
                  <a:lnTo>
                    <a:pt x="107" y="634"/>
                  </a:lnTo>
                  <a:lnTo>
                    <a:pt x="107" y="638"/>
                  </a:lnTo>
                  <a:lnTo>
                    <a:pt x="107" y="641"/>
                  </a:lnTo>
                  <a:lnTo>
                    <a:pt x="108" y="641"/>
                  </a:lnTo>
                  <a:lnTo>
                    <a:pt x="108" y="641"/>
                  </a:lnTo>
                  <a:lnTo>
                    <a:pt x="107" y="647"/>
                  </a:lnTo>
                  <a:lnTo>
                    <a:pt x="105" y="653"/>
                  </a:lnTo>
                  <a:lnTo>
                    <a:pt x="105" y="653"/>
                  </a:lnTo>
                  <a:lnTo>
                    <a:pt x="107" y="658"/>
                  </a:lnTo>
                  <a:lnTo>
                    <a:pt x="107" y="665"/>
                  </a:lnTo>
                  <a:lnTo>
                    <a:pt x="107" y="665"/>
                  </a:lnTo>
                  <a:lnTo>
                    <a:pt x="108" y="665"/>
                  </a:lnTo>
                  <a:lnTo>
                    <a:pt x="108" y="665"/>
                  </a:lnTo>
                  <a:lnTo>
                    <a:pt x="110" y="668"/>
                  </a:lnTo>
                  <a:lnTo>
                    <a:pt x="111" y="663"/>
                  </a:lnTo>
                  <a:lnTo>
                    <a:pt x="111" y="663"/>
                  </a:lnTo>
                  <a:lnTo>
                    <a:pt x="110" y="660"/>
                  </a:lnTo>
                  <a:lnTo>
                    <a:pt x="110" y="657"/>
                  </a:lnTo>
                  <a:lnTo>
                    <a:pt x="110" y="657"/>
                  </a:lnTo>
                  <a:lnTo>
                    <a:pt x="110" y="655"/>
                  </a:lnTo>
                  <a:lnTo>
                    <a:pt x="110" y="657"/>
                  </a:lnTo>
                  <a:lnTo>
                    <a:pt x="110" y="657"/>
                  </a:lnTo>
                  <a:lnTo>
                    <a:pt x="108" y="643"/>
                  </a:lnTo>
                  <a:lnTo>
                    <a:pt x="110" y="637"/>
                  </a:lnTo>
                  <a:lnTo>
                    <a:pt x="110" y="635"/>
                  </a:lnTo>
                  <a:lnTo>
                    <a:pt x="111" y="635"/>
                  </a:lnTo>
                  <a:lnTo>
                    <a:pt x="111" y="635"/>
                  </a:lnTo>
                  <a:lnTo>
                    <a:pt x="111" y="633"/>
                  </a:lnTo>
                  <a:lnTo>
                    <a:pt x="110" y="630"/>
                  </a:lnTo>
                  <a:lnTo>
                    <a:pt x="110" y="630"/>
                  </a:lnTo>
                  <a:lnTo>
                    <a:pt x="111" y="628"/>
                  </a:lnTo>
                  <a:lnTo>
                    <a:pt x="111" y="630"/>
                  </a:lnTo>
                  <a:lnTo>
                    <a:pt x="112" y="634"/>
                  </a:lnTo>
                  <a:lnTo>
                    <a:pt x="112" y="634"/>
                  </a:lnTo>
                  <a:lnTo>
                    <a:pt x="112" y="627"/>
                  </a:lnTo>
                  <a:lnTo>
                    <a:pt x="112" y="625"/>
                  </a:lnTo>
                  <a:lnTo>
                    <a:pt x="111" y="625"/>
                  </a:lnTo>
                  <a:lnTo>
                    <a:pt x="111" y="625"/>
                  </a:lnTo>
                  <a:lnTo>
                    <a:pt x="111" y="620"/>
                  </a:lnTo>
                  <a:lnTo>
                    <a:pt x="111" y="615"/>
                  </a:lnTo>
                  <a:lnTo>
                    <a:pt x="111" y="613"/>
                  </a:lnTo>
                  <a:lnTo>
                    <a:pt x="111" y="613"/>
                  </a:lnTo>
                  <a:lnTo>
                    <a:pt x="111" y="613"/>
                  </a:lnTo>
                  <a:lnTo>
                    <a:pt x="111" y="614"/>
                  </a:lnTo>
                  <a:lnTo>
                    <a:pt x="112" y="615"/>
                  </a:lnTo>
                  <a:lnTo>
                    <a:pt x="112" y="615"/>
                  </a:lnTo>
                  <a:lnTo>
                    <a:pt x="112" y="615"/>
                  </a:lnTo>
                  <a:lnTo>
                    <a:pt x="114" y="613"/>
                  </a:lnTo>
                  <a:lnTo>
                    <a:pt x="112" y="608"/>
                  </a:lnTo>
                  <a:lnTo>
                    <a:pt x="112" y="608"/>
                  </a:lnTo>
                  <a:lnTo>
                    <a:pt x="114" y="606"/>
                  </a:lnTo>
                  <a:lnTo>
                    <a:pt x="114" y="606"/>
                  </a:lnTo>
                  <a:lnTo>
                    <a:pt x="115" y="606"/>
                  </a:lnTo>
                  <a:lnTo>
                    <a:pt x="115" y="606"/>
                  </a:lnTo>
                  <a:lnTo>
                    <a:pt x="114" y="603"/>
                  </a:lnTo>
                  <a:lnTo>
                    <a:pt x="114" y="603"/>
                  </a:lnTo>
                  <a:lnTo>
                    <a:pt x="114" y="604"/>
                  </a:lnTo>
                  <a:lnTo>
                    <a:pt x="114" y="604"/>
                  </a:lnTo>
                  <a:lnTo>
                    <a:pt x="114" y="598"/>
                  </a:lnTo>
                  <a:lnTo>
                    <a:pt x="115" y="593"/>
                  </a:lnTo>
                  <a:lnTo>
                    <a:pt x="115" y="593"/>
                  </a:lnTo>
                  <a:lnTo>
                    <a:pt x="114" y="593"/>
                  </a:lnTo>
                  <a:lnTo>
                    <a:pt x="114" y="593"/>
                  </a:lnTo>
                  <a:lnTo>
                    <a:pt x="114" y="593"/>
                  </a:lnTo>
                  <a:lnTo>
                    <a:pt x="114" y="586"/>
                  </a:lnTo>
                  <a:lnTo>
                    <a:pt x="114" y="586"/>
                  </a:lnTo>
                  <a:lnTo>
                    <a:pt x="115" y="587"/>
                  </a:lnTo>
                  <a:lnTo>
                    <a:pt x="115" y="587"/>
                  </a:lnTo>
                  <a:lnTo>
                    <a:pt x="115" y="580"/>
                  </a:lnTo>
                  <a:lnTo>
                    <a:pt x="115" y="574"/>
                  </a:lnTo>
                  <a:lnTo>
                    <a:pt x="115" y="574"/>
                  </a:lnTo>
                  <a:lnTo>
                    <a:pt x="118" y="561"/>
                  </a:lnTo>
                  <a:lnTo>
                    <a:pt x="118" y="561"/>
                  </a:lnTo>
                  <a:lnTo>
                    <a:pt x="118" y="561"/>
                  </a:lnTo>
                  <a:lnTo>
                    <a:pt x="118" y="563"/>
                  </a:lnTo>
                  <a:lnTo>
                    <a:pt x="118" y="566"/>
                  </a:lnTo>
                  <a:lnTo>
                    <a:pt x="118" y="566"/>
                  </a:lnTo>
                  <a:lnTo>
                    <a:pt x="120" y="561"/>
                  </a:lnTo>
                  <a:lnTo>
                    <a:pt x="120" y="557"/>
                  </a:lnTo>
                  <a:lnTo>
                    <a:pt x="120" y="557"/>
                  </a:lnTo>
                  <a:lnTo>
                    <a:pt x="120" y="563"/>
                  </a:lnTo>
                  <a:lnTo>
                    <a:pt x="118" y="568"/>
                  </a:lnTo>
                  <a:lnTo>
                    <a:pt x="118" y="568"/>
                  </a:lnTo>
                  <a:lnTo>
                    <a:pt x="120" y="573"/>
                  </a:lnTo>
                  <a:lnTo>
                    <a:pt x="118" y="577"/>
                  </a:lnTo>
                  <a:lnTo>
                    <a:pt x="118" y="577"/>
                  </a:lnTo>
                  <a:lnTo>
                    <a:pt x="117" y="583"/>
                  </a:lnTo>
                  <a:lnTo>
                    <a:pt x="117" y="583"/>
                  </a:lnTo>
                  <a:lnTo>
                    <a:pt x="118" y="588"/>
                  </a:lnTo>
                  <a:lnTo>
                    <a:pt x="118" y="588"/>
                  </a:lnTo>
                  <a:lnTo>
                    <a:pt x="118" y="583"/>
                  </a:lnTo>
                  <a:lnTo>
                    <a:pt x="118" y="583"/>
                  </a:lnTo>
                  <a:lnTo>
                    <a:pt x="118" y="578"/>
                  </a:lnTo>
                  <a:lnTo>
                    <a:pt x="118" y="578"/>
                  </a:lnTo>
                  <a:lnTo>
                    <a:pt x="120" y="570"/>
                  </a:lnTo>
                  <a:lnTo>
                    <a:pt x="120" y="570"/>
                  </a:lnTo>
                  <a:lnTo>
                    <a:pt x="122" y="554"/>
                  </a:lnTo>
                  <a:lnTo>
                    <a:pt x="122" y="554"/>
                  </a:lnTo>
                  <a:lnTo>
                    <a:pt x="121" y="554"/>
                  </a:lnTo>
                  <a:lnTo>
                    <a:pt x="121" y="554"/>
                  </a:lnTo>
                  <a:lnTo>
                    <a:pt x="120" y="557"/>
                  </a:lnTo>
                  <a:lnTo>
                    <a:pt x="120" y="557"/>
                  </a:lnTo>
                  <a:lnTo>
                    <a:pt x="121" y="554"/>
                  </a:lnTo>
                  <a:lnTo>
                    <a:pt x="122" y="551"/>
                  </a:lnTo>
                  <a:lnTo>
                    <a:pt x="122" y="550"/>
                  </a:lnTo>
                  <a:lnTo>
                    <a:pt x="124" y="546"/>
                  </a:lnTo>
                  <a:lnTo>
                    <a:pt x="124" y="546"/>
                  </a:lnTo>
                  <a:lnTo>
                    <a:pt x="121" y="551"/>
                  </a:lnTo>
                  <a:lnTo>
                    <a:pt x="121" y="551"/>
                  </a:lnTo>
                  <a:lnTo>
                    <a:pt x="121" y="548"/>
                  </a:lnTo>
                  <a:lnTo>
                    <a:pt x="121" y="547"/>
                  </a:lnTo>
                  <a:lnTo>
                    <a:pt x="122" y="546"/>
                  </a:lnTo>
                  <a:lnTo>
                    <a:pt x="121" y="543"/>
                  </a:lnTo>
                  <a:lnTo>
                    <a:pt x="121" y="543"/>
                  </a:lnTo>
                  <a:lnTo>
                    <a:pt x="122" y="543"/>
                  </a:lnTo>
                  <a:lnTo>
                    <a:pt x="122" y="543"/>
                  </a:lnTo>
                  <a:lnTo>
                    <a:pt x="122" y="544"/>
                  </a:lnTo>
                  <a:lnTo>
                    <a:pt x="122" y="544"/>
                  </a:lnTo>
                  <a:lnTo>
                    <a:pt x="124" y="543"/>
                  </a:lnTo>
                  <a:lnTo>
                    <a:pt x="124" y="540"/>
                  </a:lnTo>
                  <a:lnTo>
                    <a:pt x="124" y="540"/>
                  </a:lnTo>
                  <a:lnTo>
                    <a:pt x="124" y="536"/>
                  </a:lnTo>
                  <a:lnTo>
                    <a:pt x="125" y="528"/>
                  </a:lnTo>
                  <a:lnTo>
                    <a:pt x="130" y="514"/>
                  </a:lnTo>
                  <a:lnTo>
                    <a:pt x="130" y="514"/>
                  </a:lnTo>
                  <a:lnTo>
                    <a:pt x="130" y="514"/>
                  </a:lnTo>
                  <a:lnTo>
                    <a:pt x="130" y="517"/>
                  </a:lnTo>
                  <a:lnTo>
                    <a:pt x="128" y="518"/>
                  </a:lnTo>
                  <a:lnTo>
                    <a:pt x="128" y="520"/>
                  </a:lnTo>
                  <a:lnTo>
                    <a:pt x="128" y="520"/>
                  </a:lnTo>
                  <a:lnTo>
                    <a:pt x="131" y="511"/>
                  </a:lnTo>
                  <a:lnTo>
                    <a:pt x="131" y="511"/>
                  </a:lnTo>
                  <a:lnTo>
                    <a:pt x="132" y="501"/>
                  </a:lnTo>
                  <a:lnTo>
                    <a:pt x="132" y="501"/>
                  </a:lnTo>
                  <a:lnTo>
                    <a:pt x="135" y="491"/>
                  </a:lnTo>
                  <a:lnTo>
                    <a:pt x="138" y="483"/>
                  </a:lnTo>
                  <a:lnTo>
                    <a:pt x="138" y="483"/>
                  </a:lnTo>
                  <a:lnTo>
                    <a:pt x="140" y="484"/>
                  </a:lnTo>
                  <a:lnTo>
                    <a:pt x="140" y="486"/>
                  </a:lnTo>
                  <a:lnTo>
                    <a:pt x="140" y="486"/>
                  </a:lnTo>
                  <a:lnTo>
                    <a:pt x="141" y="484"/>
                  </a:lnTo>
                  <a:lnTo>
                    <a:pt x="141" y="481"/>
                  </a:lnTo>
                  <a:lnTo>
                    <a:pt x="140" y="480"/>
                  </a:lnTo>
                  <a:lnTo>
                    <a:pt x="140" y="480"/>
                  </a:lnTo>
                  <a:lnTo>
                    <a:pt x="141" y="477"/>
                  </a:lnTo>
                  <a:lnTo>
                    <a:pt x="141" y="477"/>
                  </a:lnTo>
                  <a:lnTo>
                    <a:pt x="142" y="477"/>
                  </a:lnTo>
                  <a:lnTo>
                    <a:pt x="144" y="474"/>
                  </a:lnTo>
                  <a:lnTo>
                    <a:pt x="144" y="474"/>
                  </a:lnTo>
                  <a:lnTo>
                    <a:pt x="144" y="473"/>
                  </a:lnTo>
                  <a:lnTo>
                    <a:pt x="142" y="474"/>
                  </a:lnTo>
                  <a:lnTo>
                    <a:pt x="142" y="476"/>
                  </a:lnTo>
                  <a:lnTo>
                    <a:pt x="141" y="474"/>
                  </a:lnTo>
                  <a:lnTo>
                    <a:pt x="141" y="474"/>
                  </a:lnTo>
                  <a:lnTo>
                    <a:pt x="144" y="468"/>
                  </a:lnTo>
                  <a:lnTo>
                    <a:pt x="144" y="468"/>
                  </a:lnTo>
                  <a:lnTo>
                    <a:pt x="145" y="463"/>
                  </a:lnTo>
                  <a:lnTo>
                    <a:pt x="145" y="463"/>
                  </a:lnTo>
                  <a:lnTo>
                    <a:pt x="147" y="457"/>
                  </a:lnTo>
                  <a:lnTo>
                    <a:pt x="150" y="453"/>
                  </a:lnTo>
                  <a:lnTo>
                    <a:pt x="150" y="453"/>
                  </a:lnTo>
                  <a:lnTo>
                    <a:pt x="150" y="450"/>
                  </a:lnTo>
                  <a:lnTo>
                    <a:pt x="150" y="447"/>
                  </a:lnTo>
                  <a:lnTo>
                    <a:pt x="152" y="441"/>
                  </a:lnTo>
                  <a:lnTo>
                    <a:pt x="152" y="441"/>
                  </a:lnTo>
                  <a:lnTo>
                    <a:pt x="154" y="440"/>
                  </a:lnTo>
                  <a:lnTo>
                    <a:pt x="155" y="439"/>
                  </a:lnTo>
                  <a:lnTo>
                    <a:pt x="155" y="439"/>
                  </a:lnTo>
                  <a:lnTo>
                    <a:pt x="158" y="430"/>
                  </a:lnTo>
                  <a:lnTo>
                    <a:pt x="161" y="421"/>
                  </a:lnTo>
                  <a:lnTo>
                    <a:pt x="161" y="421"/>
                  </a:lnTo>
                  <a:lnTo>
                    <a:pt x="162" y="421"/>
                  </a:lnTo>
                  <a:lnTo>
                    <a:pt x="161" y="424"/>
                  </a:lnTo>
                  <a:lnTo>
                    <a:pt x="159" y="429"/>
                  </a:lnTo>
                  <a:lnTo>
                    <a:pt x="159" y="429"/>
                  </a:lnTo>
                  <a:lnTo>
                    <a:pt x="164" y="421"/>
                  </a:lnTo>
                  <a:lnTo>
                    <a:pt x="164" y="421"/>
                  </a:lnTo>
                  <a:lnTo>
                    <a:pt x="165" y="413"/>
                  </a:lnTo>
                  <a:lnTo>
                    <a:pt x="165" y="413"/>
                  </a:lnTo>
                  <a:lnTo>
                    <a:pt x="167" y="411"/>
                  </a:lnTo>
                  <a:lnTo>
                    <a:pt x="167" y="413"/>
                  </a:lnTo>
                  <a:lnTo>
                    <a:pt x="168" y="413"/>
                  </a:lnTo>
                  <a:lnTo>
                    <a:pt x="168" y="411"/>
                  </a:lnTo>
                  <a:lnTo>
                    <a:pt x="168" y="411"/>
                  </a:lnTo>
                  <a:lnTo>
                    <a:pt x="168" y="416"/>
                  </a:lnTo>
                  <a:lnTo>
                    <a:pt x="167" y="417"/>
                  </a:lnTo>
                  <a:lnTo>
                    <a:pt x="167" y="419"/>
                  </a:lnTo>
                  <a:lnTo>
                    <a:pt x="167" y="419"/>
                  </a:lnTo>
                  <a:lnTo>
                    <a:pt x="174" y="404"/>
                  </a:lnTo>
                  <a:lnTo>
                    <a:pt x="174" y="404"/>
                  </a:lnTo>
                  <a:lnTo>
                    <a:pt x="175" y="400"/>
                  </a:lnTo>
                  <a:lnTo>
                    <a:pt x="175" y="400"/>
                  </a:lnTo>
                  <a:lnTo>
                    <a:pt x="177" y="397"/>
                  </a:lnTo>
                  <a:lnTo>
                    <a:pt x="177" y="397"/>
                  </a:lnTo>
                  <a:lnTo>
                    <a:pt x="178" y="390"/>
                  </a:lnTo>
                  <a:lnTo>
                    <a:pt x="178" y="390"/>
                  </a:lnTo>
                  <a:lnTo>
                    <a:pt x="179" y="389"/>
                  </a:lnTo>
                  <a:lnTo>
                    <a:pt x="181" y="390"/>
                  </a:lnTo>
                  <a:lnTo>
                    <a:pt x="181" y="391"/>
                  </a:lnTo>
                  <a:lnTo>
                    <a:pt x="181" y="391"/>
                  </a:lnTo>
                  <a:lnTo>
                    <a:pt x="185" y="384"/>
                  </a:lnTo>
                  <a:lnTo>
                    <a:pt x="185" y="384"/>
                  </a:lnTo>
                  <a:lnTo>
                    <a:pt x="188" y="377"/>
                  </a:lnTo>
                  <a:lnTo>
                    <a:pt x="188" y="377"/>
                  </a:lnTo>
                  <a:lnTo>
                    <a:pt x="198" y="366"/>
                  </a:lnTo>
                  <a:lnTo>
                    <a:pt x="198" y="366"/>
                  </a:lnTo>
                  <a:lnTo>
                    <a:pt x="198" y="363"/>
                  </a:lnTo>
                  <a:lnTo>
                    <a:pt x="201" y="360"/>
                  </a:lnTo>
                  <a:lnTo>
                    <a:pt x="201" y="360"/>
                  </a:lnTo>
                  <a:lnTo>
                    <a:pt x="204" y="356"/>
                  </a:lnTo>
                  <a:lnTo>
                    <a:pt x="204" y="356"/>
                  </a:lnTo>
                  <a:lnTo>
                    <a:pt x="204" y="356"/>
                  </a:lnTo>
                  <a:lnTo>
                    <a:pt x="204" y="356"/>
                  </a:lnTo>
                  <a:lnTo>
                    <a:pt x="202" y="356"/>
                  </a:lnTo>
                  <a:lnTo>
                    <a:pt x="204" y="354"/>
                  </a:lnTo>
                  <a:lnTo>
                    <a:pt x="204" y="354"/>
                  </a:lnTo>
                  <a:lnTo>
                    <a:pt x="208" y="349"/>
                  </a:lnTo>
                  <a:lnTo>
                    <a:pt x="212" y="341"/>
                  </a:lnTo>
                  <a:lnTo>
                    <a:pt x="212" y="341"/>
                  </a:lnTo>
                  <a:lnTo>
                    <a:pt x="217" y="336"/>
                  </a:lnTo>
                  <a:lnTo>
                    <a:pt x="217" y="336"/>
                  </a:lnTo>
                  <a:lnTo>
                    <a:pt x="218" y="334"/>
                  </a:lnTo>
                  <a:lnTo>
                    <a:pt x="219" y="334"/>
                  </a:lnTo>
                  <a:lnTo>
                    <a:pt x="219" y="334"/>
                  </a:lnTo>
                  <a:lnTo>
                    <a:pt x="225" y="327"/>
                  </a:lnTo>
                  <a:lnTo>
                    <a:pt x="225" y="327"/>
                  </a:lnTo>
                  <a:lnTo>
                    <a:pt x="231" y="319"/>
                  </a:lnTo>
                  <a:lnTo>
                    <a:pt x="231" y="319"/>
                  </a:lnTo>
                  <a:lnTo>
                    <a:pt x="237" y="311"/>
                  </a:lnTo>
                  <a:lnTo>
                    <a:pt x="241" y="306"/>
                  </a:lnTo>
                  <a:lnTo>
                    <a:pt x="241" y="306"/>
                  </a:lnTo>
                  <a:lnTo>
                    <a:pt x="245" y="303"/>
                  </a:lnTo>
                  <a:lnTo>
                    <a:pt x="245" y="303"/>
                  </a:lnTo>
                  <a:lnTo>
                    <a:pt x="248" y="300"/>
                  </a:lnTo>
                  <a:lnTo>
                    <a:pt x="248" y="300"/>
                  </a:lnTo>
                  <a:lnTo>
                    <a:pt x="251" y="296"/>
                  </a:lnTo>
                  <a:lnTo>
                    <a:pt x="255" y="294"/>
                  </a:lnTo>
                  <a:lnTo>
                    <a:pt x="255" y="294"/>
                  </a:lnTo>
                  <a:lnTo>
                    <a:pt x="258" y="289"/>
                  </a:lnTo>
                  <a:lnTo>
                    <a:pt x="262" y="283"/>
                  </a:lnTo>
                  <a:lnTo>
                    <a:pt x="262" y="283"/>
                  </a:lnTo>
                  <a:lnTo>
                    <a:pt x="264" y="283"/>
                  </a:lnTo>
                  <a:lnTo>
                    <a:pt x="265" y="283"/>
                  </a:lnTo>
                  <a:lnTo>
                    <a:pt x="265" y="283"/>
                  </a:lnTo>
                  <a:lnTo>
                    <a:pt x="276" y="272"/>
                  </a:lnTo>
                  <a:lnTo>
                    <a:pt x="276" y="272"/>
                  </a:lnTo>
                  <a:lnTo>
                    <a:pt x="284" y="266"/>
                  </a:lnTo>
                  <a:lnTo>
                    <a:pt x="289" y="260"/>
                  </a:lnTo>
                  <a:lnTo>
                    <a:pt x="295" y="254"/>
                  </a:lnTo>
                  <a:lnTo>
                    <a:pt x="295" y="254"/>
                  </a:lnTo>
                  <a:lnTo>
                    <a:pt x="298" y="252"/>
                  </a:lnTo>
                  <a:lnTo>
                    <a:pt x="302" y="250"/>
                  </a:lnTo>
                  <a:lnTo>
                    <a:pt x="302" y="250"/>
                  </a:lnTo>
                  <a:lnTo>
                    <a:pt x="315" y="240"/>
                  </a:lnTo>
                  <a:lnTo>
                    <a:pt x="315" y="240"/>
                  </a:lnTo>
                  <a:lnTo>
                    <a:pt x="315" y="239"/>
                  </a:lnTo>
                  <a:lnTo>
                    <a:pt x="314" y="240"/>
                  </a:lnTo>
                  <a:lnTo>
                    <a:pt x="314" y="240"/>
                  </a:lnTo>
                  <a:lnTo>
                    <a:pt x="325" y="232"/>
                  </a:lnTo>
                  <a:lnTo>
                    <a:pt x="325" y="232"/>
                  </a:lnTo>
                  <a:lnTo>
                    <a:pt x="335" y="224"/>
                  </a:lnTo>
                  <a:lnTo>
                    <a:pt x="338" y="223"/>
                  </a:lnTo>
                  <a:lnTo>
                    <a:pt x="341" y="222"/>
                  </a:lnTo>
                  <a:lnTo>
                    <a:pt x="341" y="222"/>
                  </a:lnTo>
                  <a:lnTo>
                    <a:pt x="346" y="217"/>
                  </a:lnTo>
                  <a:lnTo>
                    <a:pt x="346" y="217"/>
                  </a:lnTo>
                  <a:lnTo>
                    <a:pt x="358" y="210"/>
                  </a:lnTo>
                  <a:lnTo>
                    <a:pt x="358" y="210"/>
                  </a:lnTo>
                  <a:lnTo>
                    <a:pt x="361" y="207"/>
                  </a:lnTo>
                  <a:lnTo>
                    <a:pt x="363" y="207"/>
                  </a:lnTo>
                  <a:lnTo>
                    <a:pt x="369" y="204"/>
                  </a:lnTo>
                  <a:lnTo>
                    <a:pt x="369" y="204"/>
                  </a:lnTo>
                  <a:lnTo>
                    <a:pt x="369" y="203"/>
                  </a:lnTo>
                  <a:lnTo>
                    <a:pt x="369" y="203"/>
                  </a:lnTo>
                  <a:lnTo>
                    <a:pt x="369" y="203"/>
                  </a:lnTo>
                  <a:lnTo>
                    <a:pt x="378" y="199"/>
                  </a:lnTo>
                  <a:lnTo>
                    <a:pt x="378" y="199"/>
                  </a:lnTo>
                  <a:lnTo>
                    <a:pt x="382" y="196"/>
                  </a:lnTo>
                  <a:lnTo>
                    <a:pt x="382" y="196"/>
                  </a:lnTo>
                  <a:lnTo>
                    <a:pt x="386" y="193"/>
                  </a:lnTo>
                  <a:lnTo>
                    <a:pt x="386" y="193"/>
                  </a:lnTo>
                  <a:lnTo>
                    <a:pt x="392" y="193"/>
                  </a:lnTo>
                  <a:lnTo>
                    <a:pt x="392" y="193"/>
                  </a:lnTo>
                  <a:lnTo>
                    <a:pt x="405" y="186"/>
                  </a:lnTo>
                  <a:lnTo>
                    <a:pt x="405" y="186"/>
                  </a:lnTo>
                  <a:lnTo>
                    <a:pt x="418" y="180"/>
                  </a:lnTo>
                  <a:lnTo>
                    <a:pt x="418" y="180"/>
                  </a:lnTo>
                  <a:lnTo>
                    <a:pt x="431" y="174"/>
                  </a:lnTo>
                  <a:lnTo>
                    <a:pt x="443" y="170"/>
                  </a:lnTo>
                  <a:lnTo>
                    <a:pt x="443" y="170"/>
                  </a:lnTo>
                  <a:lnTo>
                    <a:pt x="445" y="169"/>
                  </a:lnTo>
                  <a:lnTo>
                    <a:pt x="445" y="169"/>
                  </a:lnTo>
                  <a:lnTo>
                    <a:pt x="490" y="154"/>
                  </a:lnTo>
                  <a:lnTo>
                    <a:pt x="515" y="149"/>
                  </a:lnTo>
                  <a:lnTo>
                    <a:pt x="537" y="144"/>
                  </a:lnTo>
                  <a:lnTo>
                    <a:pt x="537" y="144"/>
                  </a:lnTo>
                  <a:lnTo>
                    <a:pt x="540" y="144"/>
                  </a:lnTo>
                  <a:lnTo>
                    <a:pt x="540" y="144"/>
                  </a:lnTo>
                  <a:lnTo>
                    <a:pt x="545" y="143"/>
                  </a:lnTo>
                  <a:lnTo>
                    <a:pt x="545" y="143"/>
                  </a:lnTo>
                  <a:lnTo>
                    <a:pt x="555" y="142"/>
                  </a:lnTo>
                  <a:lnTo>
                    <a:pt x="555" y="142"/>
                  </a:lnTo>
                  <a:lnTo>
                    <a:pt x="562" y="142"/>
                  </a:lnTo>
                  <a:lnTo>
                    <a:pt x="562" y="142"/>
                  </a:lnTo>
                  <a:lnTo>
                    <a:pt x="565" y="142"/>
                  </a:lnTo>
                  <a:lnTo>
                    <a:pt x="565" y="142"/>
                  </a:lnTo>
                  <a:lnTo>
                    <a:pt x="567" y="140"/>
                  </a:lnTo>
                  <a:lnTo>
                    <a:pt x="567" y="140"/>
                  </a:lnTo>
                  <a:lnTo>
                    <a:pt x="579" y="140"/>
                  </a:lnTo>
                  <a:lnTo>
                    <a:pt x="579" y="140"/>
                  </a:lnTo>
                  <a:lnTo>
                    <a:pt x="589" y="139"/>
                  </a:lnTo>
                  <a:lnTo>
                    <a:pt x="589" y="139"/>
                  </a:lnTo>
                  <a:lnTo>
                    <a:pt x="597" y="140"/>
                  </a:lnTo>
                  <a:lnTo>
                    <a:pt x="597" y="140"/>
                  </a:lnTo>
                  <a:lnTo>
                    <a:pt x="602" y="139"/>
                  </a:lnTo>
                  <a:lnTo>
                    <a:pt x="602" y="139"/>
                  </a:lnTo>
                  <a:lnTo>
                    <a:pt x="606" y="139"/>
                  </a:lnTo>
                  <a:lnTo>
                    <a:pt x="610" y="139"/>
                  </a:lnTo>
                  <a:lnTo>
                    <a:pt x="610" y="139"/>
                  </a:lnTo>
                  <a:lnTo>
                    <a:pt x="615" y="139"/>
                  </a:lnTo>
                  <a:lnTo>
                    <a:pt x="620" y="140"/>
                  </a:lnTo>
                  <a:lnTo>
                    <a:pt x="620" y="140"/>
                  </a:lnTo>
                  <a:lnTo>
                    <a:pt x="633" y="139"/>
                  </a:lnTo>
                  <a:lnTo>
                    <a:pt x="633" y="139"/>
                  </a:lnTo>
                  <a:lnTo>
                    <a:pt x="647" y="140"/>
                  </a:lnTo>
                  <a:lnTo>
                    <a:pt x="647" y="140"/>
                  </a:lnTo>
                  <a:lnTo>
                    <a:pt x="662" y="142"/>
                  </a:lnTo>
                  <a:lnTo>
                    <a:pt x="676" y="142"/>
                  </a:lnTo>
                  <a:lnTo>
                    <a:pt x="676" y="142"/>
                  </a:lnTo>
                  <a:lnTo>
                    <a:pt x="679" y="143"/>
                  </a:lnTo>
                  <a:lnTo>
                    <a:pt x="679" y="143"/>
                  </a:lnTo>
                  <a:lnTo>
                    <a:pt x="697" y="146"/>
                  </a:lnTo>
                  <a:lnTo>
                    <a:pt x="697" y="146"/>
                  </a:lnTo>
                  <a:lnTo>
                    <a:pt x="714" y="149"/>
                  </a:lnTo>
                  <a:lnTo>
                    <a:pt x="714" y="149"/>
                  </a:lnTo>
                  <a:lnTo>
                    <a:pt x="731" y="153"/>
                  </a:lnTo>
                  <a:lnTo>
                    <a:pt x="749" y="156"/>
                  </a:lnTo>
                  <a:lnTo>
                    <a:pt x="749" y="156"/>
                  </a:lnTo>
                  <a:lnTo>
                    <a:pt x="756" y="159"/>
                  </a:lnTo>
                  <a:lnTo>
                    <a:pt x="763" y="162"/>
                  </a:lnTo>
                  <a:lnTo>
                    <a:pt x="763" y="162"/>
                  </a:lnTo>
                  <a:lnTo>
                    <a:pt x="770" y="163"/>
                  </a:lnTo>
                  <a:lnTo>
                    <a:pt x="770" y="163"/>
                  </a:lnTo>
                  <a:lnTo>
                    <a:pt x="777" y="167"/>
                  </a:lnTo>
                  <a:lnTo>
                    <a:pt x="777" y="167"/>
                  </a:lnTo>
                  <a:lnTo>
                    <a:pt x="783" y="167"/>
                  </a:lnTo>
                  <a:lnTo>
                    <a:pt x="787" y="169"/>
                  </a:lnTo>
                  <a:lnTo>
                    <a:pt x="787" y="169"/>
                  </a:lnTo>
                  <a:lnTo>
                    <a:pt x="796" y="172"/>
                  </a:lnTo>
                  <a:lnTo>
                    <a:pt x="796" y="172"/>
                  </a:lnTo>
                  <a:lnTo>
                    <a:pt x="818" y="183"/>
                  </a:lnTo>
                  <a:lnTo>
                    <a:pt x="841" y="193"/>
                  </a:lnTo>
                  <a:lnTo>
                    <a:pt x="841" y="193"/>
                  </a:lnTo>
                  <a:lnTo>
                    <a:pt x="854" y="200"/>
                  </a:lnTo>
                  <a:lnTo>
                    <a:pt x="854" y="200"/>
                  </a:lnTo>
                  <a:lnTo>
                    <a:pt x="866" y="207"/>
                  </a:lnTo>
                  <a:lnTo>
                    <a:pt x="873" y="212"/>
                  </a:lnTo>
                  <a:lnTo>
                    <a:pt x="873" y="212"/>
                  </a:lnTo>
                  <a:lnTo>
                    <a:pt x="876" y="213"/>
                  </a:lnTo>
                  <a:lnTo>
                    <a:pt x="878" y="214"/>
                  </a:lnTo>
                  <a:lnTo>
                    <a:pt x="890" y="223"/>
                  </a:lnTo>
                  <a:lnTo>
                    <a:pt x="890" y="223"/>
                  </a:lnTo>
                  <a:lnTo>
                    <a:pt x="903" y="230"/>
                  </a:lnTo>
                  <a:lnTo>
                    <a:pt x="914" y="239"/>
                  </a:lnTo>
                  <a:lnTo>
                    <a:pt x="914" y="239"/>
                  </a:lnTo>
                  <a:lnTo>
                    <a:pt x="924" y="247"/>
                  </a:lnTo>
                  <a:lnTo>
                    <a:pt x="924" y="247"/>
                  </a:lnTo>
                  <a:lnTo>
                    <a:pt x="935" y="257"/>
                  </a:lnTo>
                  <a:lnTo>
                    <a:pt x="938" y="259"/>
                  </a:lnTo>
                  <a:lnTo>
                    <a:pt x="938" y="259"/>
                  </a:lnTo>
                  <a:lnTo>
                    <a:pt x="940" y="260"/>
                  </a:lnTo>
                  <a:lnTo>
                    <a:pt x="938" y="260"/>
                  </a:lnTo>
                  <a:lnTo>
                    <a:pt x="938" y="260"/>
                  </a:lnTo>
                  <a:lnTo>
                    <a:pt x="950" y="269"/>
                  </a:lnTo>
                  <a:lnTo>
                    <a:pt x="950" y="269"/>
                  </a:lnTo>
                  <a:lnTo>
                    <a:pt x="960" y="277"/>
                  </a:lnTo>
                  <a:lnTo>
                    <a:pt x="960" y="277"/>
                  </a:lnTo>
                  <a:lnTo>
                    <a:pt x="970" y="287"/>
                  </a:lnTo>
                  <a:lnTo>
                    <a:pt x="970" y="287"/>
                  </a:lnTo>
                  <a:lnTo>
                    <a:pt x="980" y="297"/>
                  </a:lnTo>
                  <a:lnTo>
                    <a:pt x="980" y="297"/>
                  </a:lnTo>
                  <a:lnTo>
                    <a:pt x="981" y="301"/>
                  </a:lnTo>
                  <a:lnTo>
                    <a:pt x="981" y="301"/>
                  </a:lnTo>
                  <a:lnTo>
                    <a:pt x="984" y="303"/>
                  </a:lnTo>
                  <a:lnTo>
                    <a:pt x="984" y="303"/>
                  </a:lnTo>
                  <a:lnTo>
                    <a:pt x="984" y="303"/>
                  </a:lnTo>
                  <a:lnTo>
                    <a:pt x="987" y="306"/>
                  </a:lnTo>
                  <a:lnTo>
                    <a:pt x="987" y="306"/>
                  </a:lnTo>
                  <a:lnTo>
                    <a:pt x="985" y="306"/>
                  </a:lnTo>
                  <a:lnTo>
                    <a:pt x="984" y="304"/>
                  </a:lnTo>
                  <a:lnTo>
                    <a:pt x="984" y="304"/>
                  </a:lnTo>
                  <a:lnTo>
                    <a:pt x="987" y="307"/>
                  </a:lnTo>
                  <a:lnTo>
                    <a:pt x="988" y="309"/>
                  </a:lnTo>
                  <a:lnTo>
                    <a:pt x="988" y="309"/>
                  </a:lnTo>
                  <a:lnTo>
                    <a:pt x="1005" y="330"/>
                  </a:lnTo>
                  <a:lnTo>
                    <a:pt x="1022" y="353"/>
                  </a:lnTo>
                  <a:lnTo>
                    <a:pt x="1037" y="377"/>
                  </a:lnTo>
                  <a:lnTo>
                    <a:pt x="1051" y="400"/>
                  </a:lnTo>
                  <a:lnTo>
                    <a:pt x="1051" y="400"/>
                  </a:lnTo>
                  <a:lnTo>
                    <a:pt x="1054" y="407"/>
                  </a:lnTo>
                  <a:lnTo>
                    <a:pt x="1057" y="413"/>
                  </a:lnTo>
                  <a:lnTo>
                    <a:pt x="1062" y="426"/>
                  </a:lnTo>
                  <a:lnTo>
                    <a:pt x="1062" y="426"/>
                  </a:lnTo>
                  <a:lnTo>
                    <a:pt x="1065" y="431"/>
                  </a:lnTo>
                  <a:lnTo>
                    <a:pt x="1068" y="439"/>
                  </a:lnTo>
                  <a:lnTo>
                    <a:pt x="1068" y="439"/>
                  </a:lnTo>
                  <a:lnTo>
                    <a:pt x="1074" y="451"/>
                  </a:lnTo>
                  <a:lnTo>
                    <a:pt x="1079" y="464"/>
                  </a:lnTo>
                  <a:lnTo>
                    <a:pt x="1079" y="464"/>
                  </a:lnTo>
                  <a:lnTo>
                    <a:pt x="1084" y="477"/>
                  </a:lnTo>
                  <a:lnTo>
                    <a:pt x="1088" y="490"/>
                  </a:lnTo>
                  <a:lnTo>
                    <a:pt x="1088" y="490"/>
                  </a:lnTo>
                  <a:lnTo>
                    <a:pt x="1089" y="497"/>
                  </a:lnTo>
                  <a:lnTo>
                    <a:pt x="1091" y="503"/>
                  </a:lnTo>
                  <a:lnTo>
                    <a:pt x="1091" y="503"/>
                  </a:lnTo>
                  <a:lnTo>
                    <a:pt x="1098" y="530"/>
                  </a:lnTo>
                  <a:lnTo>
                    <a:pt x="1104" y="557"/>
                  </a:lnTo>
                  <a:lnTo>
                    <a:pt x="1107" y="584"/>
                  </a:lnTo>
                  <a:lnTo>
                    <a:pt x="1108" y="613"/>
                  </a:lnTo>
                  <a:lnTo>
                    <a:pt x="1108" y="613"/>
                  </a:lnTo>
                  <a:lnTo>
                    <a:pt x="1108" y="640"/>
                  </a:lnTo>
                  <a:lnTo>
                    <a:pt x="1107" y="668"/>
                  </a:lnTo>
                  <a:lnTo>
                    <a:pt x="1104" y="697"/>
                  </a:lnTo>
                  <a:lnTo>
                    <a:pt x="1099" y="724"/>
                  </a:lnTo>
                  <a:lnTo>
                    <a:pt x="1099" y="724"/>
                  </a:lnTo>
                  <a:lnTo>
                    <a:pt x="1099" y="727"/>
                  </a:lnTo>
                  <a:lnTo>
                    <a:pt x="1099" y="727"/>
                  </a:lnTo>
                  <a:lnTo>
                    <a:pt x="1097" y="743"/>
                  </a:lnTo>
                  <a:lnTo>
                    <a:pt x="1097" y="743"/>
                  </a:lnTo>
                  <a:lnTo>
                    <a:pt x="1092" y="757"/>
                  </a:lnTo>
                  <a:lnTo>
                    <a:pt x="1092" y="757"/>
                  </a:lnTo>
                  <a:lnTo>
                    <a:pt x="1088" y="772"/>
                  </a:lnTo>
                  <a:lnTo>
                    <a:pt x="1088" y="772"/>
                  </a:lnTo>
                  <a:lnTo>
                    <a:pt x="1087" y="780"/>
                  </a:lnTo>
                  <a:lnTo>
                    <a:pt x="1087" y="780"/>
                  </a:lnTo>
                  <a:lnTo>
                    <a:pt x="1084" y="787"/>
                  </a:lnTo>
                  <a:lnTo>
                    <a:pt x="1084" y="787"/>
                  </a:lnTo>
                  <a:lnTo>
                    <a:pt x="1082" y="791"/>
                  </a:lnTo>
                  <a:lnTo>
                    <a:pt x="1082" y="792"/>
                  </a:lnTo>
                  <a:lnTo>
                    <a:pt x="1081" y="794"/>
                  </a:lnTo>
                  <a:lnTo>
                    <a:pt x="1081" y="794"/>
                  </a:lnTo>
                  <a:lnTo>
                    <a:pt x="1079" y="801"/>
                  </a:lnTo>
                  <a:lnTo>
                    <a:pt x="1075" y="810"/>
                  </a:lnTo>
                  <a:lnTo>
                    <a:pt x="1075" y="810"/>
                  </a:lnTo>
                  <a:lnTo>
                    <a:pt x="1075" y="814"/>
                  </a:lnTo>
                  <a:lnTo>
                    <a:pt x="1075" y="814"/>
                  </a:lnTo>
                  <a:lnTo>
                    <a:pt x="1071" y="824"/>
                  </a:lnTo>
                  <a:lnTo>
                    <a:pt x="1067" y="834"/>
                  </a:lnTo>
                  <a:lnTo>
                    <a:pt x="1067" y="834"/>
                  </a:lnTo>
                  <a:lnTo>
                    <a:pt x="1055" y="857"/>
                  </a:lnTo>
                  <a:lnTo>
                    <a:pt x="1051" y="862"/>
                  </a:lnTo>
                  <a:lnTo>
                    <a:pt x="1048" y="868"/>
                  </a:lnTo>
                  <a:lnTo>
                    <a:pt x="1042" y="880"/>
                  </a:lnTo>
                  <a:lnTo>
                    <a:pt x="1042" y="880"/>
                  </a:lnTo>
                  <a:lnTo>
                    <a:pt x="1035" y="891"/>
                  </a:lnTo>
                  <a:lnTo>
                    <a:pt x="1035" y="891"/>
                  </a:lnTo>
                  <a:lnTo>
                    <a:pt x="1028" y="901"/>
                  </a:lnTo>
                  <a:lnTo>
                    <a:pt x="1028" y="901"/>
                  </a:lnTo>
                  <a:lnTo>
                    <a:pt x="1024" y="907"/>
                  </a:lnTo>
                  <a:lnTo>
                    <a:pt x="1021" y="912"/>
                  </a:lnTo>
                  <a:lnTo>
                    <a:pt x="1021" y="912"/>
                  </a:lnTo>
                  <a:lnTo>
                    <a:pt x="1012" y="922"/>
                  </a:lnTo>
                  <a:lnTo>
                    <a:pt x="1012" y="922"/>
                  </a:lnTo>
                  <a:lnTo>
                    <a:pt x="1011" y="925"/>
                  </a:lnTo>
                  <a:lnTo>
                    <a:pt x="1011" y="925"/>
                  </a:lnTo>
                  <a:lnTo>
                    <a:pt x="1004" y="934"/>
                  </a:lnTo>
                  <a:lnTo>
                    <a:pt x="1000" y="941"/>
                  </a:lnTo>
                  <a:lnTo>
                    <a:pt x="1000" y="941"/>
                  </a:lnTo>
                  <a:lnTo>
                    <a:pt x="997" y="941"/>
                  </a:lnTo>
                  <a:lnTo>
                    <a:pt x="997" y="941"/>
                  </a:lnTo>
                  <a:lnTo>
                    <a:pt x="995" y="944"/>
                  </a:lnTo>
                  <a:lnTo>
                    <a:pt x="994" y="945"/>
                  </a:lnTo>
                  <a:lnTo>
                    <a:pt x="991" y="948"/>
                  </a:lnTo>
                  <a:lnTo>
                    <a:pt x="991" y="948"/>
                  </a:lnTo>
                  <a:lnTo>
                    <a:pt x="982" y="959"/>
                  </a:lnTo>
                  <a:lnTo>
                    <a:pt x="982" y="959"/>
                  </a:lnTo>
                  <a:lnTo>
                    <a:pt x="970" y="972"/>
                  </a:lnTo>
                  <a:lnTo>
                    <a:pt x="970" y="972"/>
                  </a:lnTo>
                  <a:lnTo>
                    <a:pt x="968" y="972"/>
                  </a:lnTo>
                  <a:lnTo>
                    <a:pt x="968" y="971"/>
                  </a:lnTo>
                  <a:lnTo>
                    <a:pt x="968" y="971"/>
                  </a:lnTo>
                  <a:lnTo>
                    <a:pt x="967" y="975"/>
                  </a:lnTo>
                  <a:lnTo>
                    <a:pt x="965" y="977"/>
                  </a:lnTo>
                  <a:lnTo>
                    <a:pt x="963" y="978"/>
                  </a:lnTo>
                  <a:lnTo>
                    <a:pt x="963" y="978"/>
                  </a:lnTo>
                  <a:lnTo>
                    <a:pt x="963" y="978"/>
                  </a:lnTo>
                  <a:lnTo>
                    <a:pt x="964" y="978"/>
                  </a:lnTo>
                  <a:lnTo>
                    <a:pt x="964" y="978"/>
                  </a:lnTo>
                  <a:lnTo>
                    <a:pt x="961" y="981"/>
                  </a:lnTo>
                  <a:lnTo>
                    <a:pt x="958" y="985"/>
                  </a:lnTo>
                  <a:lnTo>
                    <a:pt x="958" y="985"/>
                  </a:lnTo>
                  <a:lnTo>
                    <a:pt x="957" y="985"/>
                  </a:lnTo>
                  <a:lnTo>
                    <a:pt x="957" y="984"/>
                  </a:lnTo>
                  <a:lnTo>
                    <a:pt x="957" y="984"/>
                  </a:lnTo>
                  <a:lnTo>
                    <a:pt x="954" y="989"/>
                  </a:lnTo>
                  <a:lnTo>
                    <a:pt x="947" y="995"/>
                  </a:lnTo>
                  <a:lnTo>
                    <a:pt x="947" y="995"/>
                  </a:lnTo>
                  <a:lnTo>
                    <a:pt x="947" y="995"/>
                  </a:lnTo>
                  <a:lnTo>
                    <a:pt x="947" y="994"/>
                  </a:lnTo>
                  <a:lnTo>
                    <a:pt x="951" y="989"/>
                  </a:lnTo>
                  <a:lnTo>
                    <a:pt x="951" y="989"/>
                  </a:lnTo>
                  <a:lnTo>
                    <a:pt x="945" y="997"/>
                  </a:lnTo>
                  <a:lnTo>
                    <a:pt x="945" y="997"/>
                  </a:lnTo>
                  <a:lnTo>
                    <a:pt x="938" y="1002"/>
                  </a:lnTo>
                  <a:lnTo>
                    <a:pt x="933" y="1008"/>
                  </a:lnTo>
                  <a:lnTo>
                    <a:pt x="933" y="1008"/>
                  </a:lnTo>
                  <a:lnTo>
                    <a:pt x="927" y="1014"/>
                  </a:lnTo>
                  <a:lnTo>
                    <a:pt x="927" y="1014"/>
                  </a:lnTo>
                  <a:lnTo>
                    <a:pt x="921" y="1015"/>
                  </a:lnTo>
                  <a:lnTo>
                    <a:pt x="921" y="1015"/>
                  </a:lnTo>
                  <a:lnTo>
                    <a:pt x="921" y="1015"/>
                  </a:lnTo>
                  <a:lnTo>
                    <a:pt x="921" y="1017"/>
                  </a:lnTo>
                  <a:lnTo>
                    <a:pt x="921" y="1017"/>
                  </a:lnTo>
                  <a:lnTo>
                    <a:pt x="924" y="1015"/>
                  </a:lnTo>
                  <a:lnTo>
                    <a:pt x="924" y="1015"/>
                  </a:lnTo>
                  <a:lnTo>
                    <a:pt x="918" y="1022"/>
                  </a:lnTo>
                  <a:lnTo>
                    <a:pt x="911" y="1028"/>
                  </a:lnTo>
                  <a:lnTo>
                    <a:pt x="911" y="1028"/>
                  </a:lnTo>
                  <a:lnTo>
                    <a:pt x="907" y="1029"/>
                  </a:lnTo>
                  <a:lnTo>
                    <a:pt x="907" y="1029"/>
                  </a:lnTo>
                  <a:lnTo>
                    <a:pt x="907" y="1028"/>
                  </a:lnTo>
                  <a:lnTo>
                    <a:pt x="907" y="1028"/>
                  </a:lnTo>
                  <a:lnTo>
                    <a:pt x="904" y="1031"/>
                  </a:lnTo>
                  <a:lnTo>
                    <a:pt x="903" y="1032"/>
                  </a:lnTo>
                  <a:lnTo>
                    <a:pt x="900" y="1034"/>
                  </a:lnTo>
                  <a:lnTo>
                    <a:pt x="900" y="1034"/>
                  </a:lnTo>
                  <a:lnTo>
                    <a:pt x="898" y="1035"/>
                  </a:lnTo>
                  <a:lnTo>
                    <a:pt x="900" y="1035"/>
                  </a:lnTo>
                  <a:lnTo>
                    <a:pt x="903" y="1032"/>
                  </a:lnTo>
                  <a:lnTo>
                    <a:pt x="903" y="1032"/>
                  </a:lnTo>
                  <a:lnTo>
                    <a:pt x="895" y="1039"/>
                  </a:lnTo>
                  <a:lnTo>
                    <a:pt x="887" y="1045"/>
                  </a:lnTo>
                  <a:lnTo>
                    <a:pt x="887" y="1045"/>
                  </a:lnTo>
                  <a:lnTo>
                    <a:pt x="887" y="1045"/>
                  </a:lnTo>
                  <a:lnTo>
                    <a:pt x="888" y="1044"/>
                  </a:lnTo>
                  <a:lnTo>
                    <a:pt x="888" y="1044"/>
                  </a:lnTo>
                  <a:lnTo>
                    <a:pt x="886" y="1045"/>
                  </a:lnTo>
                  <a:lnTo>
                    <a:pt x="883" y="1045"/>
                  </a:lnTo>
                  <a:lnTo>
                    <a:pt x="883" y="1045"/>
                  </a:lnTo>
                  <a:lnTo>
                    <a:pt x="884" y="1047"/>
                  </a:lnTo>
                  <a:lnTo>
                    <a:pt x="883" y="1048"/>
                  </a:lnTo>
                  <a:lnTo>
                    <a:pt x="878" y="1051"/>
                  </a:lnTo>
                  <a:lnTo>
                    <a:pt x="878" y="1051"/>
                  </a:lnTo>
                  <a:lnTo>
                    <a:pt x="867" y="1057"/>
                  </a:lnTo>
                  <a:lnTo>
                    <a:pt x="867" y="1057"/>
                  </a:lnTo>
                  <a:lnTo>
                    <a:pt x="857" y="1064"/>
                  </a:lnTo>
                  <a:lnTo>
                    <a:pt x="857" y="1064"/>
                  </a:lnTo>
                  <a:lnTo>
                    <a:pt x="846" y="1071"/>
                  </a:lnTo>
                  <a:lnTo>
                    <a:pt x="846" y="1071"/>
                  </a:lnTo>
                  <a:lnTo>
                    <a:pt x="840" y="1074"/>
                  </a:lnTo>
                  <a:lnTo>
                    <a:pt x="836" y="1075"/>
                  </a:lnTo>
                  <a:lnTo>
                    <a:pt x="836" y="1075"/>
                  </a:lnTo>
                  <a:lnTo>
                    <a:pt x="833" y="1078"/>
                  </a:lnTo>
                  <a:lnTo>
                    <a:pt x="828" y="1081"/>
                  </a:lnTo>
                  <a:lnTo>
                    <a:pt x="828" y="1081"/>
                  </a:lnTo>
                  <a:lnTo>
                    <a:pt x="823" y="1084"/>
                  </a:lnTo>
                  <a:lnTo>
                    <a:pt x="823" y="1084"/>
                  </a:lnTo>
                  <a:lnTo>
                    <a:pt x="818" y="1085"/>
                  </a:lnTo>
                  <a:lnTo>
                    <a:pt x="818" y="1085"/>
                  </a:lnTo>
                  <a:lnTo>
                    <a:pt x="820" y="1084"/>
                  </a:lnTo>
                  <a:lnTo>
                    <a:pt x="823" y="1082"/>
                  </a:lnTo>
                  <a:lnTo>
                    <a:pt x="823" y="1082"/>
                  </a:lnTo>
                  <a:lnTo>
                    <a:pt x="828" y="1079"/>
                  </a:lnTo>
                  <a:lnTo>
                    <a:pt x="828" y="1079"/>
                  </a:lnTo>
                  <a:lnTo>
                    <a:pt x="824" y="1081"/>
                  </a:lnTo>
                  <a:lnTo>
                    <a:pt x="824" y="1081"/>
                  </a:lnTo>
                  <a:lnTo>
                    <a:pt x="837" y="1071"/>
                  </a:lnTo>
                  <a:lnTo>
                    <a:pt x="837" y="1071"/>
                  </a:lnTo>
                  <a:lnTo>
                    <a:pt x="838" y="1071"/>
                  </a:lnTo>
                  <a:lnTo>
                    <a:pt x="840" y="1071"/>
                  </a:lnTo>
                  <a:lnTo>
                    <a:pt x="844" y="1068"/>
                  </a:lnTo>
                  <a:lnTo>
                    <a:pt x="844" y="1068"/>
                  </a:lnTo>
                  <a:lnTo>
                    <a:pt x="853" y="1062"/>
                  </a:lnTo>
                  <a:lnTo>
                    <a:pt x="853" y="1062"/>
                  </a:lnTo>
                  <a:lnTo>
                    <a:pt x="844" y="1067"/>
                  </a:lnTo>
                  <a:lnTo>
                    <a:pt x="844" y="1067"/>
                  </a:lnTo>
                  <a:lnTo>
                    <a:pt x="840" y="1068"/>
                  </a:lnTo>
                  <a:lnTo>
                    <a:pt x="840" y="1068"/>
                  </a:lnTo>
                  <a:lnTo>
                    <a:pt x="834" y="1071"/>
                  </a:lnTo>
                  <a:lnTo>
                    <a:pt x="834" y="1071"/>
                  </a:lnTo>
                  <a:lnTo>
                    <a:pt x="826" y="1077"/>
                  </a:lnTo>
                  <a:lnTo>
                    <a:pt x="826" y="1077"/>
                  </a:lnTo>
                  <a:lnTo>
                    <a:pt x="818" y="1081"/>
                  </a:lnTo>
                  <a:lnTo>
                    <a:pt x="818" y="1081"/>
                  </a:lnTo>
                  <a:lnTo>
                    <a:pt x="818" y="1081"/>
                  </a:lnTo>
                  <a:lnTo>
                    <a:pt x="820" y="1078"/>
                  </a:lnTo>
                  <a:lnTo>
                    <a:pt x="820" y="1078"/>
                  </a:lnTo>
                  <a:lnTo>
                    <a:pt x="810" y="1084"/>
                  </a:lnTo>
                  <a:lnTo>
                    <a:pt x="806" y="1086"/>
                  </a:lnTo>
                  <a:lnTo>
                    <a:pt x="804" y="1089"/>
                  </a:lnTo>
                  <a:lnTo>
                    <a:pt x="804" y="1089"/>
                  </a:lnTo>
                  <a:lnTo>
                    <a:pt x="803" y="1089"/>
                  </a:lnTo>
                  <a:lnTo>
                    <a:pt x="801" y="1089"/>
                  </a:lnTo>
                  <a:lnTo>
                    <a:pt x="800" y="1089"/>
                  </a:lnTo>
                  <a:lnTo>
                    <a:pt x="800" y="1089"/>
                  </a:lnTo>
                  <a:lnTo>
                    <a:pt x="793" y="1092"/>
                  </a:lnTo>
                  <a:lnTo>
                    <a:pt x="793" y="1092"/>
                  </a:lnTo>
                  <a:lnTo>
                    <a:pt x="787" y="1095"/>
                  </a:lnTo>
                  <a:lnTo>
                    <a:pt x="787" y="1095"/>
                  </a:lnTo>
                  <a:lnTo>
                    <a:pt x="780" y="1099"/>
                  </a:lnTo>
                  <a:lnTo>
                    <a:pt x="780" y="1099"/>
                  </a:lnTo>
                  <a:lnTo>
                    <a:pt x="773" y="1102"/>
                  </a:lnTo>
                  <a:lnTo>
                    <a:pt x="773" y="1102"/>
                  </a:lnTo>
                  <a:lnTo>
                    <a:pt x="751" y="1109"/>
                  </a:lnTo>
                  <a:lnTo>
                    <a:pt x="751" y="1109"/>
                  </a:lnTo>
                  <a:lnTo>
                    <a:pt x="741" y="1114"/>
                  </a:lnTo>
                  <a:lnTo>
                    <a:pt x="730" y="1118"/>
                  </a:lnTo>
                  <a:lnTo>
                    <a:pt x="730" y="1118"/>
                  </a:lnTo>
                  <a:lnTo>
                    <a:pt x="723" y="1119"/>
                  </a:lnTo>
                  <a:lnTo>
                    <a:pt x="723" y="1119"/>
                  </a:lnTo>
                  <a:lnTo>
                    <a:pt x="716" y="1121"/>
                  </a:lnTo>
                  <a:lnTo>
                    <a:pt x="716" y="1121"/>
                  </a:lnTo>
                  <a:lnTo>
                    <a:pt x="703" y="1126"/>
                  </a:lnTo>
                  <a:lnTo>
                    <a:pt x="703" y="1126"/>
                  </a:lnTo>
                  <a:lnTo>
                    <a:pt x="687" y="1129"/>
                  </a:lnTo>
                  <a:lnTo>
                    <a:pt x="687" y="1129"/>
                  </a:lnTo>
                  <a:lnTo>
                    <a:pt x="677" y="1131"/>
                  </a:lnTo>
                  <a:lnTo>
                    <a:pt x="677" y="1131"/>
                  </a:lnTo>
                  <a:lnTo>
                    <a:pt x="667" y="1132"/>
                  </a:lnTo>
                  <a:lnTo>
                    <a:pt x="667" y="1132"/>
                  </a:lnTo>
                  <a:lnTo>
                    <a:pt x="657" y="1135"/>
                  </a:lnTo>
                  <a:lnTo>
                    <a:pt x="656" y="1135"/>
                  </a:lnTo>
                  <a:lnTo>
                    <a:pt x="653" y="1135"/>
                  </a:lnTo>
                  <a:lnTo>
                    <a:pt x="653" y="1135"/>
                  </a:lnTo>
                  <a:lnTo>
                    <a:pt x="647" y="1135"/>
                  </a:lnTo>
                  <a:lnTo>
                    <a:pt x="647" y="1135"/>
                  </a:lnTo>
                  <a:lnTo>
                    <a:pt x="637" y="1135"/>
                  </a:lnTo>
                  <a:lnTo>
                    <a:pt x="637" y="1135"/>
                  </a:lnTo>
                  <a:lnTo>
                    <a:pt x="627" y="1135"/>
                  </a:lnTo>
                  <a:lnTo>
                    <a:pt x="627" y="1135"/>
                  </a:lnTo>
                  <a:lnTo>
                    <a:pt x="629" y="1136"/>
                  </a:lnTo>
                  <a:lnTo>
                    <a:pt x="629" y="1136"/>
                  </a:lnTo>
                  <a:lnTo>
                    <a:pt x="623" y="1138"/>
                  </a:lnTo>
                  <a:lnTo>
                    <a:pt x="617" y="1138"/>
                  </a:lnTo>
                  <a:lnTo>
                    <a:pt x="615" y="1139"/>
                  </a:lnTo>
                  <a:lnTo>
                    <a:pt x="615" y="1141"/>
                  </a:lnTo>
                  <a:lnTo>
                    <a:pt x="615" y="1141"/>
                  </a:lnTo>
                  <a:lnTo>
                    <a:pt x="606" y="1142"/>
                  </a:lnTo>
                  <a:lnTo>
                    <a:pt x="606" y="1142"/>
                  </a:lnTo>
                  <a:lnTo>
                    <a:pt x="602" y="1142"/>
                  </a:lnTo>
                  <a:lnTo>
                    <a:pt x="599" y="1141"/>
                  </a:lnTo>
                  <a:lnTo>
                    <a:pt x="599" y="1141"/>
                  </a:lnTo>
                  <a:lnTo>
                    <a:pt x="582" y="1142"/>
                  </a:lnTo>
                  <a:lnTo>
                    <a:pt x="582" y="1142"/>
                  </a:lnTo>
                  <a:lnTo>
                    <a:pt x="566" y="1142"/>
                  </a:lnTo>
                  <a:lnTo>
                    <a:pt x="566" y="1142"/>
                  </a:lnTo>
                  <a:lnTo>
                    <a:pt x="559" y="1141"/>
                  </a:lnTo>
                  <a:lnTo>
                    <a:pt x="559" y="1141"/>
                  </a:lnTo>
                  <a:lnTo>
                    <a:pt x="555" y="1141"/>
                  </a:lnTo>
                  <a:lnTo>
                    <a:pt x="552" y="1139"/>
                  </a:lnTo>
                  <a:lnTo>
                    <a:pt x="552" y="1139"/>
                  </a:lnTo>
                  <a:lnTo>
                    <a:pt x="536" y="1135"/>
                  </a:lnTo>
                  <a:lnTo>
                    <a:pt x="536" y="1135"/>
                  </a:lnTo>
                  <a:lnTo>
                    <a:pt x="532" y="1136"/>
                  </a:lnTo>
                  <a:lnTo>
                    <a:pt x="532" y="1136"/>
                  </a:lnTo>
                  <a:lnTo>
                    <a:pt x="532" y="1138"/>
                  </a:lnTo>
                  <a:lnTo>
                    <a:pt x="532" y="1138"/>
                  </a:lnTo>
                  <a:lnTo>
                    <a:pt x="526" y="1136"/>
                  </a:lnTo>
                  <a:lnTo>
                    <a:pt x="522" y="1135"/>
                  </a:lnTo>
                  <a:lnTo>
                    <a:pt x="522" y="1135"/>
                  </a:lnTo>
                  <a:lnTo>
                    <a:pt x="518" y="1135"/>
                  </a:lnTo>
                  <a:lnTo>
                    <a:pt x="513" y="1134"/>
                  </a:lnTo>
                  <a:lnTo>
                    <a:pt x="513" y="1134"/>
                  </a:lnTo>
                  <a:lnTo>
                    <a:pt x="510" y="1135"/>
                  </a:lnTo>
                  <a:lnTo>
                    <a:pt x="506" y="1135"/>
                  </a:lnTo>
                  <a:lnTo>
                    <a:pt x="506" y="1135"/>
                  </a:lnTo>
                  <a:lnTo>
                    <a:pt x="509" y="1136"/>
                  </a:lnTo>
                  <a:lnTo>
                    <a:pt x="512" y="1136"/>
                  </a:lnTo>
                  <a:lnTo>
                    <a:pt x="512" y="1136"/>
                  </a:lnTo>
                  <a:lnTo>
                    <a:pt x="500" y="1135"/>
                  </a:lnTo>
                  <a:lnTo>
                    <a:pt x="488" y="1132"/>
                  </a:lnTo>
                  <a:lnTo>
                    <a:pt x="488" y="1132"/>
                  </a:lnTo>
                  <a:lnTo>
                    <a:pt x="482" y="1131"/>
                  </a:lnTo>
                  <a:lnTo>
                    <a:pt x="482" y="1131"/>
                  </a:lnTo>
                  <a:lnTo>
                    <a:pt x="475" y="1128"/>
                  </a:lnTo>
                  <a:lnTo>
                    <a:pt x="475" y="1128"/>
                  </a:lnTo>
                  <a:lnTo>
                    <a:pt x="463" y="1122"/>
                  </a:lnTo>
                  <a:lnTo>
                    <a:pt x="463" y="1122"/>
                  </a:lnTo>
                  <a:lnTo>
                    <a:pt x="460" y="1124"/>
                  </a:lnTo>
                  <a:lnTo>
                    <a:pt x="458" y="1124"/>
                  </a:lnTo>
                  <a:lnTo>
                    <a:pt x="458" y="1124"/>
                  </a:lnTo>
                  <a:lnTo>
                    <a:pt x="449" y="1121"/>
                  </a:lnTo>
                  <a:lnTo>
                    <a:pt x="449" y="1121"/>
                  </a:lnTo>
                  <a:lnTo>
                    <a:pt x="438" y="1121"/>
                  </a:lnTo>
                  <a:lnTo>
                    <a:pt x="438" y="1121"/>
                  </a:lnTo>
                  <a:lnTo>
                    <a:pt x="426" y="1118"/>
                  </a:lnTo>
                  <a:lnTo>
                    <a:pt x="426" y="1118"/>
                  </a:lnTo>
                  <a:lnTo>
                    <a:pt x="403" y="1112"/>
                  </a:lnTo>
                  <a:lnTo>
                    <a:pt x="403" y="1112"/>
                  </a:lnTo>
                  <a:lnTo>
                    <a:pt x="399" y="1108"/>
                  </a:lnTo>
                  <a:lnTo>
                    <a:pt x="399" y="1108"/>
                  </a:lnTo>
                  <a:lnTo>
                    <a:pt x="399" y="1108"/>
                  </a:lnTo>
                  <a:lnTo>
                    <a:pt x="398" y="1108"/>
                  </a:lnTo>
                  <a:lnTo>
                    <a:pt x="393" y="1108"/>
                  </a:lnTo>
                  <a:lnTo>
                    <a:pt x="385" y="1105"/>
                  </a:lnTo>
                  <a:lnTo>
                    <a:pt x="385" y="1105"/>
                  </a:lnTo>
                  <a:lnTo>
                    <a:pt x="385" y="1104"/>
                  </a:lnTo>
                  <a:lnTo>
                    <a:pt x="386" y="1104"/>
                  </a:lnTo>
                  <a:lnTo>
                    <a:pt x="386" y="1104"/>
                  </a:lnTo>
                  <a:lnTo>
                    <a:pt x="381" y="1101"/>
                  </a:lnTo>
                  <a:lnTo>
                    <a:pt x="381" y="1101"/>
                  </a:lnTo>
                  <a:lnTo>
                    <a:pt x="376" y="1099"/>
                  </a:lnTo>
                  <a:lnTo>
                    <a:pt x="376" y="1099"/>
                  </a:lnTo>
                  <a:lnTo>
                    <a:pt x="366" y="1095"/>
                  </a:lnTo>
                  <a:lnTo>
                    <a:pt x="366" y="1095"/>
                  </a:lnTo>
                  <a:lnTo>
                    <a:pt x="358" y="1091"/>
                  </a:lnTo>
                  <a:lnTo>
                    <a:pt x="358" y="1091"/>
                  </a:lnTo>
                  <a:lnTo>
                    <a:pt x="348" y="1088"/>
                  </a:lnTo>
                  <a:lnTo>
                    <a:pt x="348" y="1088"/>
                  </a:lnTo>
                  <a:lnTo>
                    <a:pt x="326" y="1077"/>
                  </a:lnTo>
                  <a:lnTo>
                    <a:pt x="326" y="1077"/>
                  </a:lnTo>
                  <a:lnTo>
                    <a:pt x="304" y="1067"/>
                  </a:lnTo>
                  <a:lnTo>
                    <a:pt x="304" y="1067"/>
                  </a:lnTo>
                  <a:lnTo>
                    <a:pt x="296" y="1061"/>
                  </a:lnTo>
                  <a:lnTo>
                    <a:pt x="286" y="1055"/>
                  </a:lnTo>
                  <a:lnTo>
                    <a:pt x="286" y="1055"/>
                  </a:lnTo>
                  <a:lnTo>
                    <a:pt x="271" y="1047"/>
                  </a:lnTo>
                  <a:lnTo>
                    <a:pt x="271" y="1047"/>
                  </a:lnTo>
                  <a:lnTo>
                    <a:pt x="252" y="1035"/>
                  </a:lnTo>
                  <a:lnTo>
                    <a:pt x="252" y="1035"/>
                  </a:lnTo>
                  <a:lnTo>
                    <a:pt x="244" y="1031"/>
                  </a:lnTo>
                  <a:lnTo>
                    <a:pt x="244" y="1031"/>
                  </a:lnTo>
                  <a:lnTo>
                    <a:pt x="239" y="1028"/>
                  </a:lnTo>
                  <a:lnTo>
                    <a:pt x="239" y="1028"/>
                  </a:lnTo>
                  <a:lnTo>
                    <a:pt x="235" y="1027"/>
                  </a:lnTo>
                  <a:lnTo>
                    <a:pt x="235" y="1027"/>
                  </a:lnTo>
                  <a:lnTo>
                    <a:pt x="238" y="1029"/>
                  </a:lnTo>
                  <a:lnTo>
                    <a:pt x="239" y="1032"/>
                  </a:lnTo>
                  <a:lnTo>
                    <a:pt x="239" y="1032"/>
                  </a:lnTo>
                  <a:lnTo>
                    <a:pt x="235" y="1029"/>
                  </a:lnTo>
                  <a:lnTo>
                    <a:pt x="232" y="1027"/>
                  </a:lnTo>
                  <a:lnTo>
                    <a:pt x="232" y="1027"/>
                  </a:lnTo>
                  <a:lnTo>
                    <a:pt x="237" y="1031"/>
                  </a:lnTo>
                  <a:lnTo>
                    <a:pt x="237" y="1031"/>
                  </a:lnTo>
                  <a:lnTo>
                    <a:pt x="239" y="1034"/>
                  </a:lnTo>
                  <a:lnTo>
                    <a:pt x="239" y="1034"/>
                  </a:lnTo>
                  <a:lnTo>
                    <a:pt x="242" y="1037"/>
                  </a:lnTo>
                  <a:lnTo>
                    <a:pt x="247" y="1039"/>
                  </a:lnTo>
                  <a:lnTo>
                    <a:pt x="249" y="1044"/>
                  </a:lnTo>
                  <a:lnTo>
                    <a:pt x="252" y="1044"/>
                  </a:lnTo>
                  <a:lnTo>
                    <a:pt x="252" y="1044"/>
                  </a:lnTo>
                  <a:lnTo>
                    <a:pt x="254" y="1047"/>
                  </a:lnTo>
                  <a:lnTo>
                    <a:pt x="256" y="1051"/>
                  </a:lnTo>
                  <a:lnTo>
                    <a:pt x="256" y="1051"/>
                  </a:lnTo>
                  <a:lnTo>
                    <a:pt x="272" y="1062"/>
                  </a:lnTo>
                  <a:lnTo>
                    <a:pt x="272" y="1062"/>
                  </a:lnTo>
                  <a:lnTo>
                    <a:pt x="255" y="1055"/>
                  </a:lnTo>
                  <a:lnTo>
                    <a:pt x="255" y="1055"/>
                  </a:lnTo>
                  <a:lnTo>
                    <a:pt x="272" y="1067"/>
                  </a:lnTo>
                  <a:lnTo>
                    <a:pt x="272" y="1067"/>
                  </a:lnTo>
                  <a:lnTo>
                    <a:pt x="276" y="1071"/>
                  </a:lnTo>
                  <a:lnTo>
                    <a:pt x="276" y="1071"/>
                  </a:lnTo>
                  <a:lnTo>
                    <a:pt x="281" y="1074"/>
                  </a:lnTo>
                  <a:lnTo>
                    <a:pt x="281" y="1074"/>
                  </a:lnTo>
                  <a:lnTo>
                    <a:pt x="291" y="1079"/>
                  </a:lnTo>
                  <a:lnTo>
                    <a:pt x="291" y="1079"/>
                  </a:lnTo>
                  <a:lnTo>
                    <a:pt x="301" y="1086"/>
                  </a:lnTo>
                  <a:lnTo>
                    <a:pt x="301" y="1086"/>
                  </a:lnTo>
                  <a:lnTo>
                    <a:pt x="311" y="1092"/>
                  </a:lnTo>
                  <a:lnTo>
                    <a:pt x="311" y="1092"/>
                  </a:lnTo>
                  <a:lnTo>
                    <a:pt x="321" y="1098"/>
                  </a:lnTo>
                  <a:lnTo>
                    <a:pt x="321" y="1098"/>
                  </a:lnTo>
                  <a:lnTo>
                    <a:pt x="332" y="1102"/>
                  </a:lnTo>
                  <a:lnTo>
                    <a:pt x="332" y="1102"/>
                  </a:lnTo>
                  <a:lnTo>
                    <a:pt x="335" y="1104"/>
                  </a:lnTo>
                  <a:lnTo>
                    <a:pt x="338" y="1106"/>
                  </a:lnTo>
                  <a:lnTo>
                    <a:pt x="338" y="1106"/>
                  </a:lnTo>
                  <a:lnTo>
                    <a:pt x="339" y="1105"/>
                  </a:lnTo>
                  <a:lnTo>
                    <a:pt x="339" y="1105"/>
                  </a:lnTo>
                  <a:lnTo>
                    <a:pt x="348" y="1109"/>
                  </a:lnTo>
                  <a:lnTo>
                    <a:pt x="348" y="1109"/>
                  </a:lnTo>
                  <a:lnTo>
                    <a:pt x="351" y="1112"/>
                  </a:lnTo>
                  <a:lnTo>
                    <a:pt x="356" y="1115"/>
                  </a:lnTo>
                  <a:lnTo>
                    <a:pt x="369" y="1116"/>
                  </a:lnTo>
                  <a:lnTo>
                    <a:pt x="369" y="1116"/>
                  </a:lnTo>
                  <a:lnTo>
                    <a:pt x="369" y="1118"/>
                  </a:lnTo>
                  <a:lnTo>
                    <a:pt x="368" y="1118"/>
                  </a:lnTo>
                  <a:lnTo>
                    <a:pt x="363" y="1118"/>
                  </a:lnTo>
                  <a:lnTo>
                    <a:pt x="363" y="1118"/>
                  </a:lnTo>
                  <a:lnTo>
                    <a:pt x="368" y="1119"/>
                  </a:lnTo>
                  <a:lnTo>
                    <a:pt x="369" y="1122"/>
                  </a:lnTo>
                  <a:lnTo>
                    <a:pt x="369" y="1122"/>
                  </a:lnTo>
                  <a:lnTo>
                    <a:pt x="363" y="1121"/>
                  </a:lnTo>
                  <a:lnTo>
                    <a:pt x="359" y="1119"/>
                  </a:lnTo>
                  <a:lnTo>
                    <a:pt x="359" y="1119"/>
                  </a:lnTo>
                  <a:lnTo>
                    <a:pt x="361" y="1121"/>
                  </a:lnTo>
                  <a:lnTo>
                    <a:pt x="363" y="1121"/>
                  </a:lnTo>
                  <a:lnTo>
                    <a:pt x="365" y="1121"/>
                  </a:lnTo>
                  <a:lnTo>
                    <a:pt x="366" y="1122"/>
                  </a:lnTo>
                  <a:lnTo>
                    <a:pt x="366" y="1122"/>
                  </a:lnTo>
                  <a:lnTo>
                    <a:pt x="369" y="1124"/>
                  </a:lnTo>
                  <a:lnTo>
                    <a:pt x="371" y="1124"/>
                  </a:lnTo>
                  <a:lnTo>
                    <a:pt x="371" y="1124"/>
                  </a:lnTo>
                  <a:lnTo>
                    <a:pt x="375" y="1125"/>
                  </a:lnTo>
                  <a:lnTo>
                    <a:pt x="375" y="1125"/>
                  </a:lnTo>
                  <a:lnTo>
                    <a:pt x="372" y="1125"/>
                  </a:lnTo>
                  <a:lnTo>
                    <a:pt x="369" y="1125"/>
                  </a:lnTo>
                  <a:lnTo>
                    <a:pt x="369" y="1125"/>
                  </a:lnTo>
                  <a:lnTo>
                    <a:pt x="366" y="1125"/>
                  </a:lnTo>
                  <a:lnTo>
                    <a:pt x="366" y="1125"/>
                  </a:lnTo>
                  <a:lnTo>
                    <a:pt x="366" y="1124"/>
                  </a:lnTo>
                  <a:lnTo>
                    <a:pt x="366" y="1124"/>
                  </a:lnTo>
                  <a:lnTo>
                    <a:pt x="363" y="1122"/>
                  </a:lnTo>
                  <a:lnTo>
                    <a:pt x="356" y="1119"/>
                  </a:lnTo>
                  <a:lnTo>
                    <a:pt x="356" y="1119"/>
                  </a:lnTo>
                  <a:lnTo>
                    <a:pt x="355" y="1116"/>
                  </a:lnTo>
                  <a:lnTo>
                    <a:pt x="355" y="1116"/>
                  </a:lnTo>
                  <a:lnTo>
                    <a:pt x="349" y="1115"/>
                  </a:lnTo>
                  <a:lnTo>
                    <a:pt x="345" y="1114"/>
                  </a:lnTo>
                  <a:lnTo>
                    <a:pt x="345" y="1114"/>
                  </a:lnTo>
                  <a:lnTo>
                    <a:pt x="341" y="1114"/>
                  </a:lnTo>
                  <a:lnTo>
                    <a:pt x="335" y="1111"/>
                  </a:lnTo>
                  <a:lnTo>
                    <a:pt x="335" y="1111"/>
                  </a:lnTo>
                  <a:lnTo>
                    <a:pt x="336" y="1111"/>
                  </a:lnTo>
                  <a:lnTo>
                    <a:pt x="339" y="1111"/>
                  </a:lnTo>
                  <a:lnTo>
                    <a:pt x="345" y="1114"/>
                  </a:lnTo>
                  <a:lnTo>
                    <a:pt x="345" y="1114"/>
                  </a:lnTo>
                  <a:lnTo>
                    <a:pt x="339" y="1109"/>
                  </a:lnTo>
                  <a:lnTo>
                    <a:pt x="336" y="1109"/>
                  </a:lnTo>
                  <a:lnTo>
                    <a:pt x="336" y="1109"/>
                  </a:lnTo>
                  <a:lnTo>
                    <a:pt x="336" y="1109"/>
                  </a:lnTo>
                  <a:lnTo>
                    <a:pt x="329" y="1106"/>
                  </a:lnTo>
                  <a:lnTo>
                    <a:pt x="322" y="1102"/>
                  </a:lnTo>
                  <a:lnTo>
                    <a:pt x="322" y="1102"/>
                  </a:lnTo>
                  <a:lnTo>
                    <a:pt x="308" y="1096"/>
                  </a:lnTo>
                  <a:lnTo>
                    <a:pt x="308" y="1096"/>
                  </a:lnTo>
                  <a:lnTo>
                    <a:pt x="311" y="1099"/>
                  </a:lnTo>
                  <a:lnTo>
                    <a:pt x="316" y="1101"/>
                  </a:lnTo>
                  <a:lnTo>
                    <a:pt x="316" y="1101"/>
                  </a:lnTo>
                  <a:lnTo>
                    <a:pt x="321" y="1102"/>
                  </a:lnTo>
                  <a:lnTo>
                    <a:pt x="321" y="1102"/>
                  </a:lnTo>
                  <a:lnTo>
                    <a:pt x="325" y="1105"/>
                  </a:lnTo>
                  <a:lnTo>
                    <a:pt x="325" y="1105"/>
                  </a:lnTo>
                  <a:lnTo>
                    <a:pt x="321" y="1104"/>
                  </a:lnTo>
                  <a:lnTo>
                    <a:pt x="321" y="1104"/>
                  </a:lnTo>
                  <a:lnTo>
                    <a:pt x="315" y="1101"/>
                  </a:lnTo>
                  <a:lnTo>
                    <a:pt x="315" y="1101"/>
                  </a:lnTo>
                  <a:lnTo>
                    <a:pt x="308" y="1098"/>
                  </a:lnTo>
                  <a:lnTo>
                    <a:pt x="304" y="1094"/>
                  </a:lnTo>
                  <a:lnTo>
                    <a:pt x="304" y="1094"/>
                  </a:lnTo>
                  <a:lnTo>
                    <a:pt x="292" y="1088"/>
                  </a:lnTo>
                  <a:lnTo>
                    <a:pt x="282" y="1081"/>
                  </a:lnTo>
                  <a:lnTo>
                    <a:pt x="282" y="1081"/>
                  </a:lnTo>
                  <a:lnTo>
                    <a:pt x="274" y="1077"/>
                  </a:lnTo>
                  <a:lnTo>
                    <a:pt x="274" y="1077"/>
                  </a:lnTo>
                  <a:lnTo>
                    <a:pt x="265" y="1071"/>
                  </a:lnTo>
                  <a:lnTo>
                    <a:pt x="265" y="1071"/>
                  </a:lnTo>
                  <a:lnTo>
                    <a:pt x="249" y="1059"/>
                  </a:lnTo>
                  <a:lnTo>
                    <a:pt x="249" y="1059"/>
                  </a:lnTo>
                  <a:lnTo>
                    <a:pt x="234" y="1047"/>
                  </a:lnTo>
                  <a:lnTo>
                    <a:pt x="234" y="1047"/>
                  </a:lnTo>
                  <a:lnTo>
                    <a:pt x="227" y="1041"/>
                  </a:lnTo>
                  <a:lnTo>
                    <a:pt x="227" y="1041"/>
                  </a:lnTo>
                  <a:lnTo>
                    <a:pt x="218" y="1035"/>
                  </a:lnTo>
                  <a:lnTo>
                    <a:pt x="218" y="1035"/>
                  </a:lnTo>
                  <a:lnTo>
                    <a:pt x="224" y="1042"/>
                  </a:lnTo>
                  <a:lnTo>
                    <a:pt x="224" y="1042"/>
                  </a:lnTo>
                  <a:lnTo>
                    <a:pt x="227" y="1045"/>
                  </a:lnTo>
                  <a:lnTo>
                    <a:pt x="229" y="1048"/>
                  </a:lnTo>
                  <a:lnTo>
                    <a:pt x="229" y="1048"/>
                  </a:lnTo>
                  <a:lnTo>
                    <a:pt x="237" y="1055"/>
                  </a:lnTo>
                  <a:lnTo>
                    <a:pt x="242" y="1062"/>
                  </a:lnTo>
                  <a:lnTo>
                    <a:pt x="242" y="1062"/>
                  </a:lnTo>
                  <a:lnTo>
                    <a:pt x="244" y="1062"/>
                  </a:lnTo>
                  <a:lnTo>
                    <a:pt x="245" y="1062"/>
                  </a:lnTo>
                  <a:lnTo>
                    <a:pt x="245" y="1062"/>
                  </a:lnTo>
                  <a:lnTo>
                    <a:pt x="247" y="1065"/>
                  </a:lnTo>
                  <a:lnTo>
                    <a:pt x="249" y="1068"/>
                  </a:lnTo>
                  <a:lnTo>
                    <a:pt x="255" y="1072"/>
                  </a:lnTo>
                  <a:lnTo>
                    <a:pt x="255" y="1072"/>
                  </a:lnTo>
                  <a:lnTo>
                    <a:pt x="255" y="1074"/>
                  </a:lnTo>
                  <a:lnTo>
                    <a:pt x="254" y="1074"/>
                  </a:lnTo>
                  <a:lnTo>
                    <a:pt x="251" y="1072"/>
                  </a:lnTo>
                  <a:lnTo>
                    <a:pt x="251" y="1072"/>
                  </a:lnTo>
                  <a:lnTo>
                    <a:pt x="256" y="1078"/>
                  </a:lnTo>
                  <a:lnTo>
                    <a:pt x="264" y="1084"/>
                  </a:lnTo>
                  <a:lnTo>
                    <a:pt x="264" y="1084"/>
                  </a:lnTo>
                  <a:lnTo>
                    <a:pt x="265" y="1085"/>
                  </a:lnTo>
                  <a:lnTo>
                    <a:pt x="264" y="1085"/>
                  </a:lnTo>
                  <a:lnTo>
                    <a:pt x="264" y="1084"/>
                  </a:lnTo>
                  <a:lnTo>
                    <a:pt x="264" y="1085"/>
                  </a:lnTo>
                  <a:lnTo>
                    <a:pt x="264" y="1085"/>
                  </a:lnTo>
                  <a:lnTo>
                    <a:pt x="268" y="1089"/>
                  </a:lnTo>
                  <a:lnTo>
                    <a:pt x="272" y="1092"/>
                  </a:lnTo>
                  <a:lnTo>
                    <a:pt x="284" y="1098"/>
                  </a:lnTo>
                  <a:lnTo>
                    <a:pt x="284" y="1098"/>
                  </a:lnTo>
                  <a:lnTo>
                    <a:pt x="284" y="1098"/>
                  </a:lnTo>
                  <a:lnTo>
                    <a:pt x="282" y="1098"/>
                  </a:lnTo>
                  <a:lnTo>
                    <a:pt x="279" y="1098"/>
                  </a:lnTo>
                  <a:lnTo>
                    <a:pt x="271" y="1094"/>
                  </a:lnTo>
                  <a:lnTo>
                    <a:pt x="271" y="1094"/>
                  </a:lnTo>
                  <a:lnTo>
                    <a:pt x="275" y="1098"/>
                  </a:lnTo>
                  <a:lnTo>
                    <a:pt x="275" y="1098"/>
                  </a:lnTo>
                  <a:lnTo>
                    <a:pt x="275" y="1096"/>
                  </a:lnTo>
                  <a:lnTo>
                    <a:pt x="274" y="1096"/>
                  </a:lnTo>
                  <a:lnTo>
                    <a:pt x="274" y="1096"/>
                  </a:lnTo>
                  <a:lnTo>
                    <a:pt x="279" y="1099"/>
                  </a:lnTo>
                  <a:lnTo>
                    <a:pt x="281" y="1099"/>
                  </a:lnTo>
                  <a:lnTo>
                    <a:pt x="282" y="1101"/>
                  </a:lnTo>
                  <a:lnTo>
                    <a:pt x="282" y="1101"/>
                  </a:lnTo>
                  <a:lnTo>
                    <a:pt x="284" y="1102"/>
                  </a:lnTo>
                  <a:lnTo>
                    <a:pt x="284" y="1104"/>
                  </a:lnTo>
                  <a:lnTo>
                    <a:pt x="284" y="1104"/>
                  </a:lnTo>
                  <a:lnTo>
                    <a:pt x="294" y="1109"/>
                  </a:lnTo>
                  <a:lnTo>
                    <a:pt x="302" y="1115"/>
                  </a:lnTo>
                  <a:lnTo>
                    <a:pt x="302" y="1115"/>
                  </a:lnTo>
                  <a:lnTo>
                    <a:pt x="305" y="1116"/>
                  </a:lnTo>
                  <a:lnTo>
                    <a:pt x="305" y="1114"/>
                  </a:lnTo>
                  <a:lnTo>
                    <a:pt x="305" y="1114"/>
                  </a:lnTo>
                  <a:lnTo>
                    <a:pt x="311" y="1116"/>
                  </a:lnTo>
                  <a:lnTo>
                    <a:pt x="311" y="1116"/>
                  </a:lnTo>
                  <a:lnTo>
                    <a:pt x="312" y="1119"/>
                  </a:lnTo>
                  <a:lnTo>
                    <a:pt x="312" y="1122"/>
                  </a:lnTo>
                  <a:lnTo>
                    <a:pt x="312" y="1122"/>
                  </a:lnTo>
                  <a:lnTo>
                    <a:pt x="305" y="1118"/>
                  </a:lnTo>
                  <a:lnTo>
                    <a:pt x="305" y="1118"/>
                  </a:lnTo>
                  <a:lnTo>
                    <a:pt x="298" y="1115"/>
                  </a:lnTo>
                  <a:lnTo>
                    <a:pt x="298" y="1115"/>
                  </a:lnTo>
                  <a:lnTo>
                    <a:pt x="292" y="1114"/>
                  </a:lnTo>
                  <a:lnTo>
                    <a:pt x="288" y="1112"/>
                  </a:lnTo>
                  <a:lnTo>
                    <a:pt x="284" y="1109"/>
                  </a:lnTo>
                  <a:lnTo>
                    <a:pt x="284" y="1109"/>
                  </a:lnTo>
                  <a:lnTo>
                    <a:pt x="279" y="1106"/>
                  </a:lnTo>
                  <a:lnTo>
                    <a:pt x="279" y="1106"/>
                  </a:lnTo>
                  <a:lnTo>
                    <a:pt x="269" y="1101"/>
                  </a:lnTo>
                  <a:lnTo>
                    <a:pt x="269" y="1101"/>
                  </a:lnTo>
                  <a:lnTo>
                    <a:pt x="262" y="1095"/>
                  </a:lnTo>
                  <a:lnTo>
                    <a:pt x="254" y="1088"/>
                  </a:lnTo>
                  <a:lnTo>
                    <a:pt x="254" y="1088"/>
                  </a:lnTo>
                  <a:lnTo>
                    <a:pt x="254" y="1089"/>
                  </a:lnTo>
                  <a:lnTo>
                    <a:pt x="254" y="1089"/>
                  </a:lnTo>
                  <a:lnTo>
                    <a:pt x="251" y="1088"/>
                  </a:lnTo>
                  <a:lnTo>
                    <a:pt x="244" y="1081"/>
                  </a:lnTo>
                  <a:lnTo>
                    <a:pt x="244" y="1081"/>
                  </a:lnTo>
                  <a:lnTo>
                    <a:pt x="244" y="1081"/>
                  </a:lnTo>
                  <a:lnTo>
                    <a:pt x="245" y="1082"/>
                  </a:lnTo>
                  <a:lnTo>
                    <a:pt x="249" y="1085"/>
                  </a:lnTo>
                  <a:lnTo>
                    <a:pt x="249" y="1085"/>
                  </a:lnTo>
                  <a:lnTo>
                    <a:pt x="247" y="1082"/>
                  </a:lnTo>
                  <a:lnTo>
                    <a:pt x="242" y="1081"/>
                  </a:lnTo>
                  <a:lnTo>
                    <a:pt x="235" y="1075"/>
                  </a:lnTo>
                  <a:lnTo>
                    <a:pt x="235" y="1075"/>
                  </a:lnTo>
                  <a:lnTo>
                    <a:pt x="234" y="1074"/>
                  </a:lnTo>
                  <a:lnTo>
                    <a:pt x="235" y="1074"/>
                  </a:lnTo>
                  <a:lnTo>
                    <a:pt x="235" y="1074"/>
                  </a:lnTo>
                  <a:lnTo>
                    <a:pt x="234" y="1072"/>
                  </a:lnTo>
                  <a:lnTo>
                    <a:pt x="234" y="1072"/>
                  </a:lnTo>
                  <a:lnTo>
                    <a:pt x="229" y="1071"/>
                  </a:lnTo>
                  <a:lnTo>
                    <a:pt x="225" y="1067"/>
                  </a:lnTo>
                  <a:lnTo>
                    <a:pt x="214" y="1057"/>
                  </a:lnTo>
                  <a:lnTo>
                    <a:pt x="214" y="1057"/>
                  </a:lnTo>
                  <a:lnTo>
                    <a:pt x="209" y="1054"/>
                  </a:lnTo>
                  <a:lnTo>
                    <a:pt x="205" y="1049"/>
                  </a:lnTo>
                  <a:lnTo>
                    <a:pt x="195" y="1041"/>
                  </a:lnTo>
                  <a:lnTo>
                    <a:pt x="195" y="1041"/>
                  </a:lnTo>
                  <a:lnTo>
                    <a:pt x="195" y="1042"/>
                  </a:lnTo>
                  <a:lnTo>
                    <a:pt x="197" y="1045"/>
                  </a:lnTo>
                  <a:lnTo>
                    <a:pt x="202" y="1049"/>
                  </a:lnTo>
                  <a:lnTo>
                    <a:pt x="202" y="1049"/>
                  </a:lnTo>
                  <a:lnTo>
                    <a:pt x="188" y="1038"/>
                  </a:lnTo>
                  <a:lnTo>
                    <a:pt x="188" y="1038"/>
                  </a:lnTo>
                  <a:lnTo>
                    <a:pt x="179" y="1029"/>
                  </a:lnTo>
                  <a:lnTo>
                    <a:pt x="172" y="1021"/>
                  </a:lnTo>
                  <a:lnTo>
                    <a:pt x="172" y="1021"/>
                  </a:lnTo>
                  <a:lnTo>
                    <a:pt x="165" y="1014"/>
                  </a:lnTo>
                  <a:lnTo>
                    <a:pt x="155" y="1002"/>
                  </a:lnTo>
                  <a:lnTo>
                    <a:pt x="155" y="1002"/>
                  </a:lnTo>
                  <a:lnTo>
                    <a:pt x="147" y="992"/>
                  </a:lnTo>
                  <a:lnTo>
                    <a:pt x="147" y="992"/>
                  </a:lnTo>
                  <a:lnTo>
                    <a:pt x="142" y="989"/>
                  </a:lnTo>
                  <a:lnTo>
                    <a:pt x="140" y="989"/>
                  </a:lnTo>
                  <a:lnTo>
                    <a:pt x="140" y="989"/>
                  </a:lnTo>
                  <a:lnTo>
                    <a:pt x="137" y="985"/>
                  </a:lnTo>
                  <a:lnTo>
                    <a:pt x="134" y="981"/>
                  </a:lnTo>
                  <a:lnTo>
                    <a:pt x="131" y="978"/>
                  </a:lnTo>
                  <a:lnTo>
                    <a:pt x="128" y="975"/>
                  </a:lnTo>
                  <a:lnTo>
                    <a:pt x="128" y="975"/>
                  </a:lnTo>
                  <a:lnTo>
                    <a:pt x="130" y="977"/>
                  </a:lnTo>
                  <a:lnTo>
                    <a:pt x="131" y="977"/>
                  </a:lnTo>
                  <a:lnTo>
                    <a:pt x="132" y="977"/>
                  </a:lnTo>
                  <a:lnTo>
                    <a:pt x="132" y="977"/>
                  </a:lnTo>
                  <a:lnTo>
                    <a:pt x="127" y="971"/>
                  </a:lnTo>
                  <a:lnTo>
                    <a:pt x="127" y="971"/>
                  </a:lnTo>
                  <a:lnTo>
                    <a:pt x="122" y="967"/>
                  </a:lnTo>
                  <a:lnTo>
                    <a:pt x="122" y="967"/>
                  </a:lnTo>
                  <a:lnTo>
                    <a:pt x="114" y="958"/>
                  </a:lnTo>
                  <a:lnTo>
                    <a:pt x="114" y="958"/>
                  </a:lnTo>
                  <a:lnTo>
                    <a:pt x="107" y="952"/>
                  </a:lnTo>
                  <a:lnTo>
                    <a:pt x="104" y="951"/>
                  </a:lnTo>
                  <a:lnTo>
                    <a:pt x="102" y="949"/>
                  </a:lnTo>
                  <a:lnTo>
                    <a:pt x="102" y="949"/>
                  </a:lnTo>
                  <a:lnTo>
                    <a:pt x="105" y="957"/>
                  </a:lnTo>
                  <a:lnTo>
                    <a:pt x="105" y="959"/>
                  </a:lnTo>
                  <a:lnTo>
                    <a:pt x="104" y="961"/>
                  </a:lnTo>
                  <a:lnTo>
                    <a:pt x="104" y="961"/>
                  </a:lnTo>
                  <a:lnTo>
                    <a:pt x="112" y="975"/>
                  </a:lnTo>
                  <a:lnTo>
                    <a:pt x="112" y="975"/>
                  </a:lnTo>
                  <a:lnTo>
                    <a:pt x="115" y="982"/>
                  </a:lnTo>
                  <a:lnTo>
                    <a:pt x="117" y="985"/>
                  </a:lnTo>
                  <a:lnTo>
                    <a:pt x="117" y="987"/>
                  </a:lnTo>
                  <a:lnTo>
                    <a:pt x="117" y="987"/>
                  </a:lnTo>
                  <a:lnTo>
                    <a:pt x="122" y="992"/>
                  </a:lnTo>
                  <a:lnTo>
                    <a:pt x="125" y="995"/>
                  </a:lnTo>
                  <a:lnTo>
                    <a:pt x="128" y="997"/>
                  </a:lnTo>
                  <a:lnTo>
                    <a:pt x="128" y="997"/>
                  </a:lnTo>
                  <a:lnTo>
                    <a:pt x="124" y="994"/>
                  </a:lnTo>
                  <a:lnTo>
                    <a:pt x="124" y="994"/>
                  </a:lnTo>
                  <a:lnTo>
                    <a:pt x="124" y="992"/>
                  </a:lnTo>
                  <a:lnTo>
                    <a:pt x="125" y="992"/>
                  </a:lnTo>
                  <a:lnTo>
                    <a:pt x="128" y="995"/>
                  </a:lnTo>
                  <a:lnTo>
                    <a:pt x="128" y="995"/>
                  </a:lnTo>
                  <a:lnTo>
                    <a:pt x="130" y="999"/>
                  </a:lnTo>
                  <a:lnTo>
                    <a:pt x="132" y="1004"/>
                  </a:lnTo>
                  <a:lnTo>
                    <a:pt x="132" y="1004"/>
                  </a:lnTo>
                  <a:lnTo>
                    <a:pt x="132" y="1005"/>
                  </a:lnTo>
                  <a:lnTo>
                    <a:pt x="130" y="1004"/>
                  </a:lnTo>
                  <a:lnTo>
                    <a:pt x="130" y="1004"/>
                  </a:lnTo>
                  <a:lnTo>
                    <a:pt x="132" y="1007"/>
                  </a:lnTo>
                  <a:lnTo>
                    <a:pt x="132" y="1007"/>
                  </a:lnTo>
                  <a:lnTo>
                    <a:pt x="134" y="1008"/>
                  </a:lnTo>
                  <a:lnTo>
                    <a:pt x="134" y="1008"/>
                  </a:lnTo>
                  <a:lnTo>
                    <a:pt x="137" y="1014"/>
                  </a:lnTo>
                  <a:lnTo>
                    <a:pt x="144" y="1021"/>
                  </a:lnTo>
                  <a:lnTo>
                    <a:pt x="144" y="1021"/>
                  </a:lnTo>
                  <a:lnTo>
                    <a:pt x="157" y="1035"/>
                  </a:lnTo>
                  <a:lnTo>
                    <a:pt x="157" y="1035"/>
                  </a:lnTo>
                  <a:lnTo>
                    <a:pt x="164" y="1042"/>
                  </a:lnTo>
                  <a:lnTo>
                    <a:pt x="171" y="1049"/>
                  </a:lnTo>
                  <a:lnTo>
                    <a:pt x="171" y="1049"/>
                  </a:lnTo>
                  <a:lnTo>
                    <a:pt x="175" y="1052"/>
                  </a:lnTo>
                  <a:lnTo>
                    <a:pt x="175" y="1052"/>
                  </a:lnTo>
                  <a:lnTo>
                    <a:pt x="179" y="1055"/>
                  </a:lnTo>
                  <a:lnTo>
                    <a:pt x="179" y="1055"/>
                  </a:lnTo>
                  <a:lnTo>
                    <a:pt x="188" y="1061"/>
                  </a:lnTo>
                  <a:lnTo>
                    <a:pt x="188" y="1061"/>
                  </a:lnTo>
                  <a:lnTo>
                    <a:pt x="188" y="1064"/>
                  </a:lnTo>
                  <a:lnTo>
                    <a:pt x="188" y="1064"/>
                  </a:lnTo>
                  <a:lnTo>
                    <a:pt x="184" y="1061"/>
                  </a:lnTo>
                  <a:lnTo>
                    <a:pt x="178" y="1057"/>
                  </a:lnTo>
                  <a:lnTo>
                    <a:pt x="167" y="1049"/>
                  </a:lnTo>
                  <a:lnTo>
                    <a:pt x="167" y="1049"/>
                  </a:lnTo>
                  <a:lnTo>
                    <a:pt x="168" y="1052"/>
                  </a:lnTo>
                  <a:lnTo>
                    <a:pt x="169" y="1055"/>
                  </a:lnTo>
                  <a:lnTo>
                    <a:pt x="169" y="1055"/>
                  </a:lnTo>
                  <a:lnTo>
                    <a:pt x="181" y="1064"/>
                  </a:lnTo>
                  <a:lnTo>
                    <a:pt x="191" y="1072"/>
                  </a:lnTo>
                  <a:lnTo>
                    <a:pt x="191" y="1072"/>
                  </a:lnTo>
                  <a:lnTo>
                    <a:pt x="195" y="1077"/>
                  </a:lnTo>
                  <a:lnTo>
                    <a:pt x="195" y="1077"/>
                  </a:lnTo>
                  <a:lnTo>
                    <a:pt x="201" y="1079"/>
                  </a:lnTo>
                  <a:lnTo>
                    <a:pt x="201" y="1079"/>
                  </a:lnTo>
                  <a:lnTo>
                    <a:pt x="211" y="1088"/>
                  </a:lnTo>
                  <a:lnTo>
                    <a:pt x="211" y="1088"/>
                  </a:lnTo>
                  <a:lnTo>
                    <a:pt x="211" y="1089"/>
                  </a:lnTo>
                  <a:lnTo>
                    <a:pt x="211" y="1089"/>
                  </a:lnTo>
                  <a:lnTo>
                    <a:pt x="201" y="1082"/>
                  </a:lnTo>
                  <a:lnTo>
                    <a:pt x="192" y="1078"/>
                  </a:lnTo>
                  <a:lnTo>
                    <a:pt x="192" y="1078"/>
                  </a:lnTo>
                  <a:lnTo>
                    <a:pt x="197" y="1081"/>
                  </a:lnTo>
                  <a:lnTo>
                    <a:pt x="199" y="1085"/>
                  </a:lnTo>
                  <a:lnTo>
                    <a:pt x="199" y="1085"/>
                  </a:lnTo>
                  <a:lnTo>
                    <a:pt x="199" y="1084"/>
                  </a:lnTo>
                  <a:lnTo>
                    <a:pt x="201" y="1084"/>
                  </a:lnTo>
                  <a:lnTo>
                    <a:pt x="204" y="1088"/>
                  </a:lnTo>
                  <a:lnTo>
                    <a:pt x="204" y="1088"/>
                  </a:lnTo>
                  <a:lnTo>
                    <a:pt x="205" y="1086"/>
                  </a:lnTo>
                  <a:lnTo>
                    <a:pt x="207" y="1086"/>
                  </a:lnTo>
                  <a:lnTo>
                    <a:pt x="207" y="1086"/>
                  </a:lnTo>
                  <a:lnTo>
                    <a:pt x="217" y="1095"/>
                  </a:lnTo>
                  <a:lnTo>
                    <a:pt x="217" y="1095"/>
                  </a:lnTo>
                  <a:lnTo>
                    <a:pt x="221" y="1098"/>
                  </a:lnTo>
                  <a:lnTo>
                    <a:pt x="222" y="1098"/>
                  </a:lnTo>
                  <a:lnTo>
                    <a:pt x="222" y="1096"/>
                  </a:lnTo>
                  <a:lnTo>
                    <a:pt x="222" y="1096"/>
                  </a:lnTo>
                  <a:lnTo>
                    <a:pt x="224" y="1098"/>
                  </a:lnTo>
                  <a:lnTo>
                    <a:pt x="224" y="1099"/>
                  </a:lnTo>
                  <a:lnTo>
                    <a:pt x="225" y="1099"/>
                  </a:lnTo>
                  <a:lnTo>
                    <a:pt x="227" y="1101"/>
                  </a:lnTo>
                  <a:lnTo>
                    <a:pt x="227" y="1101"/>
                  </a:lnTo>
                  <a:lnTo>
                    <a:pt x="225" y="1101"/>
                  </a:lnTo>
                  <a:lnTo>
                    <a:pt x="224" y="1101"/>
                  </a:lnTo>
                  <a:lnTo>
                    <a:pt x="224" y="1101"/>
                  </a:lnTo>
                  <a:lnTo>
                    <a:pt x="224" y="1101"/>
                  </a:lnTo>
                  <a:lnTo>
                    <a:pt x="229" y="1104"/>
                  </a:lnTo>
                  <a:lnTo>
                    <a:pt x="231" y="1104"/>
                  </a:lnTo>
                  <a:lnTo>
                    <a:pt x="231" y="1104"/>
                  </a:lnTo>
                  <a:lnTo>
                    <a:pt x="231" y="1104"/>
                  </a:lnTo>
                  <a:lnTo>
                    <a:pt x="232" y="1105"/>
                  </a:lnTo>
                  <a:lnTo>
                    <a:pt x="234" y="1105"/>
                  </a:lnTo>
                  <a:lnTo>
                    <a:pt x="234" y="1109"/>
                  </a:lnTo>
                  <a:lnTo>
                    <a:pt x="234" y="1109"/>
                  </a:lnTo>
                  <a:lnTo>
                    <a:pt x="237" y="1111"/>
                  </a:lnTo>
                  <a:lnTo>
                    <a:pt x="238" y="1111"/>
                  </a:lnTo>
                  <a:lnTo>
                    <a:pt x="239" y="1109"/>
                  </a:lnTo>
                  <a:lnTo>
                    <a:pt x="241" y="1111"/>
                  </a:lnTo>
                  <a:lnTo>
                    <a:pt x="241" y="1111"/>
                  </a:lnTo>
                  <a:lnTo>
                    <a:pt x="242" y="1112"/>
                  </a:lnTo>
                  <a:lnTo>
                    <a:pt x="242" y="1114"/>
                  </a:lnTo>
                  <a:lnTo>
                    <a:pt x="242" y="1112"/>
                  </a:lnTo>
                  <a:lnTo>
                    <a:pt x="242" y="1112"/>
                  </a:lnTo>
                  <a:lnTo>
                    <a:pt x="244" y="1115"/>
                  </a:lnTo>
                  <a:lnTo>
                    <a:pt x="245" y="1115"/>
                  </a:lnTo>
                  <a:lnTo>
                    <a:pt x="247" y="1114"/>
                  </a:lnTo>
                  <a:lnTo>
                    <a:pt x="247" y="1114"/>
                  </a:lnTo>
                  <a:lnTo>
                    <a:pt x="249" y="1116"/>
                  </a:lnTo>
                  <a:lnTo>
                    <a:pt x="251" y="1119"/>
                  </a:lnTo>
                  <a:lnTo>
                    <a:pt x="251" y="1119"/>
                  </a:lnTo>
                  <a:lnTo>
                    <a:pt x="247" y="1118"/>
                  </a:lnTo>
                  <a:lnTo>
                    <a:pt x="244" y="1116"/>
                  </a:lnTo>
                  <a:lnTo>
                    <a:pt x="244" y="1116"/>
                  </a:lnTo>
                  <a:lnTo>
                    <a:pt x="247" y="1119"/>
                  </a:lnTo>
                  <a:lnTo>
                    <a:pt x="249" y="1121"/>
                  </a:lnTo>
                  <a:lnTo>
                    <a:pt x="252" y="1121"/>
                  </a:lnTo>
                  <a:lnTo>
                    <a:pt x="252" y="1119"/>
                  </a:lnTo>
                  <a:lnTo>
                    <a:pt x="252" y="1119"/>
                  </a:lnTo>
                  <a:lnTo>
                    <a:pt x="262" y="1126"/>
                  </a:lnTo>
                  <a:lnTo>
                    <a:pt x="262" y="1126"/>
                  </a:lnTo>
                  <a:lnTo>
                    <a:pt x="268" y="1129"/>
                  </a:lnTo>
                  <a:lnTo>
                    <a:pt x="272" y="1131"/>
                  </a:lnTo>
                  <a:lnTo>
                    <a:pt x="272" y="1131"/>
                  </a:lnTo>
                  <a:lnTo>
                    <a:pt x="274" y="1132"/>
                  </a:lnTo>
                  <a:lnTo>
                    <a:pt x="274" y="1132"/>
                  </a:lnTo>
                  <a:lnTo>
                    <a:pt x="272" y="1132"/>
                  </a:lnTo>
                  <a:lnTo>
                    <a:pt x="272" y="1134"/>
                  </a:lnTo>
                  <a:lnTo>
                    <a:pt x="272" y="1134"/>
                  </a:lnTo>
                  <a:lnTo>
                    <a:pt x="259" y="1126"/>
                  </a:lnTo>
                  <a:lnTo>
                    <a:pt x="259" y="1126"/>
                  </a:lnTo>
                  <a:lnTo>
                    <a:pt x="261" y="1128"/>
                  </a:lnTo>
                  <a:lnTo>
                    <a:pt x="261" y="1129"/>
                  </a:lnTo>
                  <a:lnTo>
                    <a:pt x="256" y="1129"/>
                  </a:lnTo>
                  <a:lnTo>
                    <a:pt x="256" y="1129"/>
                  </a:lnTo>
                  <a:lnTo>
                    <a:pt x="261" y="1131"/>
                  </a:lnTo>
                  <a:lnTo>
                    <a:pt x="262" y="1132"/>
                  </a:lnTo>
                  <a:lnTo>
                    <a:pt x="262" y="1132"/>
                  </a:lnTo>
                  <a:lnTo>
                    <a:pt x="262" y="1132"/>
                  </a:lnTo>
                  <a:lnTo>
                    <a:pt x="265" y="1134"/>
                  </a:lnTo>
                  <a:lnTo>
                    <a:pt x="265" y="1134"/>
                  </a:lnTo>
                  <a:lnTo>
                    <a:pt x="266" y="1135"/>
                  </a:lnTo>
                  <a:lnTo>
                    <a:pt x="266" y="1136"/>
                  </a:lnTo>
                  <a:lnTo>
                    <a:pt x="266" y="1136"/>
                  </a:lnTo>
                  <a:lnTo>
                    <a:pt x="276" y="1141"/>
                  </a:lnTo>
                  <a:lnTo>
                    <a:pt x="285" y="1148"/>
                  </a:lnTo>
                  <a:lnTo>
                    <a:pt x="285" y="1148"/>
                  </a:lnTo>
                  <a:lnTo>
                    <a:pt x="285" y="1148"/>
                  </a:lnTo>
                  <a:lnTo>
                    <a:pt x="282" y="1146"/>
                  </a:lnTo>
                  <a:lnTo>
                    <a:pt x="279" y="1144"/>
                  </a:lnTo>
                  <a:lnTo>
                    <a:pt x="279" y="1144"/>
                  </a:lnTo>
                  <a:lnTo>
                    <a:pt x="278" y="1144"/>
                  </a:lnTo>
                  <a:lnTo>
                    <a:pt x="278" y="1144"/>
                  </a:lnTo>
                  <a:lnTo>
                    <a:pt x="278" y="1144"/>
                  </a:lnTo>
                  <a:lnTo>
                    <a:pt x="276" y="1142"/>
                  </a:lnTo>
                  <a:lnTo>
                    <a:pt x="276" y="1142"/>
                  </a:lnTo>
                  <a:lnTo>
                    <a:pt x="281" y="1146"/>
                  </a:lnTo>
                  <a:lnTo>
                    <a:pt x="288" y="1151"/>
                  </a:lnTo>
                  <a:lnTo>
                    <a:pt x="288" y="1151"/>
                  </a:lnTo>
                  <a:lnTo>
                    <a:pt x="288" y="1152"/>
                  </a:lnTo>
                  <a:lnTo>
                    <a:pt x="288" y="1152"/>
                  </a:lnTo>
                  <a:lnTo>
                    <a:pt x="286" y="1154"/>
                  </a:lnTo>
                  <a:lnTo>
                    <a:pt x="288" y="1155"/>
                  </a:lnTo>
                  <a:lnTo>
                    <a:pt x="288" y="1155"/>
                  </a:lnTo>
                  <a:lnTo>
                    <a:pt x="291" y="1155"/>
                  </a:lnTo>
                  <a:lnTo>
                    <a:pt x="295" y="1156"/>
                  </a:lnTo>
                  <a:lnTo>
                    <a:pt x="295" y="1156"/>
                  </a:lnTo>
                  <a:lnTo>
                    <a:pt x="296" y="1159"/>
                  </a:lnTo>
                  <a:lnTo>
                    <a:pt x="298" y="1162"/>
                  </a:lnTo>
                  <a:lnTo>
                    <a:pt x="298" y="1162"/>
                  </a:lnTo>
                  <a:lnTo>
                    <a:pt x="301" y="1162"/>
                  </a:lnTo>
                  <a:lnTo>
                    <a:pt x="302" y="1162"/>
                  </a:lnTo>
                  <a:lnTo>
                    <a:pt x="302" y="1162"/>
                  </a:lnTo>
                  <a:lnTo>
                    <a:pt x="304" y="1164"/>
                  </a:lnTo>
                  <a:lnTo>
                    <a:pt x="305" y="1166"/>
                  </a:lnTo>
                  <a:lnTo>
                    <a:pt x="305" y="1166"/>
                  </a:lnTo>
                  <a:lnTo>
                    <a:pt x="315" y="1171"/>
                  </a:lnTo>
                  <a:lnTo>
                    <a:pt x="315" y="1171"/>
                  </a:lnTo>
                  <a:lnTo>
                    <a:pt x="324" y="1176"/>
                  </a:lnTo>
                  <a:lnTo>
                    <a:pt x="324" y="1176"/>
                  </a:lnTo>
                  <a:lnTo>
                    <a:pt x="325" y="1178"/>
                  </a:lnTo>
                  <a:lnTo>
                    <a:pt x="324" y="1176"/>
                  </a:lnTo>
                  <a:lnTo>
                    <a:pt x="318" y="1175"/>
                  </a:lnTo>
                  <a:lnTo>
                    <a:pt x="318" y="1175"/>
                  </a:lnTo>
                  <a:lnTo>
                    <a:pt x="322" y="1178"/>
                  </a:lnTo>
                  <a:lnTo>
                    <a:pt x="325" y="1179"/>
                  </a:lnTo>
                  <a:lnTo>
                    <a:pt x="326" y="1181"/>
                  </a:lnTo>
                  <a:lnTo>
                    <a:pt x="326" y="1181"/>
                  </a:lnTo>
                  <a:lnTo>
                    <a:pt x="328" y="1181"/>
                  </a:lnTo>
                  <a:lnTo>
                    <a:pt x="329" y="1181"/>
                  </a:lnTo>
                  <a:lnTo>
                    <a:pt x="329" y="1179"/>
                  </a:lnTo>
                  <a:lnTo>
                    <a:pt x="329" y="1179"/>
                  </a:lnTo>
                  <a:lnTo>
                    <a:pt x="341" y="1186"/>
                  </a:lnTo>
                  <a:lnTo>
                    <a:pt x="341" y="1186"/>
                  </a:lnTo>
                  <a:lnTo>
                    <a:pt x="352" y="1192"/>
                  </a:lnTo>
                  <a:lnTo>
                    <a:pt x="352" y="1192"/>
                  </a:lnTo>
                  <a:lnTo>
                    <a:pt x="376" y="1202"/>
                  </a:lnTo>
                  <a:lnTo>
                    <a:pt x="376" y="1202"/>
                  </a:lnTo>
                  <a:lnTo>
                    <a:pt x="378" y="1202"/>
                  </a:lnTo>
                  <a:lnTo>
                    <a:pt x="376" y="1201"/>
                  </a:lnTo>
                  <a:lnTo>
                    <a:pt x="375" y="1199"/>
                  </a:lnTo>
                  <a:lnTo>
                    <a:pt x="375" y="1199"/>
                  </a:lnTo>
                  <a:lnTo>
                    <a:pt x="383" y="1202"/>
                  </a:lnTo>
                  <a:lnTo>
                    <a:pt x="383" y="1202"/>
                  </a:lnTo>
                  <a:lnTo>
                    <a:pt x="385" y="1204"/>
                  </a:lnTo>
                  <a:lnTo>
                    <a:pt x="388" y="1205"/>
                  </a:lnTo>
                  <a:lnTo>
                    <a:pt x="396" y="1208"/>
                  </a:lnTo>
                  <a:lnTo>
                    <a:pt x="396" y="1208"/>
                  </a:lnTo>
                  <a:lnTo>
                    <a:pt x="406" y="1211"/>
                  </a:lnTo>
                  <a:lnTo>
                    <a:pt x="415" y="1214"/>
                  </a:lnTo>
                  <a:lnTo>
                    <a:pt x="415" y="1214"/>
                  </a:lnTo>
                  <a:lnTo>
                    <a:pt x="411" y="1214"/>
                  </a:lnTo>
                  <a:lnTo>
                    <a:pt x="403" y="1214"/>
                  </a:lnTo>
                  <a:lnTo>
                    <a:pt x="403" y="1214"/>
                  </a:lnTo>
                  <a:lnTo>
                    <a:pt x="396" y="1211"/>
                  </a:lnTo>
                  <a:lnTo>
                    <a:pt x="396" y="1211"/>
                  </a:lnTo>
                  <a:lnTo>
                    <a:pt x="389" y="1209"/>
                  </a:lnTo>
                  <a:lnTo>
                    <a:pt x="389" y="1209"/>
                  </a:lnTo>
                  <a:lnTo>
                    <a:pt x="396" y="1212"/>
                  </a:lnTo>
                  <a:lnTo>
                    <a:pt x="396" y="1212"/>
                  </a:lnTo>
                  <a:lnTo>
                    <a:pt x="399" y="1214"/>
                  </a:lnTo>
                  <a:lnTo>
                    <a:pt x="401" y="1215"/>
                  </a:lnTo>
                  <a:lnTo>
                    <a:pt x="401" y="1215"/>
                  </a:lnTo>
                  <a:lnTo>
                    <a:pt x="408" y="1215"/>
                  </a:lnTo>
                  <a:lnTo>
                    <a:pt x="408" y="1215"/>
                  </a:lnTo>
                  <a:lnTo>
                    <a:pt x="411" y="1216"/>
                  </a:lnTo>
                  <a:lnTo>
                    <a:pt x="411" y="1218"/>
                  </a:lnTo>
                  <a:lnTo>
                    <a:pt x="411" y="1218"/>
                  </a:lnTo>
                  <a:lnTo>
                    <a:pt x="406" y="1216"/>
                  </a:lnTo>
                  <a:lnTo>
                    <a:pt x="402" y="1215"/>
                  </a:lnTo>
                  <a:lnTo>
                    <a:pt x="402" y="1215"/>
                  </a:lnTo>
                  <a:lnTo>
                    <a:pt x="402" y="1216"/>
                  </a:lnTo>
                  <a:lnTo>
                    <a:pt x="401" y="1216"/>
                  </a:lnTo>
                  <a:lnTo>
                    <a:pt x="396" y="1216"/>
                  </a:lnTo>
                  <a:lnTo>
                    <a:pt x="396" y="1216"/>
                  </a:lnTo>
                  <a:lnTo>
                    <a:pt x="401" y="1218"/>
                  </a:lnTo>
                  <a:lnTo>
                    <a:pt x="405" y="1219"/>
                  </a:lnTo>
                  <a:lnTo>
                    <a:pt x="409" y="1219"/>
                  </a:lnTo>
                  <a:lnTo>
                    <a:pt x="413" y="1221"/>
                  </a:lnTo>
                  <a:lnTo>
                    <a:pt x="413" y="1221"/>
                  </a:lnTo>
                  <a:lnTo>
                    <a:pt x="422" y="1222"/>
                  </a:lnTo>
                  <a:lnTo>
                    <a:pt x="422" y="1222"/>
                  </a:lnTo>
                  <a:lnTo>
                    <a:pt x="431" y="1222"/>
                  </a:lnTo>
                  <a:lnTo>
                    <a:pt x="431" y="1222"/>
                  </a:lnTo>
                  <a:lnTo>
                    <a:pt x="432" y="1224"/>
                  </a:lnTo>
                  <a:lnTo>
                    <a:pt x="432" y="1224"/>
                  </a:lnTo>
                  <a:lnTo>
                    <a:pt x="429" y="1224"/>
                  </a:lnTo>
                  <a:lnTo>
                    <a:pt x="429" y="1224"/>
                  </a:lnTo>
                  <a:lnTo>
                    <a:pt x="435" y="1226"/>
                  </a:lnTo>
                  <a:lnTo>
                    <a:pt x="440" y="1228"/>
                  </a:lnTo>
                  <a:lnTo>
                    <a:pt x="440" y="1228"/>
                  </a:lnTo>
                  <a:lnTo>
                    <a:pt x="440" y="1226"/>
                  </a:lnTo>
                  <a:lnTo>
                    <a:pt x="446" y="1228"/>
                  </a:lnTo>
                  <a:lnTo>
                    <a:pt x="446" y="1228"/>
                  </a:lnTo>
                  <a:lnTo>
                    <a:pt x="442" y="1226"/>
                  </a:lnTo>
                  <a:lnTo>
                    <a:pt x="439" y="1225"/>
                  </a:lnTo>
                  <a:lnTo>
                    <a:pt x="439" y="1225"/>
                  </a:lnTo>
                  <a:lnTo>
                    <a:pt x="445" y="1226"/>
                  </a:lnTo>
                  <a:lnTo>
                    <a:pt x="450" y="1228"/>
                  </a:lnTo>
                  <a:lnTo>
                    <a:pt x="450" y="1228"/>
                  </a:lnTo>
                  <a:lnTo>
                    <a:pt x="462" y="1228"/>
                  </a:lnTo>
                  <a:lnTo>
                    <a:pt x="462" y="1228"/>
                  </a:lnTo>
                  <a:lnTo>
                    <a:pt x="462" y="1229"/>
                  </a:lnTo>
                  <a:lnTo>
                    <a:pt x="468" y="1231"/>
                  </a:lnTo>
                  <a:lnTo>
                    <a:pt x="468" y="1231"/>
                  </a:lnTo>
                  <a:lnTo>
                    <a:pt x="469" y="1232"/>
                  </a:lnTo>
                  <a:lnTo>
                    <a:pt x="468" y="1232"/>
                  </a:lnTo>
                  <a:lnTo>
                    <a:pt x="468" y="1234"/>
                  </a:lnTo>
                  <a:lnTo>
                    <a:pt x="469" y="1234"/>
                  </a:lnTo>
                  <a:lnTo>
                    <a:pt x="469" y="1234"/>
                  </a:lnTo>
                  <a:lnTo>
                    <a:pt x="472" y="1234"/>
                  </a:lnTo>
                  <a:lnTo>
                    <a:pt x="475" y="1234"/>
                  </a:lnTo>
                  <a:lnTo>
                    <a:pt x="486" y="1234"/>
                  </a:lnTo>
                  <a:lnTo>
                    <a:pt x="486" y="1234"/>
                  </a:lnTo>
                  <a:lnTo>
                    <a:pt x="506" y="1239"/>
                  </a:lnTo>
                  <a:lnTo>
                    <a:pt x="506" y="1239"/>
                  </a:lnTo>
                  <a:lnTo>
                    <a:pt x="516" y="1238"/>
                  </a:lnTo>
                  <a:lnTo>
                    <a:pt x="527" y="1238"/>
                  </a:lnTo>
                  <a:lnTo>
                    <a:pt x="527" y="1238"/>
                  </a:lnTo>
                  <a:lnTo>
                    <a:pt x="529" y="1238"/>
                  </a:lnTo>
                  <a:lnTo>
                    <a:pt x="527" y="1239"/>
                  </a:lnTo>
                  <a:lnTo>
                    <a:pt x="525" y="1239"/>
                  </a:lnTo>
                  <a:lnTo>
                    <a:pt x="525" y="1239"/>
                  </a:lnTo>
                  <a:lnTo>
                    <a:pt x="525" y="1239"/>
                  </a:lnTo>
                  <a:lnTo>
                    <a:pt x="533" y="1241"/>
                  </a:lnTo>
                  <a:lnTo>
                    <a:pt x="540" y="1239"/>
                  </a:lnTo>
                  <a:lnTo>
                    <a:pt x="540" y="1239"/>
                  </a:lnTo>
                  <a:lnTo>
                    <a:pt x="552" y="1236"/>
                  </a:lnTo>
                  <a:lnTo>
                    <a:pt x="552" y="1236"/>
                  </a:lnTo>
                  <a:lnTo>
                    <a:pt x="545" y="1236"/>
                  </a:lnTo>
                  <a:lnTo>
                    <a:pt x="540" y="1236"/>
                  </a:lnTo>
                  <a:lnTo>
                    <a:pt x="535" y="1238"/>
                  </a:lnTo>
                  <a:lnTo>
                    <a:pt x="530" y="1238"/>
                  </a:lnTo>
                  <a:lnTo>
                    <a:pt x="530" y="1238"/>
                  </a:lnTo>
                  <a:lnTo>
                    <a:pt x="529" y="1236"/>
                  </a:lnTo>
                  <a:lnTo>
                    <a:pt x="529" y="1236"/>
                  </a:lnTo>
                  <a:lnTo>
                    <a:pt x="529" y="1236"/>
                  </a:lnTo>
                  <a:lnTo>
                    <a:pt x="525" y="1236"/>
                  </a:lnTo>
                  <a:lnTo>
                    <a:pt x="523" y="1236"/>
                  </a:lnTo>
                  <a:lnTo>
                    <a:pt x="525" y="1238"/>
                  </a:lnTo>
                  <a:lnTo>
                    <a:pt x="525" y="1238"/>
                  </a:lnTo>
                  <a:lnTo>
                    <a:pt x="515" y="1235"/>
                  </a:lnTo>
                  <a:lnTo>
                    <a:pt x="515" y="1235"/>
                  </a:lnTo>
                  <a:lnTo>
                    <a:pt x="505" y="1235"/>
                  </a:lnTo>
                  <a:lnTo>
                    <a:pt x="505" y="1235"/>
                  </a:lnTo>
                  <a:lnTo>
                    <a:pt x="492" y="1234"/>
                  </a:lnTo>
                  <a:lnTo>
                    <a:pt x="486" y="1232"/>
                  </a:lnTo>
                  <a:lnTo>
                    <a:pt x="482" y="1231"/>
                  </a:lnTo>
                  <a:lnTo>
                    <a:pt x="482" y="1231"/>
                  </a:lnTo>
                  <a:lnTo>
                    <a:pt x="490" y="1231"/>
                  </a:lnTo>
                  <a:lnTo>
                    <a:pt x="500" y="1231"/>
                  </a:lnTo>
                  <a:lnTo>
                    <a:pt x="500" y="1231"/>
                  </a:lnTo>
                  <a:lnTo>
                    <a:pt x="520" y="1235"/>
                  </a:lnTo>
                  <a:lnTo>
                    <a:pt x="520" y="1235"/>
                  </a:lnTo>
                  <a:lnTo>
                    <a:pt x="527" y="1234"/>
                  </a:lnTo>
                  <a:lnTo>
                    <a:pt x="537" y="1234"/>
                  </a:lnTo>
                  <a:lnTo>
                    <a:pt x="537" y="1234"/>
                  </a:lnTo>
                  <a:lnTo>
                    <a:pt x="543" y="1234"/>
                  </a:lnTo>
                  <a:lnTo>
                    <a:pt x="543" y="1234"/>
                  </a:lnTo>
                  <a:lnTo>
                    <a:pt x="549" y="1235"/>
                  </a:lnTo>
                  <a:lnTo>
                    <a:pt x="549" y="1235"/>
                  </a:lnTo>
                  <a:lnTo>
                    <a:pt x="560" y="1235"/>
                  </a:lnTo>
                  <a:lnTo>
                    <a:pt x="560" y="1235"/>
                  </a:lnTo>
                  <a:lnTo>
                    <a:pt x="555" y="1238"/>
                  </a:lnTo>
                  <a:lnTo>
                    <a:pt x="550" y="1241"/>
                  </a:lnTo>
                  <a:lnTo>
                    <a:pt x="550" y="1241"/>
                  </a:lnTo>
                  <a:lnTo>
                    <a:pt x="556" y="1239"/>
                  </a:lnTo>
                  <a:lnTo>
                    <a:pt x="560" y="1239"/>
                  </a:lnTo>
                  <a:lnTo>
                    <a:pt x="560" y="1239"/>
                  </a:lnTo>
                  <a:lnTo>
                    <a:pt x="567" y="1242"/>
                  </a:lnTo>
                  <a:lnTo>
                    <a:pt x="573" y="1242"/>
                  </a:lnTo>
                  <a:lnTo>
                    <a:pt x="573" y="1242"/>
                  </a:lnTo>
                  <a:lnTo>
                    <a:pt x="579" y="1241"/>
                  </a:lnTo>
                  <a:lnTo>
                    <a:pt x="585" y="1242"/>
                  </a:lnTo>
                  <a:lnTo>
                    <a:pt x="585" y="1242"/>
                  </a:lnTo>
                  <a:lnTo>
                    <a:pt x="603" y="1242"/>
                  </a:lnTo>
                  <a:lnTo>
                    <a:pt x="603" y="1242"/>
                  </a:lnTo>
                  <a:lnTo>
                    <a:pt x="602" y="1241"/>
                  </a:lnTo>
                  <a:lnTo>
                    <a:pt x="602" y="1241"/>
                  </a:lnTo>
                  <a:lnTo>
                    <a:pt x="603" y="1241"/>
                  </a:lnTo>
                  <a:lnTo>
                    <a:pt x="603" y="1241"/>
                  </a:lnTo>
                  <a:lnTo>
                    <a:pt x="603" y="1241"/>
                  </a:lnTo>
                  <a:lnTo>
                    <a:pt x="607" y="1239"/>
                  </a:lnTo>
                  <a:lnTo>
                    <a:pt x="612" y="1239"/>
                  </a:lnTo>
                  <a:lnTo>
                    <a:pt x="612" y="1239"/>
                  </a:lnTo>
                  <a:lnTo>
                    <a:pt x="615" y="1239"/>
                  </a:lnTo>
                  <a:lnTo>
                    <a:pt x="613" y="1241"/>
                  </a:lnTo>
                  <a:lnTo>
                    <a:pt x="607" y="1241"/>
                  </a:lnTo>
                  <a:lnTo>
                    <a:pt x="607" y="1241"/>
                  </a:lnTo>
                  <a:lnTo>
                    <a:pt x="610" y="1241"/>
                  </a:lnTo>
                  <a:lnTo>
                    <a:pt x="615" y="1241"/>
                  </a:lnTo>
                  <a:lnTo>
                    <a:pt x="619" y="1241"/>
                  </a:lnTo>
                  <a:lnTo>
                    <a:pt x="622" y="1239"/>
                  </a:lnTo>
                  <a:lnTo>
                    <a:pt x="622" y="1239"/>
                  </a:lnTo>
                  <a:lnTo>
                    <a:pt x="629" y="1239"/>
                  </a:lnTo>
                  <a:lnTo>
                    <a:pt x="629" y="1239"/>
                  </a:lnTo>
                  <a:lnTo>
                    <a:pt x="636" y="1239"/>
                  </a:lnTo>
                  <a:lnTo>
                    <a:pt x="636" y="1239"/>
                  </a:lnTo>
                  <a:lnTo>
                    <a:pt x="646" y="1238"/>
                  </a:lnTo>
                  <a:lnTo>
                    <a:pt x="650" y="1236"/>
                  </a:lnTo>
                  <a:lnTo>
                    <a:pt x="656" y="1236"/>
                  </a:lnTo>
                  <a:lnTo>
                    <a:pt x="656" y="1236"/>
                  </a:lnTo>
                  <a:lnTo>
                    <a:pt x="657" y="1238"/>
                  </a:lnTo>
                  <a:lnTo>
                    <a:pt x="654" y="1239"/>
                  </a:lnTo>
                  <a:lnTo>
                    <a:pt x="649" y="1242"/>
                  </a:lnTo>
                  <a:lnTo>
                    <a:pt x="649" y="1242"/>
                  </a:lnTo>
                  <a:lnTo>
                    <a:pt x="660" y="1241"/>
                  </a:lnTo>
                  <a:lnTo>
                    <a:pt x="673" y="1239"/>
                  </a:lnTo>
                  <a:lnTo>
                    <a:pt x="673" y="1239"/>
                  </a:lnTo>
                  <a:lnTo>
                    <a:pt x="676" y="1239"/>
                  </a:lnTo>
                  <a:lnTo>
                    <a:pt x="680" y="1239"/>
                  </a:lnTo>
                  <a:lnTo>
                    <a:pt x="680" y="1239"/>
                  </a:lnTo>
                  <a:lnTo>
                    <a:pt x="680" y="1239"/>
                  </a:lnTo>
                  <a:lnTo>
                    <a:pt x="677" y="1239"/>
                  </a:lnTo>
                  <a:lnTo>
                    <a:pt x="676" y="1239"/>
                  </a:lnTo>
                  <a:lnTo>
                    <a:pt x="676" y="1238"/>
                  </a:lnTo>
                  <a:lnTo>
                    <a:pt x="676" y="1238"/>
                  </a:lnTo>
                  <a:lnTo>
                    <a:pt x="666" y="1239"/>
                  </a:lnTo>
                  <a:lnTo>
                    <a:pt x="666" y="1239"/>
                  </a:lnTo>
                  <a:lnTo>
                    <a:pt x="664" y="1238"/>
                  </a:lnTo>
                  <a:lnTo>
                    <a:pt x="664" y="1238"/>
                  </a:lnTo>
                  <a:lnTo>
                    <a:pt x="659" y="1238"/>
                  </a:lnTo>
                  <a:lnTo>
                    <a:pt x="659" y="1238"/>
                  </a:lnTo>
                  <a:lnTo>
                    <a:pt x="659" y="1238"/>
                  </a:lnTo>
                  <a:lnTo>
                    <a:pt x="659" y="1238"/>
                  </a:lnTo>
                  <a:lnTo>
                    <a:pt x="662" y="1236"/>
                  </a:lnTo>
                  <a:lnTo>
                    <a:pt x="662" y="1236"/>
                  </a:lnTo>
                  <a:lnTo>
                    <a:pt x="666" y="1238"/>
                  </a:lnTo>
                  <a:lnTo>
                    <a:pt x="670" y="1238"/>
                  </a:lnTo>
                  <a:lnTo>
                    <a:pt x="670" y="1238"/>
                  </a:lnTo>
                  <a:lnTo>
                    <a:pt x="672" y="1236"/>
                  </a:lnTo>
                  <a:lnTo>
                    <a:pt x="672" y="1236"/>
                  </a:lnTo>
                  <a:lnTo>
                    <a:pt x="672" y="1236"/>
                  </a:lnTo>
                  <a:lnTo>
                    <a:pt x="672" y="1236"/>
                  </a:lnTo>
                  <a:lnTo>
                    <a:pt x="683" y="1235"/>
                  </a:lnTo>
                  <a:lnTo>
                    <a:pt x="683" y="1235"/>
                  </a:lnTo>
                  <a:lnTo>
                    <a:pt x="684" y="1236"/>
                  </a:lnTo>
                  <a:lnTo>
                    <a:pt x="682" y="1236"/>
                  </a:lnTo>
                  <a:lnTo>
                    <a:pt x="682" y="1236"/>
                  </a:lnTo>
                  <a:lnTo>
                    <a:pt x="679" y="1236"/>
                  </a:lnTo>
                  <a:lnTo>
                    <a:pt x="677" y="1236"/>
                  </a:lnTo>
                  <a:lnTo>
                    <a:pt x="677" y="1236"/>
                  </a:lnTo>
                  <a:lnTo>
                    <a:pt x="677" y="1238"/>
                  </a:lnTo>
                  <a:lnTo>
                    <a:pt x="677" y="1238"/>
                  </a:lnTo>
                  <a:lnTo>
                    <a:pt x="679" y="1239"/>
                  </a:lnTo>
                  <a:lnTo>
                    <a:pt x="679" y="1239"/>
                  </a:lnTo>
                  <a:lnTo>
                    <a:pt x="690" y="1235"/>
                  </a:lnTo>
                  <a:lnTo>
                    <a:pt x="690" y="1235"/>
                  </a:lnTo>
                  <a:lnTo>
                    <a:pt x="702" y="1232"/>
                  </a:lnTo>
                  <a:lnTo>
                    <a:pt x="702" y="1232"/>
                  </a:lnTo>
                  <a:lnTo>
                    <a:pt x="713" y="1229"/>
                  </a:lnTo>
                  <a:lnTo>
                    <a:pt x="713" y="1229"/>
                  </a:lnTo>
                  <a:lnTo>
                    <a:pt x="726" y="1225"/>
                  </a:lnTo>
                  <a:lnTo>
                    <a:pt x="726" y="1225"/>
                  </a:lnTo>
                  <a:lnTo>
                    <a:pt x="727" y="1225"/>
                  </a:lnTo>
                  <a:lnTo>
                    <a:pt x="727" y="1226"/>
                  </a:lnTo>
                  <a:lnTo>
                    <a:pt x="727" y="1226"/>
                  </a:lnTo>
                  <a:lnTo>
                    <a:pt x="727" y="1226"/>
                  </a:lnTo>
                  <a:lnTo>
                    <a:pt x="736" y="1224"/>
                  </a:lnTo>
                  <a:lnTo>
                    <a:pt x="749" y="1219"/>
                  </a:lnTo>
                  <a:lnTo>
                    <a:pt x="749" y="1219"/>
                  </a:lnTo>
                  <a:lnTo>
                    <a:pt x="747" y="1221"/>
                  </a:lnTo>
                  <a:lnTo>
                    <a:pt x="743" y="1222"/>
                  </a:lnTo>
                  <a:lnTo>
                    <a:pt x="737" y="1225"/>
                  </a:lnTo>
                  <a:lnTo>
                    <a:pt x="737" y="1225"/>
                  </a:lnTo>
                  <a:lnTo>
                    <a:pt x="734" y="1225"/>
                  </a:lnTo>
                  <a:lnTo>
                    <a:pt x="737" y="1225"/>
                  </a:lnTo>
                  <a:lnTo>
                    <a:pt x="737" y="1225"/>
                  </a:lnTo>
                  <a:lnTo>
                    <a:pt x="746" y="1222"/>
                  </a:lnTo>
                  <a:lnTo>
                    <a:pt x="746" y="1222"/>
                  </a:lnTo>
                  <a:lnTo>
                    <a:pt x="750" y="1221"/>
                  </a:lnTo>
                  <a:lnTo>
                    <a:pt x="750" y="1221"/>
                  </a:lnTo>
                  <a:lnTo>
                    <a:pt x="754" y="1221"/>
                  </a:lnTo>
                  <a:lnTo>
                    <a:pt x="754" y="1221"/>
                  </a:lnTo>
                  <a:lnTo>
                    <a:pt x="770" y="1215"/>
                  </a:lnTo>
                  <a:lnTo>
                    <a:pt x="770" y="1215"/>
                  </a:lnTo>
                  <a:lnTo>
                    <a:pt x="771" y="1216"/>
                  </a:lnTo>
                  <a:lnTo>
                    <a:pt x="770" y="1216"/>
                  </a:lnTo>
                  <a:lnTo>
                    <a:pt x="766" y="1218"/>
                  </a:lnTo>
                  <a:lnTo>
                    <a:pt x="761" y="1221"/>
                  </a:lnTo>
                  <a:lnTo>
                    <a:pt x="760" y="1222"/>
                  </a:lnTo>
                  <a:lnTo>
                    <a:pt x="760" y="1222"/>
                  </a:lnTo>
                  <a:lnTo>
                    <a:pt x="764" y="1221"/>
                  </a:lnTo>
                  <a:lnTo>
                    <a:pt x="767" y="1219"/>
                  </a:lnTo>
                  <a:lnTo>
                    <a:pt x="767" y="1219"/>
                  </a:lnTo>
                  <a:lnTo>
                    <a:pt x="780" y="1216"/>
                  </a:lnTo>
                  <a:lnTo>
                    <a:pt x="780" y="1216"/>
                  </a:lnTo>
                  <a:lnTo>
                    <a:pt x="796" y="1211"/>
                  </a:lnTo>
                  <a:lnTo>
                    <a:pt x="796" y="1211"/>
                  </a:lnTo>
                  <a:lnTo>
                    <a:pt x="810" y="1205"/>
                  </a:lnTo>
                  <a:lnTo>
                    <a:pt x="810" y="1205"/>
                  </a:lnTo>
                  <a:lnTo>
                    <a:pt x="823" y="1199"/>
                  </a:lnTo>
                  <a:lnTo>
                    <a:pt x="823" y="1199"/>
                  </a:lnTo>
                  <a:lnTo>
                    <a:pt x="823" y="1199"/>
                  </a:lnTo>
                  <a:lnTo>
                    <a:pt x="823" y="1199"/>
                  </a:lnTo>
                  <a:lnTo>
                    <a:pt x="821" y="1201"/>
                  </a:lnTo>
                  <a:lnTo>
                    <a:pt x="818" y="1202"/>
                  </a:lnTo>
                  <a:lnTo>
                    <a:pt x="821" y="1202"/>
                  </a:lnTo>
                  <a:lnTo>
                    <a:pt x="821" y="1202"/>
                  </a:lnTo>
                  <a:lnTo>
                    <a:pt x="826" y="1199"/>
                  </a:lnTo>
                  <a:lnTo>
                    <a:pt x="833" y="1195"/>
                  </a:lnTo>
                  <a:lnTo>
                    <a:pt x="833" y="1195"/>
                  </a:lnTo>
                  <a:lnTo>
                    <a:pt x="827" y="1196"/>
                  </a:lnTo>
                  <a:lnTo>
                    <a:pt x="823" y="1198"/>
                  </a:lnTo>
                  <a:lnTo>
                    <a:pt x="823" y="1198"/>
                  </a:lnTo>
                  <a:lnTo>
                    <a:pt x="821" y="1198"/>
                  </a:lnTo>
                  <a:lnTo>
                    <a:pt x="821" y="1198"/>
                  </a:lnTo>
                  <a:lnTo>
                    <a:pt x="831" y="1194"/>
                  </a:lnTo>
                  <a:lnTo>
                    <a:pt x="831" y="1194"/>
                  </a:lnTo>
                  <a:lnTo>
                    <a:pt x="836" y="1192"/>
                  </a:lnTo>
                  <a:lnTo>
                    <a:pt x="836" y="1192"/>
                  </a:lnTo>
                  <a:lnTo>
                    <a:pt x="841" y="1189"/>
                  </a:lnTo>
                  <a:lnTo>
                    <a:pt x="841" y="1189"/>
                  </a:lnTo>
                  <a:lnTo>
                    <a:pt x="843" y="1189"/>
                  </a:lnTo>
                  <a:lnTo>
                    <a:pt x="844" y="1189"/>
                  </a:lnTo>
                  <a:lnTo>
                    <a:pt x="844" y="1189"/>
                  </a:lnTo>
                  <a:lnTo>
                    <a:pt x="851" y="1186"/>
                  </a:lnTo>
                  <a:lnTo>
                    <a:pt x="858" y="1182"/>
                  </a:lnTo>
                  <a:lnTo>
                    <a:pt x="858" y="1182"/>
                  </a:lnTo>
                  <a:lnTo>
                    <a:pt x="861" y="1182"/>
                  </a:lnTo>
                  <a:lnTo>
                    <a:pt x="860" y="1184"/>
                  </a:lnTo>
                  <a:lnTo>
                    <a:pt x="860" y="1184"/>
                  </a:lnTo>
                  <a:lnTo>
                    <a:pt x="864" y="1182"/>
                  </a:lnTo>
                  <a:lnTo>
                    <a:pt x="868" y="1181"/>
                  </a:lnTo>
                  <a:lnTo>
                    <a:pt x="868" y="1181"/>
                  </a:lnTo>
                  <a:lnTo>
                    <a:pt x="868" y="1179"/>
                  </a:lnTo>
                  <a:lnTo>
                    <a:pt x="867" y="1179"/>
                  </a:lnTo>
                  <a:lnTo>
                    <a:pt x="867" y="1179"/>
                  </a:lnTo>
                  <a:lnTo>
                    <a:pt x="894" y="1168"/>
                  </a:lnTo>
                  <a:lnTo>
                    <a:pt x="894" y="1168"/>
                  </a:lnTo>
                  <a:lnTo>
                    <a:pt x="918" y="1154"/>
                  </a:lnTo>
                  <a:lnTo>
                    <a:pt x="918" y="1154"/>
                  </a:lnTo>
                  <a:lnTo>
                    <a:pt x="918" y="1154"/>
                  </a:lnTo>
                  <a:lnTo>
                    <a:pt x="918" y="1154"/>
                  </a:lnTo>
                  <a:lnTo>
                    <a:pt x="917" y="1156"/>
                  </a:lnTo>
                  <a:lnTo>
                    <a:pt x="917" y="1156"/>
                  </a:lnTo>
                  <a:lnTo>
                    <a:pt x="921" y="1154"/>
                  </a:lnTo>
                  <a:lnTo>
                    <a:pt x="921" y="1154"/>
                  </a:lnTo>
                  <a:lnTo>
                    <a:pt x="925" y="1151"/>
                  </a:lnTo>
                  <a:lnTo>
                    <a:pt x="925" y="1151"/>
                  </a:lnTo>
                  <a:lnTo>
                    <a:pt x="927" y="1149"/>
                  </a:lnTo>
                  <a:lnTo>
                    <a:pt x="927" y="1149"/>
                  </a:lnTo>
                  <a:lnTo>
                    <a:pt x="925" y="1149"/>
                  </a:lnTo>
                  <a:lnTo>
                    <a:pt x="927" y="1148"/>
                  </a:lnTo>
                  <a:lnTo>
                    <a:pt x="927" y="1148"/>
                  </a:lnTo>
                  <a:lnTo>
                    <a:pt x="934" y="1144"/>
                  </a:lnTo>
                  <a:lnTo>
                    <a:pt x="940" y="1139"/>
                  </a:lnTo>
                  <a:lnTo>
                    <a:pt x="940" y="1139"/>
                  </a:lnTo>
                  <a:lnTo>
                    <a:pt x="943" y="1139"/>
                  </a:lnTo>
                  <a:lnTo>
                    <a:pt x="945" y="1138"/>
                  </a:lnTo>
                  <a:lnTo>
                    <a:pt x="945" y="1138"/>
                  </a:lnTo>
                  <a:lnTo>
                    <a:pt x="945" y="1138"/>
                  </a:lnTo>
                  <a:lnTo>
                    <a:pt x="945" y="1136"/>
                  </a:lnTo>
                  <a:lnTo>
                    <a:pt x="945" y="1136"/>
                  </a:lnTo>
                  <a:lnTo>
                    <a:pt x="945" y="1135"/>
                  </a:lnTo>
                  <a:lnTo>
                    <a:pt x="945" y="1135"/>
                  </a:lnTo>
                  <a:lnTo>
                    <a:pt x="948" y="1134"/>
                  </a:lnTo>
                  <a:lnTo>
                    <a:pt x="951" y="1132"/>
                  </a:lnTo>
                  <a:lnTo>
                    <a:pt x="957" y="1128"/>
                  </a:lnTo>
                  <a:lnTo>
                    <a:pt x="957" y="1128"/>
                  </a:lnTo>
                  <a:lnTo>
                    <a:pt x="958" y="1128"/>
                  </a:lnTo>
                  <a:lnTo>
                    <a:pt x="961" y="1126"/>
                  </a:lnTo>
                  <a:lnTo>
                    <a:pt x="961" y="1126"/>
                  </a:lnTo>
                  <a:lnTo>
                    <a:pt x="961" y="1126"/>
                  </a:lnTo>
                  <a:lnTo>
                    <a:pt x="960" y="1126"/>
                  </a:lnTo>
                  <a:lnTo>
                    <a:pt x="960" y="1126"/>
                  </a:lnTo>
                  <a:lnTo>
                    <a:pt x="965" y="1122"/>
                  </a:lnTo>
                  <a:lnTo>
                    <a:pt x="971" y="1118"/>
                  </a:lnTo>
                  <a:lnTo>
                    <a:pt x="971" y="1118"/>
                  </a:lnTo>
                  <a:lnTo>
                    <a:pt x="977" y="1116"/>
                  </a:lnTo>
                  <a:lnTo>
                    <a:pt x="980" y="1116"/>
                  </a:lnTo>
                  <a:lnTo>
                    <a:pt x="980" y="1116"/>
                  </a:lnTo>
                  <a:lnTo>
                    <a:pt x="982" y="1114"/>
                  </a:lnTo>
                  <a:lnTo>
                    <a:pt x="980" y="1114"/>
                  </a:lnTo>
                  <a:lnTo>
                    <a:pt x="977" y="1115"/>
                  </a:lnTo>
                  <a:lnTo>
                    <a:pt x="975" y="1115"/>
                  </a:lnTo>
                  <a:lnTo>
                    <a:pt x="977" y="1114"/>
                  </a:lnTo>
                  <a:lnTo>
                    <a:pt x="977" y="1114"/>
                  </a:lnTo>
                  <a:lnTo>
                    <a:pt x="980" y="1112"/>
                  </a:lnTo>
                  <a:lnTo>
                    <a:pt x="984" y="1111"/>
                  </a:lnTo>
                  <a:lnTo>
                    <a:pt x="984" y="1111"/>
                  </a:lnTo>
                  <a:lnTo>
                    <a:pt x="990" y="1105"/>
                  </a:lnTo>
                  <a:lnTo>
                    <a:pt x="992" y="1102"/>
                  </a:lnTo>
                  <a:lnTo>
                    <a:pt x="994" y="1101"/>
                  </a:lnTo>
                  <a:lnTo>
                    <a:pt x="994" y="1101"/>
                  </a:lnTo>
                  <a:lnTo>
                    <a:pt x="1000" y="1095"/>
                  </a:lnTo>
                  <a:lnTo>
                    <a:pt x="1000" y="1095"/>
                  </a:lnTo>
                  <a:lnTo>
                    <a:pt x="1002" y="1094"/>
                  </a:lnTo>
                  <a:lnTo>
                    <a:pt x="1004" y="1094"/>
                  </a:lnTo>
                  <a:lnTo>
                    <a:pt x="1004" y="1094"/>
                  </a:lnTo>
                  <a:lnTo>
                    <a:pt x="1008" y="1089"/>
                  </a:lnTo>
                  <a:lnTo>
                    <a:pt x="1008" y="1089"/>
                  </a:lnTo>
                  <a:lnTo>
                    <a:pt x="1007" y="1089"/>
                  </a:lnTo>
                  <a:lnTo>
                    <a:pt x="1005" y="1091"/>
                  </a:lnTo>
                  <a:lnTo>
                    <a:pt x="1005" y="1091"/>
                  </a:lnTo>
                  <a:lnTo>
                    <a:pt x="1004" y="1092"/>
                  </a:lnTo>
                  <a:lnTo>
                    <a:pt x="1004" y="1092"/>
                  </a:lnTo>
                  <a:lnTo>
                    <a:pt x="1007" y="1088"/>
                  </a:lnTo>
                  <a:lnTo>
                    <a:pt x="1012" y="1084"/>
                  </a:lnTo>
                  <a:lnTo>
                    <a:pt x="1012" y="1084"/>
                  </a:lnTo>
                  <a:lnTo>
                    <a:pt x="1020" y="1077"/>
                  </a:lnTo>
                  <a:lnTo>
                    <a:pt x="1020" y="1077"/>
                  </a:lnTo>
                  <a:lnTo>
                    <a:pt x="1025" y="1071"/>
                  </a:lnTo>
                  <a:lnTo>
                    <a:pt x="1025" y="1071"/>
                  </a:lnTo>
                  <a:lnTo>
                    <a:pt x="1025" y="1074"/>
                  </a:lnTo>
                  <a:lnTo>
                    <a:pt x="1022" y="1077"/>
                  </a:lnTo>
                  <a:lnTo>
                    <a:pt x="1022" y="1077"/>
                  </a:lnTo>
                  <a:lnTo>
                    <a:pt x="1027" y="1074"/>
                  </a:lnTo>
                  <a:lnTo>
                    <a:pt x="1028" y="1071"/>
                  </a:lnTo>
                  <a:lnTo>
                    <a:pt x="1031" y="1067"/>
                  </a:lnTo>
                  <a:lnTo>
                    <a:pt x="1034" y="1064"/>
                  </a:lnTo>
                  <a:lnTo>
                    <a:pt x="1034" y="1064"/>
                  </a:lnTo>
                  <a:lnTo>
                    <a:pt x="1037" y="1061"/>
                  </a:lnTo>
                  <a:lnTo>
                    <a:pt x="1040" y="1058"/>
                  </a:lnTo>
                  <a:lnTo>
                    <a:pt x="1040" y="1058"/>
                  </a:lnTo>
                  <a:lnTo>
                    <a:pt x="1045" y="1052"/>
                  </a:lnTo>
                  <a:lnTo>
                    <a:pt x="1045" y="1052"/>
                  </a:lnTo>
                  <a:lnTo>
                    <a:pt x="1052" y="1045"/>
                  </a:lnTo>
                  <a:lnTo>
                    <a:pt x="1060" y="1038"/>
                  </a:lnTo>
                  <a:lnTo>
                    <a:pt x="1060" y="1038"/>
                  </a:lnTo>
                  <a:lnTo>
                    <a:pt x="1060" y="1039"/>
                  </a:lnTo>
                  <a:lnTo>
                    <a:pt x="1058" y="1041"/>
                  </a:lnTo>
                  <a:lnTo>
                    <a:pt x="1054" y="1045"/>
                  </a:lnTo>
                  <a:lnTo>
                    <a:pt x="1054" y="1045"/>
                  </a:lnTo>
                  <a:lnTo>
                    <a:pt x="1055" y="1045"/>
                  </a:lnTo>
                  <a:lnTo>
                    <a:pt x="1055" y="1047"/>
                  </a:lnTo>
                  <a:lnTo>
                    <a:pt x="1054" y="1048"/>
                  </a:lnTo>
                  <a:lnTo>
                    <a:pt x="1055" y="1048"/>
                  </a:lnTo>
                  <a:lnTo>
                    <a:pt x="1055" y="1048"/>
                  </a:lnTo>
                  <a:lnTo>
                    <a:pt x="1061" y="1039"/>
                  </a:lnTo>
                  <a:lnTo>
                    <a:pt x="1061" y="1039"/>
                  </a:lnTo>
                  <a:lnTo>
                    <a:pt x="1067" y="1029"/>
                  </a:lnTo>
                  <a:lnTo>
                    <a:pt x="1067" y="1029"/>
                  </a:lnTo>
                  <a:lnTo>
                    <a:pt x="1074" y="1024"/>
                  </a:lnTo>
                  <a:lnTo>
                    <a:pt x="1074" y="1024"/>
                  </a:lnTo>
                  <a:lnTo>
                    <a:pt x="1074" y="1024"/>
                  </a:lnTo>
                  <a:lnTo>
                    <a:pt x="1074" y="1025"/>
                  </a:lnTo>
                  <a:lnTo>
                    <a:pt x="1071" y="1028"/>
                  </a:lnTo>
                  <a:lnTo>
                    <a:pt x="1070" y="1031"/>
                  </a:lnTo>
                  <a:lnTo>
                    <a:pt x="1072" y="1029"/>
                  </a:lnTo>
                  <a:lnTo>
                    <a:pt x="1072" y="1029"/>
                  </a:lnTo>
                  <a:lnTo>
                    <a:pt x="1068" y="1034"/>
                  </a:lnTo>
                  <a:lnTo>
                    <a:pt x="1065" y="1038"/>
                  </a:lnTo>
                  <a:lnTo>
                    <a:pt x="1065" y="1038"/>
                  </a:lnTo>
                  <a:lnTo>
                    <a:pt x="1068" y="1035"/>
                  </a:lnTo>
                  <a:lnTo>
                    <a:pt x="1071" y="1032"/>
                  </a:lnTo>
                  <a:lnTo>
                    <a:pt x="1074" y="1029"/>
                  </a:lnTo>
                  <a:lnTo>
                    <a:pt x="1075" y="1029"/>
                  </a:lnTo>
                  <a:lnTo>
                    <a:pt x="1075" y="1029"/>
                  </a:lnTo>
                  <a:lnTo>
                    <a:pt x="1078" y="1024"/>
                  </a:lnTo>
                  <a:lnTo>
                    <a:pt x="1082" y="1017"/>
                  </a:lnTo>
                  <a:lnTo>
                    <a:pt x="1082" y="1017"/>
                  </a:lnTo>
                  <a:lnTo>
                    <a:pt x="1084" y="1017"/>
                  </a:lnTo>
                  <a:lnTo>
                    <a:pt x="1087" y="1015"/>
                  </a:lnTo>
                  <a:lnTo>
                    <a:pt x="1089" y="1012"/>
                  </a:lnTo>
                  <a:lnTo>
                    <a:pt x="1092" y="1008"/>
                  </a:lnTo>
                  <a:lnTo>
                    <a:pt x="1092" y="1008"/>
                  </a:lnTo>
                  <a:lnTo>
                    <a:pt x="1098" y="999"/>
                  </a:lnTo>
                  <a:lnTo>
                    <a:pt x="1104" y="991"/>
                  </a:lnTo>
                  <a:lnTo>
                    <a:pt x="1104" y="991"/>
                  </a:lnTo>
                  <a:lnTo>
                    <a:pt x="1102" y="991"/>
                  </a:lnTo>
                  <a:lnTo>
                    <a:pt x="1101" y="992"/>
                  </a:lnTo>
                  <a:lnTo>
                    <a:pt x="1101" y="992"/>
                  </a:lnTo>
                  <a:lnTo>
                    <a:pt x="1097" y="997"/>
                  </a:lnTo>
                  <a:lnTo>
                    <a:pt x="1097" y="997"/>
                  </a:lnTo>
                  <a:lnTo>
                    <a:pt x="1098" y="995"/>
                  </a:lnTo>
                  <a:lnTo>
                    <a:pt x="1099" y="991"/>
                  </a:lnTo>
                  <a:lnTo>
                    <a:pt x="1099" y="991"/>
                  </a:lnTo>
                  <a:lnTo>
                    <a:pt x="1105" y="985"/>
                  </a:lnTo>
                  <a:lnTo>
                    <a:pt x="1105" y="985"/>
                  </a:lnTo>
                  <a:lnTo>
                    <a:pt x="1107" y="985"/>
                  </a:lnTo>
                  <a:lnTo>
                    <a:pt x="1107" y="987"/>
                  </a:lnTo>
                  <a:lnTo>
                    <a:pt x="1105" y="989"/>
                  </a:lnTo>
                  <a:lnTo>
                    <a:pt x="1105" y="989"/>
                  </a:lnTo>
                  <a:lnTo>
                    <a:pt x="1107" y="988"/>
                  </a:lnTo>
                  <a:lnTo>
                    <a:pt x="1109" y="987"/>
                  </a:lnTo>
                  <a:lnTo>
                    <a:pt x="1109" y="987"/>
                  </a:lnTo>
                  <a:lnTo>
                    <a:pt x="1109" y="985"/>
                  </a:lnTo>
                  <a:lnTo>
                    <a:pt x="1111" y="982"/>
                  </a:lnTo>
                  <a:lnTo>
                    <a:pt x="1112" y="979"/>
                  </a:lnTo>
                  <a:lnTo>
                    <a:pt x="1115" y="975"/>
                  </a:lnTo>
                  <a:lnTo>
                    <a:pt x="1115" y="975"/>
                  </a:lnTo>
                  <a:lnTo>
                    <a:pt x="1114" y="977"/>
                  </a:lnTo>
                  <a:lnTo>
                    <a:pt x="1112" y="978"/>
                  </a:lnTo>
                  <a:lnTo>
                    <a:pt x="1109" y="981"/>
                  </a:lnTo>
                  <a:lnTo>
                    <a:pt x="1109" y="981"/>
                  </a:lnTo>
                  <a:lnTo>
                    <a:pt x="1112" y="975"/>
                  </a:lnTo>
                  <a:lnTo>
                    <a:pt x="1117" y="971"/>
                  </a:lnTo>
                  <a:lnTo>
                    <a:pt x="1117" y="971"/>
                  </a:lnTo>
                  <a:lnTo>
                    <a:pt x="1117" y="972"/>
                  </a:lnTo>
                  <a:lnTo>
                    <a:pt x="1115" y="975"/>
                  </a:lnTo>
                  <a:lnTo>
                    <a:pt x="1115" y="975"/>
                  </a:lnTo>
                  <a:lnTo>
                    <a:pt x="1117" y="972"/>
                  </a:lnTo>
                  <a:lnTo>
                    <a:pt x="1118" y="972"/>
                  </a:lnTo>
                  <a:lnTo>
                    <a:pt x="1118" y="972"/>
                  </a:lnTo>
                  <a:lnTo>
                    <a:pt x="1118" y="972"/>
                  </a:lnTo>
                  <a:lnTo>
                    <a:pt x="1119" y="971"/>
                  </a:lnTo>
                  <a:lnTo>
                    <a:pt x="1119" y="969"/>
                  </a:lnTo>
                  <a:lnTo>
                    <a:pt x="1119" y="969"/>
                  </a:lnTo>
                  <a:lnTo>
                    <a:pt x="1121" y="968"/>
                  </a:lnTo>
                  <a:lnTo>
                    <a:pt x="1121" y="968"/>
                  </a:lnTo>
                  <a:lnTo>
                    <a:pt x="1119" y="968"/>
                  </a:lnTo>
                  <a:lnTo>
                    <a:pt x="1118" y="968"/>
                  </a:lnTo>
                  <a:lnTo>
                    <a:pt x="1118" y="965"/>
                  </a:lnTo>
                  <a:lnTo>
                    <a:pt x="1118" y="965"/>
                  </a:lnTo>
                  <a:lnTo>
                    <a:pt x="1121" y="964"/>
                  </a:lnTo>
                  <a:lnTo>
                    <a:pt x="1121" y="964"/>
                  </a:lnTo>
                  <a:lnTo>
                    <a:pt x="1121" y="964"/>
                  </a:lnTo>
                  <a:lnTo>
                    <a:pt x="1122" y="964"/>
                  </a:lnTo>
                  <a:lnTo>
                    <a:pt x="1122" y="964"/>
                  </a:lnTo>
                  <a:lnTo>
                    <a:pt x="1122" y="961"/>
                  </a:lnTo>
                  <a:lnTo>
                    <a:pt x="1122" y="961"/>
                  </a:lnTo>
                  <a:lnTo>
                    <a:pt x="1122" y="961"/>
                  </a:lnTo>
                  <a:lnTo>
                    <a:pt x="1124" y="958"/>
                  </a:lnTo>
                  <a:lnTo>
                    <a:pt x="1125" y="955"/>
                  </a:lnTo>
                  <a:lnTo>
                    <a:pt x="1125" y="955"/>
                  </a:lnTo>
                  <a:lnTo>
                    <a:pt x="1127" y="955"/>
                  </a:lnTo>
                  <a:lnTo>
                    <a:pt x="1127" y="957"/>
                  </a:lnTo>
                  <a:lnTo>
                    <a:pt x="1127" y="958"/>
                  </a:lnTo>
                  <a:lnTo>
                    <a:pt x="1128" y="958"/>
                  </a:lnTo>
                  <a:lnTo>
                    <a:pt x="1128" y="958"/>
                  </a:lnTo>
                  <a:lnTo>
                    <a:pt x="1128" y="955"/>
                  </a:lnTo>
                  <a:lnTo>
                    <a:pt x="1128" y="954"/>
                  </a:lnTo>
                  <a:lnTo>
                    <a:pt x="1128" y="954"/>
                  </a:lnTo>
                  <a:lnTo>
                    <a:pt x="1129" y="951"/>
                  </a:lnTo>
                  <a:lnTo>
                    <a:pt x="1131" y="949"/>
                  </a:lnTo>
                  <a:lnTo>
                    <a:pt x="1132" y="947"/>
                  </a:lnTo>
                  <a:lnTo>
                    <a:pt x="1134" y="944"/>
                  </a:lnTo>
                  <a:lnTo>
                    <a:pt x="1134" y="944"/>
                  </a:lnTo>
                  <a:lnTo>
                    <a:pt x="1137" y="942"/>
                  </a:lnTo>
                  <a:lnTo>
                    <a:pt x="1138" y="941"/>
                  </a:lnTo>
                  <a:lnTo>
                    <a:pt x="1138" y="941"/>
                  </a:lnTo>
                  <a:lnTo>
                    <a:pt x="1142" y="934"/>
                  </a:lnTo>
                  <a:lnTo>
                    <a:pt x="1147" y="928"/>
                  </a:lnTo>
                  <a:lnTo>
                    <a:pt x="1147" y="928"/>
                  </a:lnTo>
                  <a:lnTo>
                    <a:pt x="1147" y="924"/>
                  </a:lnTo>
                  <a:lnTo>
                    <a:pt x="1148" y="921"/>
                  </a:lnTo>
                  <a:lnTo>
                    <a:pt x="1154" y="911"/>
                  </a:lnTo>
                  <a:lnTo>
                    <a:pt x="1154" y="911"/>
                  </a:lnTo>
                  <a:lnTo>
                    <a:pt x="1154" y="911"/>
                  </a:lnTo>
                  <a:lnTo>
                    <a:pt x="1154" y="914"/>
                  </a:lnTo>
                  <a:lnTo>
                    <a:pt x="1154" y="914"/>
                  </a:lnTo>
                  <a:lnTo>
                    <a:pt x="1155" y="912"/>
                  </a:lnTo>
                  <a:lnTo>
                    <a:pt x="1155" y="912"/>
                  </a:lnTo>
                  <a:lnTo>
                    <a:pt x="1157" y="908"/>
                  </a:lnTo>
                  <a:lnTo>
                    <a:pt x="1158" y="905"/>
                  </a:lnTo>
                  <a:lnTo>
                    <a:pt x="1162" y="895"/>
                  </a:lnTo>
                  <a:lnTo>
                    <a:pt x="1162" y="895"/>
                  </a:lnTo>
                  <a:lnTo>
                    <a:pt x="1164" y="894"/>
                  </a:lnTo>
                  <a:lnTo>
                    <a:pt x="1162" y="894"/>
                  </a:lnTo>
                  <a:lnTo>
                    <a:pt x="1161" y="895"/>
                  </a:lnTo>
                  <a:lnTo>
                    <a:pt x="1161" y="894"/>
                  </a:lnTo>
                  <a:lnTo>
                    <a:pt x="1161" y="894"/>
                  </a:lnTo>
                  <a:lnTo>
                    <a:pt x="1164" y="891"/>
                  </a:lnTo>
                  <a:lnTo>
                    <a:pt x="1164" y="891"/>
                  </a:lnTo>
                  <a:lnTo>
                    <a:pt x="1164" y="891"/>
                  </a:lnTo>
                  <a:lnTo>
                    <a:pt x="1165" y="891"/>
                  </a:lnTo>
                  <a:lnTo>
                    <a:pt x="1166" y="890"/>
                  </a:lnTo>
                  <a:lnTo>
                    <a:pt x="1166" y="890"/>
                  </a:lnTo>
                  <a:lnTo>
                    <a:pt x="1168" y="885"/>
                  </a:lnTo>
                  <a:lnTo>
                    <a:pt x="1168" y="884"/>
                  </a:lnTo>
                  <a:lnTo>
                    <a:pt x="1168" y="884"/>
                  </a:lnTo>
                  <a:lnTo>
                    <a:pt x="1172" y="877"/>
                  </a:lnTo>
                  <a:lnTo>
                    <a:pt x="1175" y="868"/>
                  </a:lnTo>
                  <a:lnTo>
                    <a:pt x="1175" y="868"/>
                  </a:lnTo>
                  <a:lnTo>
                    <a:pt x="1178" y="861"/>
                  </a:lnTo>
                  <a:lnTo>
                    <a:pt x="1178" y="861"/>
                  </a:lnTo>
                  <a:lnTo>
                    <a:pt x="1182" y="852"/>
                  </a:lnTo>
                  <a:lnTo>
                    <a:pt x="1182" y="852"/>
                  </a:lnTo>
                  <a:lnTo>
                    <a:pt x="1182" y="847"/>
                  </a:lnTo>
                  <a:lnTo>
                    <a:pt x="1185" y="838"/>
                  </a:lnTo>
                  <a:lnTo>
                    <a:pt x="1185" y="838"/>
                  </a:lnTo>
                  <a:lnTo>
                    <a:pt x="1186" y="835"/>
                  </a:lnTo>
                  <a:lnTo>
                    <a:pt x="1188" y="831"/>
                  </a:lnTo>
                  <a:lnTo>
                    <a:pt x="1188" y="831"/>
                  </a:lnTo>
                  <a:lnTo>
                    <a:pt x="1189" y="832"/>
                  </a:lnTo>
                  <a:lnTo>
                    <a:pt x="1188" y="835"/>
                  </a:lnTo>
                  <a:lnTo>
                    <a:pt x="1188" y="835"/>
                  </a:lnTo>
                  <a:lnTo>
                    <a:pt x="1188" y="838"/>
                  </a:lnTo>
                  <a:lnTo>
                    <a:pt x="1188" y="838"/>
                  </a:lnTo>
                  <a:lnTo>
                    <a:pt x="1186" y="841"/>
                  </a:lnTo>
                  <a:lnTo>
                    <a:pt x="1186" y="841"/>
                  </a:lnTo>
                  <a:lnTo>
                    <a:pt x="1189" y="837"/>
                  </a:lnTo>
                  <a:lnTo>
                    <a:pt x="1189" y="832"/>
                  </a:lnTo>
                  <a:lnTo>
                    <a:pt x="1189" y="832"/>
                  </a:lnTo>
                  <a:lnTo>
                    <a:pt x="1191" y="824"/>
                  </a:lnTo>
                  <a:lnTo>
                    <a:pt x="1191" y="824"/>
                  </a:lnTo>
                  <a:lnTo>
                    <a:pt x="1194" y="821"/>
                  </a:lnTo>
                  <a:lnTo>
                    <a:pt x="1196" y="818"/>
                  </a:lnTo>
                  <a:lnTo>
                    <a:pt x="1196" y="818"/>
                  </a:lnTo>
                  <a:lnTo>
                    <a:pt x="1198" y="814"/>
                  </a:lnTo>
                  <a:lnTo>
                    <a:pt x="1198" y="810"/>
                  </a:lnTo>
                  <a:lnTo>
                    <a:pt x="1198" y="810"/>
                  </a:lnTo>
                  <a:lnTo>
                    <a:pt x="1201" y="805"/>
                  </a:lnTo>
                  <a:lnTo>
                    <a:pt x="1201" y="805"/>
                  </a:lnTo>
                  <a:lnTo>
                    <a:pt x="1199" y="805"/>
                  </a:lnTo>
                  <a:lnTo>
                    <a:pt x="1199" y="804"/>
                  </a:lnTo>
                  <a:lnTo>
                    <a:pt x="1201" y="800"/>
                  </a:lnTo>
                  <a:lnTo>
                    <a:pt x="1202" y="795"/>
                  </a:lnTo>
                  <a:lnTo>
                    <a:pt x="1205" y="791"/>
                  </a:lnTo>
                  <a:lnTo>
                    <a:pt x="1205" y="791"/>
                  </a:lnTo>
                  <a:lnTo>
                    <a:pt x="1205" y="788"/>
                  </a:lnTo>
                  <a:lnTo>
                    <a:pt x="1205" y="785"/>
                  </a:lnTo>
                  <a:lnTo>
                    <a:pt x="1208" y="778"/>
                  </a:lnTo>
                  <a:lnTo>
                    <a:pt x="1208" y="778"/>
                  </a:lnTo>
                  <a:lnTo>
                    <a:pt x="1208" y="777"/>
                  </a:lnTo>
                  <a:lnTo>
                    <a:pt x="1206" y="777"/>
                  </a:lnTo>
                  <a:lnTo>
                    <a:pt x="1205" y="780"/>
                  </a:lnTo>
                  <a:lnTo>
                    <a:pt x="1205" y="780"/>
                  </a:lnTo>
                  <a:lnTo>
                    <a:pt x="1206" y="777"/>
                  </a:lnTo>
                  <a:lnTo>
                    <a:pt x="1208" y="772"/>
                  </a:lnTo>
                  <a:lnTo>
                    <a:pt x="1208" y="772"/>
                  </a:lnTo>
                  <a:lnTo>
                    <a:pt x="1209" y="771"/>
                  </a:lnTo>
                  <a:lnTo>
                    <a:pt x="1209" y="771"/>
                  </a:lnTo>
                  <a:lnTo>
                    <a:pt x="1209" y="774"/>
                  </a:lnTo>
                  <a:lnTo>
                    <a:pt x="1209" y="774"/>
                  </a:lnTo>
                  <a:lnTo>
                    <a:pt x="1212" y="767"/>
                  </a:lnTo>
                  <a:lnTo>
                    <a:pt x="1215" y="760"/>
                  </a:lnTo>
                  <a:lnTo>
                    <a:pt x="1215" y="760"/>
                  </a:lnTo>
                  <a:lnTo>
                    <a:pt x="1215" y="764"/>
                  </a:lnTo>
                  <a:lnTo>
                    <a:pt x="1215" y="764"/>
                  </a:lnTo>
                  <a:lnTo>
                    <a:pt x="1218" y="757"/>
                  </a:lnTo>
                  <a:lnTo>
                    <a:pt x="1218" y="757"/>
                  </a:lnTo>
                  <a:lnTo>
                    <a:pt x="1219" y="748"/>
                  </a:lnTo>
                  <a:lnTo>
                    <a:pt x="1219" y="748"/>
                  </a:lnTo>
                  <a:lnTo>
                    <a:pt x="1218" y="754"/>
                  </a:lnTo>
                  <a:lnTo>
                    <a:pt x="1215" y="758"/>
                  </a:lnTo>
                  <a:lnTo>
                    <a:pt x="1215" y="758"/>
                  </a:lnTo>
                  <a:lnTo>
                    <a:pt x="1214" y="761"/>
                  </a:lnTo>
                  <a:lnTo>
                    <a:pt x="1211" y="768"/>
                  </a:lnTo>
                  <a:lnTo>
                    <a:pt x="1211" y="768"/>
                  </a:lnTo>
                  <a:lnTo>
                    <a:pt x="1212" y="761"/>
                  </a:lnTo>
                  <a:lnTo>
                    <a:pt x="1214" y="757"/>
                  </a:lnTo>
                  <a:lnTo>
                    <a:pt x="1215" y="753"/>
                  </a:lnTo>
                  <a:lnTo>
                    <a:pt x="1216" y="748"/>
                  </a:lnTo>
                  <a:lnTo>
                    <a:pt x="1216" y="748"/>
                  </a:lnTo>
                  <a:lnTo>
                    <a:pt x="1216" y="750"/>
                  </a:lnTo>
                  <a:lnTo>
                    <a:pt x="1214" y="753"/>
                  </a:lnTo>
                  <a:lnTo>
                    <a:pt x="1212" y="754"/>
                  </a:lnTo>
                  <a:lnTo>
                    <a:pt x="1212" y="754"/>
                  </a:lnTo>
                  <a:lnTo>
                    <a:pt x="1212" y="754"/>
                  </a:lnTo>
                  <a:lnTo>
                    <a:pt x="1214" y="748"/>
                  </a:lnTo>
                  <a:lnTo>
                    <a:pt x="1216" y="743"/>
                  </a:lnTo>
                  <a:lnTo>
                    <a:pt x="1216" y="743"/>
                  </a:lnTo>
                  <a:lnTo>
                    <a:pt x="1215" y="738"/>
                  </a:lnTo>
                  <a:lnTo>
                    <a:pt x="1214" y="735"/>
                  </a:lnTo>
                  <a:lnTo>
                    <a:pt x="1214" y="735"/>
                  </a:lnTo>
                  <a:lnTo>
                    <a:pt x="1215" y="735"/>
                  </a:lnTo>
                  <a:lnTo>
                    <a:pt x="1216" y="733"/>
                  </a:lnTo>
                  <a:lnTo>
                    <a:pt x="1219" y="727"/>
                  </a:lnTo>
                  <a:lnTo>
                    <a:pt x="1219" y="727"/>
                  </a:lnTo>
                  <a:lnTo>
                    <a:pt x="1219" y="727"/>
                  </a:lnTo>
                  <a:lnTo>
                    <a:pt x="1221" y="728"/>
                  </a:lnTo>
                  <a:lnTo>
                    <a:pt x="1221" y="730"/>
                  </a:lnTo>
                  <a:lnTo>
                    <a:pt x="1221" y="728"/>
                  </a:lnTo>
                  <a:lnTo>
                    <a:pt x="1221" y="728"/>
                  </a:lnTo>
                  <a:lnTo>
                    <a:pt x="1221" y="725"/>
                  </a:lnTo>
                  <a:lnTo>
                    <a:pt x="1219" y="724"/>
                  </a:lnTo>
                  <a:lnTo>
                    <a:pt x="1219" y="724"/>
                  </a:lnTo>
                  <a:lnTo>
                    <a:pt x="1221" y="720"/>
                  </a:lnTo>
                  <a:lnTo>
                    <a:pt x="1221" y="720"/>
                  </a:lnTo>
                  <a:lnTo>
                    <a:pt x="1219" y="720"/>
                  </a:lnTo>
                  <a:lnTo>
                    <a:pt x="1219" y="720"/>
                  </a:lnTo>
                  <a:lnTo>
                    <a:pt x="1222" y="710"/>
                  </a:lnTo>
                  <a:lnTo>
                    <a:pt x="1222" y="710"/>
                  </a:lnTo>
                  <a:lnTo>
                    <a:pt x="1222" y="715"/>
                  </a:lnTo>
                  <a:lnTo>
                    <a:pt x="1222" y="718"/>
                  </a:lnTo>
                  <a:lnTo>
                    <a:pt x="1224" y="720"/>
                  </a:lnTo>
                  <a:lnTo>
                    <a:pt x="1224" y="718"/>
                  </a:lnTo>
                  <a:lnTo>
                    <a:pt x="1224" y="718"/>
                  </a:lnTo>
                  <a:lnTo>
                    <a:pt x="1225" y="700"/>
                  </a:lnTo>
                  <a:lnTo>
                    <a:pt x="1225" y="700"/>
                  </a:lnTo>
                  <a:lnTo>
                    <a:pt x="1226" y="691"/>
                  </a:lnTo>
                  <a:lnTo>
                    <a:pt x="1226" y="690"/>
                  </a:lnTo>
                  <a:lnTo>
                    <a:pt x="1228" y="690"/>
                  </a:lnTo>
                  <a:lnTo>
                    <a:pt x="1228" y="690"/>
                  </a:lnTo>
                  <a:lnTo>
                    <a:pt x="1228" y="685"/>
                  </a:lnTo>
                  <a:lnTo>
                    <a:pt x="1228" y="680"/>
                  </a:lnTo>
                  <a:lnTo>
                    <a:pt x="1228" y="680"/>
                  </a:lnTo>
                  <a:lnTo>
                    <a:pt x="1228" y="674"/>
                  </a:lnTo>
                  <a:lnTo>
                    <a:pt x="1228" y="668"/>
                  </a:lnTo>
                  <a:lnTo>
                    <a:pt x="1228" y="668"/>
                  </a:lnTo>
                  <a:lnTo>
                    <a:pt x="1228" y="661"/>
                  </a:lnTo>
                  <a:lnTo>
                    <a:pt x="1226" y="654"/>
                  </a:lnTo>
                  <a:lnTo>
                    <a:pt x="1226" y="654"/>
                  </a:lnTo>
                  <a:lnTo>
                    <a:pt x="1228" y="651"/>
                  </a:lnTo>
                  <a:lnTo>
                    <a:pt x="1229" y="648"/>
                  </a:lnTo>
                  <a:lnTo>
                    <a:pt x="1229" y="647"/>
                  </a:lnTo>
                  <a:lnTo>
                    <a:pt x="1229" y="647"/>
                  </a:lnTo>
                  <a:lnTo>
                    <a:pt x="1229" y="647"/>
                  </a:lnTo>
                  <a:lnTo>
                    <a:pt x="1231" y="645"/>
                  </a:lnTo>
                  <a:lnTo>
                    <a:pt x="1229" y="644"/>
                  </a:lnTo>
                  <a:lnTo>
                    <a:pt x="1228" y="638"/>
                  </a:lnTo>
                  <a:lnTo>
                    <a:pt x="1228" y="638"/>
                  </a:lnTo>
                  <a:lnTo>
                    <a:pt x="1229" y="625"/>
                  </a:lnTo>
                  <a:lnTo>
                    <a:pt x="1228" y="613"/>
                  </a:lnTo>
                  <a:lnTo>
                    <a:pt x="1228" y="613"/>
                  </a:lnTo>
                  <a:lnTo>
                    <a:pt x="1229" y="610"/>
                  </a:lnTo>
                  <a:lnTo>
                    <a:pt x="1229" y="607"/>
                  </a:lnTo>
                  <a:lnTo>
                    <a:pt x="1228" y="603"/>
                  </a:lnTo>
                  <a:lnTo>
                    <a:pt x="1228" y="603"/>
                  </a:lnTo>
                  <a:lnTo>
                    <a:pt x="1228" y="598"/>
                  </a:lnTo>
                  <a:lnTo>
                    <a:pt x="1229" y="593"/>
                  </a:lnTo>
                  <a:lnTo>
                    <a:pt x="1229" y="593"/>
                  </a:lnTo>
                  <a:lnTo>
                    <a:pt x="1226" y="597"/>
                  </a:lnTo>
                  <a:lnTo>
                    <a:pt x="1226" y="597"/>
                  </a:lnTo>
                  <a:lnTo>
                    <a:pt x="1226" y="590"/>
                  </a:lnTo>
                  <a:lnTo>
                    <a:pt x="1228" y="586"/>
                  </a:lnTo>
                  <a:lnTo>
                    <a:pt x="1228" y="586"/>
                  </a:lnTo>
                  <a:lnTo>
                    <a:pt x="1228" y="581"/>
                  </a:lnTo>
                  <a:lnTo>
                    <a:pt x="1228" y="574"/>
                  </a:lnTo>
                  <a:lnTo>
                    <a:pt x="1228" y="574"/>
                  </a:lnTo>
                  <a:lnTo>
                    <a:pt x="1226" y="574"/>
                  </a:lnTo>
                  <a:lnTo>
                    <a:pt x="1226" y="573"/>
                  </a:lnTo>
                  <a:lnTo>
                    <a:pt x="1226" y="573"/>
                  </a:lnTo>
                  <a:lnTo>
                    <a:pt x="1226" y="580"/>
                  </a:lnTo>
                  <a:lnTo>
                    <a:pt x="1226" y="580"/>
                  </a:lnTo>
                  <a:lnTo>
                    <a:pt x="1225" y="587"/>
                  </a:lnTo>
                  <a:lnTo>
                    <a:pt x="1225" y="581"/>
                  </a:lnTo>
                  <a:lnTo>
                    <a:pt x="1225" y="581"/>
                  </a:lnTo>
                  <a:lnTo>
                    <a:pt x="1225" y="576"/>
                  </a:lnTo>
                  <a:lnTo>
                    <a:pt x="1225" y="576"/>
                  </a:lnTo>
                  <a:lnTo>
                    <a:pt x="1224" y="563"/>
                  </a:lnTo>
                  <a:lnTo>
                    <a:pt x="1224" y="563"/>
                  </a:lnTo>
                  <a:lnTo>
                    <a:pt x="1225" y="561"/>
                  </a:lnTo>
                  <a:lnTo>
                    <a:pt x="1225" y="561"/>
                  </a:lnTo>
                  <a:lnTo>
                    <a:pt x="1225" y="568"/>
                  </a:lnTo>
                  <a:lnTo>
                    <a:pt x="1226" y="571"/>
                  </a:lnTo>
                  <a:lnTo>
                    <a:pt x="1226" y="573"/>
                  </a:lnTo>
                  <a:lnTo>
                    <a:pt x="1226" y="573"/>
                  </a:lnTo>
                  <a:lnTo>
                    <a:pt x="1226" y="564"/>
                  </a:lnTo>
                  <a:lnTo>
                    <a:pt x="1225" y="558"/>
                  </a:lnTo>
                  <a:lnTo>
                    <a:pt x="1226" y="554"/>
                  </a:lnTo>
                  <a:lnTo>
                    <a:pt x="1226" y="554"/>
                  </a:lnTo>
                  <a:lnTo>
                    <a:pt x="1225" y="548"/>
                  </a:lnTo>
                  <a:lnTo>
                    <a:pt x="1225" y="548"/>
                  </a:lnTo>
                  <a:lnTo>
                    <a:pt x="1224" y="548"/>
                  </a:lnTo>
                  <a:lnTo>
                    <a:pt x="1224" y="550"/>
                  </a:lnTo>
                  <a:lnTo>
                    <a:pt x="1224" y="550"/>
                  </a:lnTo>
                  <a:lnTo>
                    <a:pt x="1222" y="543"/>
                  </a:lnTo>
                  <a:lnTo>
                    <a:pt x="1221" y="536"/>
                  </a:lnTo>
                  <a:lnTo>
                    <a:pt x="1221" y="536"/>
                  </a:lnTo>
                  <a:lnTo>
                    <a:pt x="1221" y="533"/>
                  </a:lnTo>
                  <a:lnTo>
                    <a:pt x="1222" y="530"/>
                  </a:lnTo>
                  <a:lnTo>
                    <a:pt x="1222" y="530"/>
                  </a:lnTo>
                  <a:lnTo>
                    <a:pt x="1221" y="528"/>
                  </a:lnTo>
                  <a:lnTo>
                    <a:pt x="1221" y="530"/>
                  </a:lnTo>
                  <a:lnTo>
                    <a:pt x="1221" y="530"/>
                  </a:lnTo>
                  <a:lnTo>
                    <a:pt x="1219" y="527"/>
                  </a:lnTo>
                  <a:lnTo>
                    <a:pt x="1219" y="527"/>
                  </a:lnTo>
                  <a:lnTo>
                    <a:pt x="1221" y="526"/>
                  </a:lnTo>
                  <a:lnTo>
                    <a:pt x="1221" y="526"/>
                  </a:lnTo>
                  <a:lnTo>
                    <a:pt x="1221" y="526"/>
                  </a:lnTo>
                  <a:lnTo>
                    <a:pt x="1221" y="524"/>
                  </a:lnTo>
                  <a:lnTo>
                    <a:pt x="1221" y="524"/>
                  </a:lnTo>
                  <a:lnTo>
                    <a:pt x="1221" y="523"/>
                  </a:lnTo>
                  <a:lnTo>
                    <a:pt x="1219" y="523"/>
                  </a:lnTo>
                  <a:lnTo>
                    <a:pt x="1219" y="523"/>
                  </a:lnTo>
                  <a:lnTo>
                    <a:pt x="1219" y="523"/>
                  </a:lnTo>
                  <a:lnTo>
                    <a:pt x="1219" y="523"/>
                  </a:lnTo>
                  <a:lnTo>
                    <a:pt x="1218" y="508"/>
                  </a:lnTo>
                  <a:lnTo>
                    <a:pt x="1216" y="494"/>
                  </a:lnTo>
                  <a:lnTo>
                    <a:pt x="1216" y="494"/>
                  </a:lnTo>
                  <a:lnTo>
                    <a:pt x="1212" y="481"/>
                  </a:lnTo>
                  <a:lnTo>
                    <a:pt x="1211" y="470"/>
                  </a:lnTo>
                  <a:lnTo>
                    <a:pt x="1211" y="470"/>
                  </a:lnTo>
                  <a:lnTo>
                    <a:pt x="1211" y="468"/>
                  </a:lnTo>
                  <a:lnTo>
                    <a:pt x="1211" y="470"/>
                  </a:lnTo>
                  <a:lnTo>
                    <a:pt x="1212" y="471"/>
                  </a:lnTo>
                  <a:lnTo>
                    <a:pt x="1212" y="471"/>
                  </a:lnTo>
                  <a:lnTo>
                    <a:pt x="1209" y="461"/>
                  </a:lnTo>
                  <a:lnTo>
                    <a:pt x="1209" y="461"/>
                  </a:lnTo>
                  <a:lnTo>
                    <a:pt x="1208" y="457"/>
                  </a:lnTo>
                  <a:lnTo>
                    <a:pt x="1208" y="453"/>
                  </a:lnTo>
                  <a:lnTo>
                    <a:pt x="1208" y="453"/>
                  </a:lnTo>
                  <a:lnTo>
                    <a:pt x="1206" y="451"/>
                  </a:lnTo>
                  <a:lnTo>
                    <a:pt x="1206" y="454"/>
                  </a:lnTo>
                  <a:lnTo>
                    <a:pt x="1206" y="454"/>
                  </a:lnTo>
                  <a:lnTo>
                    <a:pt x="1205" y="450"/>
                  </a:lnTo>
                  <a:lnTo>
                    <a:pt x="1204" y="447"/>
                  </a:lnTo>
                  <a:lnTo>
                    <a:pt x="1204" y="447"/>
                  </a:lnTo>
                  <a:lnTo>
                    <a:pt x="1204" y="446"/>
                  </a:lnTo>
                  <a:lnTo>
                    <a:pt x="1204" y="446"/>
                  </a:lnTo>
                  <a:lnTo>
                    <a:pt x="1205" y="449"/>
                  </a:lnTo>
                  <a:lnTo>
                    <a:pt x="1205" y="449"/>
                  </a:lnTo>
                  <a:lnTo>
                    <a:pt x="1205" y="443"/>
                  </a:lnTo>
                  <a:lnTo>
                    <a:pt x="1204" y="439"/>
                  </a:lnTo>
                  <a:lnTo>
                    <a:pt x="1204" y="439"/>
                  </a:lnTo>
                  <a:lnTo>
                    <a:pt x="1202" y="437"/>
                  </a:lnTo>
                  <a:lnTo>
                    <a:pt x="1202" y="439"/>
                  </a:lnTo>
                  <a:lnTo>
                    <a:pt x="1202" y="440"/>
                  </a:lnTo>
                  <a:lnTo>
                    <a:pt x="1202" y="440"/>
                  </a:lnTo>
                  <a:lnTo>
                    <a:pt x="1201" y="437"/>
                  </a:lnTo>
                  <a:lnTo>
                    <a:pt x="1199" y="434"/>
                  </a:lnTo>
                  <a:lnTo>
                    <a:pt x="1199" y="434"/>
                  </a:lnTo>
                  <a:lnTo>
                    <a:pt x="1201" y="434"/>
                  </a:lnTo>
                  <a:lnTo>
                    <a:pt x="1201" y="433"/>
                  </a:lnTo>
                  <a:lnTo>
                    <a:pt x="1201" y="433"/>
                  </a:lnTo>
                  <a:lnTo>
                    <a:pt x="1198" y="429"/>
                  </a:lnTo>
                  <a:lnTo>
                    <a:pt x="1198" y="429"/>
                  </a:lnTo>
                  <a:lnTo>
                    <a:pt x="1198" y="426"/>
                  </a:lnTo>
                  <a:lnTo>
                    <a:pt x="1199" y="424"/>
                  </a:lnTo>
                  <a:lnTo>
                    <a:pt x="1199" y="424"/>
                  </a:lnTo>
                  <a:lnTo>
                    <a:pt x="1192" y="407"/>
                  </a:lnTo>
                  <a:lnTo>
                    <a:pt x="1192" y="407"/>
                  </a:lnTo>
                  <a:lnTo>
                    <a:pt x="1189" y="400"/>
                  </a:lnTo>
                  <a:lnTo>
                    <a:pt x="1189" y="400"/>
                  </a:lnTo>
                  <a:lnTo>
                    <a:pt x="1186" y="393"/>
                  </a:lnTo>
                  <a:lnTo>
                    <a:pt x="1186" y="393"/>
                  </a:lnTo>
                  <a:lnTo>
                    <a:pt x="1186" y="396"/>
                  </a:lnTo>
                  <a:lnTo>
                    <a:pt x="1186" y="396"/>
                  </a:lnTo>
                  <a:lnTo>
                    <a:pt x="1185" y="391"/>
                  </a:lnTo>
                  <a:lnTo>
                    <a:pt x="1182" y="387"/>
                  </a:lnTo>
                  <a:lnTo>
                    <a:pt x="1182" y="387"/>
                  </a:lnTo>
                  <a:lnTo>
                    <a:pt x="1182" y="386"/>
                  </a:lnTo>
                  <a:lnTo>
                    <a:pt x="1184" y="386"/>
                  </a:lnTo>
                  <a:lnTo>
                    <a:pt x="1185" y="387"/>
                  </a:lnTo>
                  <a:lnTo>
                    <a:pt x="1185" y="387"/>
                  </a:lnTo>
                  <a:lnTo>
                    <a:pt x="1179" y="376"/>
                  </a:lnTo>
                  <a:lnTo>
                    <a:pt x="1179" y="376"/>
                  </a:lnTo>
                  <a:lnTo>
                    <a:pt x="1175" y="369"/>
                  </a:lnTo>
                  <a:lnTo>
                    <a:pt x="1175" y="369"/>
                  </a:lnTo>
                  <a:lnTo>
                    <a:pt x="1174" y="364"/>
                  </a:lnTo>
                  <a:lnTo>
                    <a:pt x="1171" y="360"/>
                  </a:lnTo>
                  <a:lnTo>
                    <a:pt x="1171" y="360"/>
                  </a:lnTo>
                  <a:lnTo>
                    <a:pt x="1172" y="361"/>
                  </a:lnTo>
                  <a:lnTo>
                    <a:pt x="1171" y="361"/>
                  </a:lnTo>
                  <a:lnTo>
                    <a:pt x="1168" y="357"/>
                  </a:lnTo>
                  <a:lnTo>
                    <a:pt x="1168" y="357"/>
                  </a:lnTo>
                  <a:lnTo>
                    <a:pt x="1174" y="370"/>
                  </a:lnTo>
                  <a:lnTo>
                    <a:pt x="1174" y="370"/>
                  </a:lnTo>
                  <a:lnTo>
                    <a:pt x="1176" y="376"/>
                  </a:lnTo>
                  <a:lnTo>
                    <a:pt x="1176" y="376"/>
                  </a:lnTo>
                  <a:lnTo>
                    <a:pt x="1179" y="381"/>
                  </a:lnTo>
                  <a:lnTo>
                    <a:pt x="1179" y="381"/>
                  </a:lnTo>
                  <a:lnTo>
                    <a:pt x="1179" y="383"/>
                  </a:lnTo>
                  <a:lnTo>
                    <a:pt x="1179" y="381"/>
                  </a:lnTo>
                  <a:lnTo>
                    <a:pt x="1179" y="380"/>
                  </a:lnTo>
                  <a:lnTo>
                    <a:pt x="1179" y="380"/>
                  </a:lnTo>
                  <a:lnTo>
                    <a:pt x="1179" y="381"/>
                  </a:lnTo>
                  <a:lnTo>
                    <a:pt x="1181" y="383"/>
                  </a:lnTo>
                  <a:lnTo>
                    <a:pt x="1181" y="384"/>
                  </a:lnTo>
                  <a:lnTo>
                    <a:pt x="1182" y="386"/>
                  </a:lnTo>
                  <a:lnTo>
                    <a:pt x="1182" y="386"/>
                  </a:lnTo>
                  <a:lnTo>
                    <a:pt x="1182" y="396"/>
                  </a:lnTo>
                  <a:lnTo>
                    <a:pt x="1182" y="396"/>
                  </a:lnTo>
                  <a:lnTo>
                    <a:pt x="1179" y="386"/>
                  </a:lnTo>
                  <a:lnTo>
                    <a:pt x="1179" y="386"/>
                  </a:lnTo>
                  <a:lnTo>
                    <a:pt x="1175" y="374"/>
                  </a:lnTo>
                  <a:lnTo>
                    <a:pt x="1175" y="374"/>
                  </a:lnTo>
                  <a:lnTo>
                    <a:pt x="1169" y="366"/>
                  </a:lnTo>
                  <a:lnTo>
                    <a:pt x="1166" y="357"/>
                  </a:lnTo>
                  <a:lnTo>
                    <a:pt x="1166" y="357"/>
                  </a:lnTo>
                  <a:lnTo>
                    <a:pt x="1165" y="356"/>
                  </a:lnTo>
                  <a:lnTo>
                    <a:pt x="1165" y="356"/>
                  </a:lnTo>
                  <a:lnTo>
                    <a:pt x="1165" y="354"/>
                  </a:lnTo>
                  <a:lnTo>
                    <a:pt x="1165" y="354"/>
                  </a:lnTo>
                  <a:lnTo>
                    <a:pt x="1166" y="354"/>
                  </a:lnTo>
                  <a:lnTo>
                    <a:pt x="1166" y="353"/>
                  </a:lnTo>
                  <a:lnTo>
                    <a:pt x="1166" y="353"/>
                  </a:lnTo>
                  <a:lnTo>
                    <a:pt x="1162" y="349"/>
                  </a:lnTo>
                  <a:lnTo>
                    <a:pt x="1159" y="344"/>
                  </a:lnTo>
                  <a:lnTo>
                    <a:pt x="1159" y="344"/>
                  </a:lnTo>
                  <a:lnTo>
                    <a:pt x="1157" y="334"/>
                  </a:lnTo>
                  <a:lnTo>
                    <a:pt x="1157" y="334"/>
                  </a:lnTo>
                  <a:lnTo>
                    <a:pt x="1152" y="330"/>
                  </a:lnTo>
                  <a:lnTo>
                    <a:pt x="1149" y="324"/>
                  </a:lnTo>
                  <a:lnTo>
                    <a:pt x="1149" y="324"/>
                  </a:lnTo>
                  <a:lnTo>
                    <a:pt x="1152" y="327"/>
                  </a:lnTo>
                  <a:lnTo>
                    <a:pt x="1154" y="327"/>
                  </a:lnTo>
                  <a:lnTo>
                    <a:pt x="1154" y="326"/>
                  </a:lnTo>
                  <a:lnTo>
                    <a:pt x="1154" y="326"/>
                  </a:lnTo>
                  <a:lnTo>
                    <a:pt x="1157" y="330"/>
                  </a:lnTo>
                  <a:lnTo>
                    <a:pt x="1158" y="333"/>
                  </a:lnTo>
                  <a:lnTo>
                    <a:pt x="1159" y="333"/>
                  </a:lnTo>
                  <a:lnTo>
                    <a:pt x="1159" y="333"/>
                  </a:lnTo>
                  <a:lnTo>
                    <a:pt x="1158" y="329"/>
                  </a:lnTo>
                  <a:lnTo>
                    <a:pt x="1158" y="327"/>
                  </a:lnTo>
                  <a:lnTo>
                    <a:pt x="1158" y="327"/>
                  </a:lnTo>
                  <a:lnTo>
                    <a:pt x="1155" y="324"/>
                  </a:lnTo>
                  <a:lnTo>
                    <a:pt x="1152" y="321"/>
                  </a:lnTo>
                  <a:lnTo>
                    <a:pt x="1152" y="321"/>
                  </a:lnTo>
                  <a:lnTo>
                    <a:pt x="1149" y="317"/>
                  </a:lnTo>
                  <a:lnTo>
                    <a:pt x="1147" y="313"/>
                  </a:lnTo>
                  <a:lnTo>
                    <a:pt x="1147" y="313"/>
                  </a:lnTo>
                  <a:lnTo>
                    <a:pt x="1145" y="309"/>
                  </a:lnTo>
                  <a:lnTo>
                    <a:pt x="1142" y="303"/>
                  </a:lnTo>
                  <a:lnTo>
                    <a:pt x="1135" y="293"/>
                  </a:lnTo>
                  <a:lnTo>
                    <a:pt x="1135" y="293"/>
                  </a:lnTo>
                  <a:lnTo>
                    <a:pt x="1135" y="292"/>
                  </a:lnTo>
                  <a:lnTo>
                    <a:pt x="1135" y="289"/>
                  </a:lnTo>
                  <a:lnTo>
                    <a:pt x="1129" y="283"/>
                  </a:lnTo>
                  <a:lnTo>
                    <a:pt x="1129" y="283"/>
                  </a:lnTo>
                  <a:lnTo>
                    <a:pt x="1129" y="283"/>
                  </a:lnTo>
                  <a:lnTo>
                    <a:pt x="1132" y="284"/>
                  </a:lnTo>
                  <a:lnTo>
                    <a:pt x="1132" y="284"/>
                  </a:lnTo>
                  <a:lnTo>
                    <a:pt x="1125" y="274"/>
                  </a:lnTo>
                  <a:lnTo>
                    <a:pt x="1125" y="274"/>
                  </a:lnTo>
                  <a:lnTo>
                    <a:pt x="1118" y="264"/>
                  </a:lnTo>
                  <a:lnTo>
                    <a:pt x="1118" y="264"/>
                  </a:lnTo>
                  <a:lnTo>
                    <a:pt x="1118" y="264"/>
                  </a:lnTo>
                  <a:lnTo>
                    <a:pt x="1118" y="266"/>
                  </a:lnTo>
                  <a:lnTo>
                    <a:pt x="1118" y="266"/>
                  </a:lnTo>
                  <a:lnTo>
                    <a:pt x="1117" y="266"/>
                  </a:lnTo>
                  <a:lnTo>
                    <a:pt x="1117" y="266"/>
                  </a:lnTo>
                  <a:lnTo>
                    <a:pt x="1115" y="263"/>
                  </a:lnTo>
                  <a:lnTo>
                    <a:pt x="1114" y="262"/>
                  </a:lnTo>
                  <a:lnTo>
                    <a:pt x="1112" y="260"/>
                  </a:lnTo>
                  <a:lnTo>
                    <a:pt x="1112" y="260"/>
                  </a:lnTo>
                  <a:lnTo>
                    <a:pt x="1112" y="259"/>
                  </a:lnTo>
                  <a:lnTo>
                    <a:pt x="1114" y="259"/>
                  </a:lnTo>
                  <a:lnTo>
                    <a:pt x="1114" y="259"/>
                  </a:lnTo>
                  <a:lnTo>
                    <a:pt x="1112" y="257"/>
                  </a:lnTo>
                  <a:lnTo>
                    <a:pt x="1111" y="257"/>
                  </a:lnTo>
                  <a:lnTo>
                    <a:pt x="1111" y="257"/>
                  </a:lnTo>
                  <a:lnTo>
                    <a:pt x="1109" y="254"/>
                  </a:lnTo>
                  <a:lnTo>
                    <a:pt x="1109" y="254"/>
                  </a:lnTo>
                  <a:lnTo>
                    <a:pt x="1108" y="252"/>
                  </a:lnTo>
                  <a:lnTo>
                    <a:pt x="1109" y="252"/>
                  </a:lnTo>
                  <a:lnTo>
                    <a:pt x="1109" y="252"/>
                  </a:lnTo>
                  <a:lnTo>
                    <a:pt x="1102" y="243"/>
                  </a:lnTo>
                  <a:lnTo>
                    <a:pt x="1102" y="243"/>
                  </a:lnTo>
                  <a:lnTo>
                    <a:pt x="1099" y="239"/>
                  </a:lnTo>
                  <a:lnTo>
                    <a:pt x="1097" y="237"/>
                  </a:lnTo>
                  <a:lnTo>
                    <a:pt x="1097" y="237"/>
                  </a:lnTo>
                  <a:lnTo>
                    <a:pt x="1097" y="236"/>
                  </a:lnTo>
                  <a:lnTo>
                    <a:pt x="1095" y="233"/>
                  </a:lnTo>
                  <a:lnTo>
                    <a:pt x="1095" y="233"/>
                  </a:lnTo>
                  <a:lnTo>
                    <a:pt x="1094" y="233"/>
                  </a:lnTo>
                  <a:lnTo>
                    <a:pt x="1094" y="230"/>
                  </a:lnTo>
                  <a:lnTo>
                    <a:pt x="1092" y="229"/>
                  </a:lnTo>
                  <a:lnTo>
                    <a:pt x="1092" y="229"/>
                  </a:lnTo>
                  <a:lnTo>
                    <a:pt x="1085" y="222"/>
                  </a:lnTo>
                  <a:lnTo>
                    <a:pt x="1085" y="222"/>
                  </a:lnTo>
                  <a:lnTo>
                    <a:pt x="1082" y="219"/>
                  </a:lnTo>
                  <a:lnTo>
                    <a:pt x="1082" y="219"/>
                  </a:lnTo>
                  <a:lnTo>
                    <a:pt x="1078" y="213"/>
                  </a:lnTo>
                  <a:lnTo>
                    <a:pt x="1078" y="213"/>
                  </a:lnTo>
                  <a:lnTo>
                    <a:pt x="1077" y="212"/>
                  </a:lnTo>
                  <a:lnTo>
                    <a:pt x="1072" y="209"/>
                  </a:lnTo>
                  <a:lnTo>
                    <a:pt x="1067" y="202"/>
                  </a:lnTo>
                  <a:lnTo>
                    <a:pt x="1067" y="202"/>
                  </a:lnTo>
                  <a:lnTo>
                    <a:pt x="1067" y="202"/>
                  </a:lnTo>
                  <a:lnTo>
                    <a:pt x="1067" y="200"/>
                  </a:lnTo>
                  <a:lnTo>
                    <a:pt x="1067" y="200"/>
                  </a:lnTo>
                  <a:lnTo>
                    <a:pt x="1064" y="199"/>
                  </a:lnTo>
                  <a:lnTo>
                    <a:pt x="1062" y="196"/>
                  </a:lnTo>
                  <a:lnTo>
                    <a:pt x="1062" y="196"/>
                  </a:lnTo>
                  <a:lnTo>
                    <a:pt x="1058" y="193"/>
                  </a:lnTo>
                  <a:lnTo>
                    <a:pt x="1055" y="190"/>
                  </a:lnTo>
                  <a:lnTo>
                    <a:pt x="1055" y="190"/>
                  </a:lnTo>
                  <a:lnTo>
                    <a:pt x="1054" y="192"/>
                  </a:lnTo>
                  <a:lnTo>
                    <a:pt x="1055" y="193"/>
                  </a:lnTo>
                  <a:lnTo>
                    <a:pt x="1060" y="197"/>
                  </a:lnTo>
                  <a:lnTo>
                    <a:pt x="1060" y="197"/>
                  </a:lnTo>
                  <a:lnTo>
                    <a:pt x="1058" y="196"/>
                  </a:lnTo>
                  <a:lnTo>
                    <a:pt x="1054" y="193"/>
                  </a:lnTo>
                  <a:lnTo>
                    <a:pt x="1054" y="193"/>
                  </a:lnTo>
                  <a:lnTo>
                    <a:pt x="1054" y="193"/>
                  </a:lnTo>
                  <a:lnTo>
                    <a:pt x="1055" y="194"/>
                  </a:lnTo>
                  <a:lnTo>
                    <a:pt x="1058" y="199"/>
                  </a:lnTo>
                  <a:lnTo>
                    <a:pt x="1058" y="199"/>
                  </a:lnTo>
                  <a:lnTo>
                    <a:pt x="1058" y="199"/>
                  </a:lnTo>
                  <a:lnTo>
                    <a:pt x="1057" y="197"/>
                  </a:lnTo>
                  <a:lnTo>
                    <a:pt x="1054" y="196"/>
                  </a:lnTo>
                  <a:lnTo>
                    <a:pt x="1054" y="196"/>
                  </a:lnTo>
                  <a:lnTo>
                    <a:pt x="1051" y="193"/>
                  </a:lnTo>
                  <a:lnTo>
                    <a:pt x="1050" y="190"/>
                  </a:lnTo>
                  <a:lnTo>
                    <a:pt x="1047" y="189"/>
                  </a:lnTo>
                  <a:lnTo>
                    <a:pt x="1047" y="189"/>
                  </a:lnTo>
                  <a:lnTo>
                    <a:pt x="1045" y="184"/>
                  </a:lnTo>
                  <a:lnTo>
                    <a:pt x="1045" y="184"/>
                  </a:lnTo>
                  <a:lnTo>
                    <a:pt x="1045" y="184"/>
                  </a:lnTo>
                  <a:lnTo>
                    <a:pt x="1045" y="184"/>
                  </a:lnTo>
                  <a:lnTo>
                    <a:pt x="1041" y="180"/>
                  </a:lnTo>
                  <a:lnTo>
                    <a:pt x="1038" y="174"/>
                  </a:lnTo>
                  <a:lnTo>
                    <a:pt x="1038" y="174"/>
                  </a:lnTo>
                  <a:lnTo>
                    <a:pt x="1035" y="174"/>
                  </a:lnTo>
                  <a:lnTo>
                    <a:pt x="1032" y="173"/>
                  </a:lnTo>
                  <a:lnTo>
                    <a:pt x="1032" y="173"/>
                  </a:lnTo>
                  <a:lnTo>
                    <a:pt x="1037" y="174"/>
                  </a:lnTo>
                  <a:lnTo>
                    <a:pt x="1041" y="176"/>
                  </a:lnTo>
                  <a:lnTo>
                    <a:pt x="1041" y="176"/>
                  </a:lnTo>
                  <a:lnTo>
                    <a:pt x="1051" y="183"/>
                  </a:lnTo>
                  <a:lnTo>
                    <a:pt x="1051" y="183"/>
                  </a:lnTo>
                  <a:lnTo>
                    <a:pt x="1044" y="174"/>
                  </a:lnTo>
                  <a:lnTo>
                    <a:pt x="1044" y="174"/>
                  </a:lnTo>
                  <a:lnTo>
                    <a:pt x="1041" y="173"/>
                  </a:lnTo>
                  <a:lnTo>
                    <a:pt x="1040" y="172"/>
                  </a:lnTo>
                  <a:lnTo>
                    <a:pt x="1040" y="172"/>
                  </a:lnTo>
                  <a:lnTo>
                    <a:pt x="1038" y="172"/>
                  </a:lnTo>
                  <a:lnTo>
                    <a:pt x="1037" y="172"/>
                  </a:lnTo>
                  <a:lnTo>
                    <a:pt x="1037" y="172"/>
                  </a:lnTo>
                  <a:lnTo>
                    <a:pt x="1034" y="169"/>
                  </a:lnTo>
                  <a:lnTo>
                    <a:pt x="1032" y="164"/>
                  </a:lnTo>
                  <a:lnTo>
                    <a:pt x="1032" y="164"/>
                  </a:lnTo>
                  <a:lnTo>
                    <a:pt x="1031" y="164"/>
                  </a:lnTo>
                  <a:lnTo>
                    <a:pt x="1030" y="164"/>
                  </a:lnTo>
                  <a:lnTo>
                    <a:pt x="1024" y="160"/>
                  </a:lnTo>
                  <a:lnTo>
                    <a:pt x="1024" y="160"/>
                  </a:lnTo>
                  <a:lnTo>
                    <a:pt x="1018" y="154"/>
                  </a:lnTo>
                  <a:lnTo>
                    <a:pt x="1018" y="154"/>
                  </a:lnTo>
                  <a:lnTo>
                    <a:pt x="1015" y="150"/>
                  </a:lnTo>
                  <a:lnTo>
                    <a:pt x="1015" y="150"/>
                  </a:lnTo>
                  <a:lnTo>
                    <a:pt x="1014" y="150"/>
                  </a:lnTo>
                  <a:lnTo>
                    <a:pt x="1012" y="149"/>
                  </a:lnTo>
                  <a:lnTo>
                    <a:pt x="1008" y="146"/>
                  </a:lnTo>
                  <a:lnTo>
                    <a:pt x="1008" y="146"/>
                  </a:lnTo>
                  <a:lnTo>
                    <a:pt x="1012" y="150"/>
                  </a:lnTo>
                  <a:lnTo>
                    <a:pt x="1017" y="153"/>
                  </a:lnTo>
                  <a:lnTo>
                    <a:pt x="1017" y="153"/>
                  </a:lnTo>
                  <a:lnTo>
                    <a:pt x="1015" y="153"/>
                  </a:lnTo>
                  <a:lnTo>
                    <a:pt x="1011" y="150"/>
                  </a:lnTo>
                  <a:lnTo>
                    <a:pt x="1005" y="144"/>
                  </a:lnTo>
                  <a:lnTo>
                    <a:pt x="1005" y="144"/>
                  </a:lnTo>
                  <a:lnTo>
                    <a:pt x="1001" y="143"/>
                  </a:lnTo>
                  <a:lnTo>
                    <a:pt x="1001" y="143"/>
                  </a:lnTo>
                  <a:lnTo>
                    <a:pt x="1000" y="142"/>
                  </a:lnTo>
                  <a:lnTo>
                    <a:pt x="1001" y="142"/>
                  </a:lnTo>
                  <a:lnTo>
                    <a:pt x="1001" y="142"/>
                  </a:lnTo>
                  <a:lnTo>
                    <a:pt x="1000" y="140"/>
                  </a:lnTo>
                  <a:lnTo>
                    <a:pt x="998" y="140"/>
                  </a:lnTo>
                  <a:lnTo>
                    <a:pt x="998" y="142"/>
                  </a:lnTo>
                  <a:lnTo>
                    <a:pt x="1000" y="143"/>
                  </a:lnTo>
                  <a:lnTo>
                    <a:pt x="1000" y="143"/>
                  </a:lnTo>
                  <a:lnTo>
                    <a:pt x="1002" y="146"/>
                  </a:lnTo>
                  <a:lnTo>
                    <a:pt x="1005" y="147"/>
                  </a:lnTo>
                  <a:lnTo>
                    <a:pt x="1005" y="147"/>
                  </a:lnTo>
                  <a:lnTo>
                    <a:pt x="1007" y="150"/>
                  </a:lnTo>
                  <a:lnTo>
                    <a:pt x="1007" y="150"/>
                  </a:lnTo>
                  <a:lnTo>
                    <a:pt x="1000" y="144"/>
                  </a:lnTo>
                  <a:lnTo>
                    <a:pt x="994" y="140"/>
                  </a:lnTo>
                  <a:lnTo>
                    <a:pt x="994" y="140"/>
                  </a:lnTo>
                  <a:lnTo>
                    <a:pt x="995" y="140"/>
                  </a:lnTo>
                  <a:lnTo>
                    <a:pt x="997" y="140"/>
                  </a:lnTo>
                  <a:lnTo>
                    <a:pt x="998" y="140"/>
                  </a:lnTo>
                  <a:lnTo>
                    <a:pt x="997" y="137"/>
                  </a:lnTo>
                  <a:lnTo>
                    <a:pt x="997" y="137"/>
                  </a:lnTo>
                  <a:lnTo>
                    <a:pt x="997" y="139"/>
                  </a:lnTo>
                  <a:lnTo>
                    <a:pt x="995" y="137"/>
                  </a:lnTo>
                  <a:lnTo>
                    <a:pt x="991" y="135"/>
                  </a:lnTo>
                  <a:lnTo>
                    <a:pt x="991" y="135"/>
                  </a:lnTo>
                  <a:lnTo>
                    <a:pt x="991" y="135"/>
                  </a:lnTo>
                  <a:lnTo>
                    <a:pt x="992" y="135"/>
                  </a:lnTo>
                  <a:lnTo>
                    <a:pt x="988" y="130"/>
                  </a:lnTo>
                  <a:lnTo>
                    <a:pt x="988" y="130"/>
                  </a:lnTo>
                  <a:lnTo>
                    <a:pt x="987" y="132"/>
                  </a:lnTo>
                  <a:lnTo>
                    <a:pt x="982" y="129"/>
                  </a:lnTo>
                  <a:lnTo>
                    <a:pt x="982" y="129"/>
                  </a:lnTo>
                  <a:lnTo>
                    <a:pt x="981" y="127"/>
                  </a:lnTo>
                  <a:lnTo>
                    <a:pt x="978" y="125"/>
                  </a:lnTo>
                  <a:lnTo>
                    <a:pt x="975" y="123"/>
                  </a:lnTo>
                  <a:lnTo>
                    <a:pt x="973" y="120"/>
                  </a:lnTo>
                  <a:lnTo>
                    <a:pt x="973" y="120"/>
                  </a:lnTo>
                  <a:lnTo>
                    <a:pt x="988" y="130"/>
                  </a:lnTo>
                  <a:lnTo>
                    <a:pt x="997" y="136"/>
                  </a:lnTo>
                  <a:lnTo>
                    <a:pt x="1005" y="144"/>
                  </a:lnTo>
                  <a:lnTo>
                    <a:pt x="1005" y="144"/>
                  </a:lnTo>
                  <a:lnTo>
                    <a:pt x="1004" y="143"/>
                  </a:lnTo>
                  <a:lnTo>
                    <a:pt x="1005" y="143"/>
                  </a:lnTo>
                  <a:lnTo>
                    <a:pt x="1008" y="144"/>
                  </a:lnTo>
                  <a:lnTo>
                    <a:pt x="1012" y="147"/>
                  </a:lnTo>
                  <a:lnTo>
                    <a:pt x="1014" y="147"/>
                  </a:lnTo>
                  <a:lnTo>
                    <a:pt x="1014" y="147"/>
                  </a:lnTo>
                  <a:lnTo>
                    <a:pt x="1014" y="147"/>
                  </a:lnTo>
                  <a:lnTo>
                    <a:pt x="1010" y="143"/>
                  </a:lnTo>
                  <a:lnTo>
                    <a:pt x="1010" y="143"/>
                  </a:lnTo>
                  <a:lnTo>
                    <a:pt x="1007" y="142"/>
                  </a:lnTo>
                  <a:lnTo>
                    <a:pt x="1004" y="139"/>
                  </a:lnTo>
                  <a:lnTo>
                    <a:pt x="1000" y="133"/>
                  </a:lnTo>
                  <a:lnTo>
                    <a:pt x="1000" y="133"/>
                  </a:lnTo>
                  <a:lnTo>
                    <a:pt x="1000" y="135"/>
                  </a:lnTo>
                  <a:lnTo>
                    <a:pt x="998" y="133"/>
                  </a:lnTo>
                  <a:lnTo>
                    <a:pt x="997" y="133"/>
                  </a:lnTo>
                  <a:lnTo>
                    <a:pt x="997" y="135"/>
                  </a:lnTo>
                  <a:lnTo>
                    <a:pt x="997" y="135"/>
                  </a:lnTo>
                  <a:lnTo>
                    <a:pt x="992" y="132"/>
                  </a:lnTo>
                  <a:lnTo>
                    <a:pt x="988" y="129"/>
                  </a:lnTo>
                  <a:lnTo>
                    <a:pt x="988" y="129"/>
                  </a:lnTo>
                  <a:lnTo>
                    <a:pt x="988" y="129"/>
                  </a:lnTo>
                  <a:lnTo>
                    <a:pt x="990" y="129"/>
                  </a:lnTo>
                  <a:lnTo>
                    <a:pt x="991" y="130"/>
                  </a:lnTo>
                  <a:lnTo>
                    <a:pt x="992" y="130"/>
                  </a:lnTo>
                  <a:lnTo>
                    <a:pt x="991" y="129"/>
                  </a:lnTo>
                  <a:lnTo>
                    <a:pt x="991" y="129"/>
                  </a:lnTo>
                  <a:lnTo>
                    <a:pt x="992" y="129"/>
                  </a:lnTo>
                  <a:lnTo>
                    <a:pt x="994" y="130"/>
                  </a:lnTo>
                  <a:lnTo>
                    <a:pt x="995" y="132"/>
                  </a:lnTo>
                  <a:lnTo>
                    <a:pt x="997" y="132"/>
                  </a:lnTo>
                  <a:lnTo>
                    <a:pt x="997" y="132"/>
                  </a:lnTo>
                  <a:lnTo>
                    <a:pt x="997" y="130"/>
                  </a:lnTo>
                  <a:lnTo>
                    <a:pt x="995" y="129"/>
                  </a:lnTo>
                  <a:lnTo>
                    <a:pt x="995" y="129"/>
                  </a:lnTo>
                  <a:lnTo>
                    <a:pt x="991" y="127"/>
                  </a:lnTo>
                  <a:lnTo>
                    <a:pt x="990" y="126"/>
                  </a:lnTo>
                  <a:lnTo>
                    <a:pt x="988" y="122"/>
                  </a:lnTo>
                  <a:lnTo>
                    <a:pt x="988" y="122"/>
                  </a:lnTo>
                  <a:lnTo>
                    <a:pt x="985" y="122"/>
                  </a:lnTo>
                  <a:lnTo>
                    <a:pt x="980" y="119"/>
                  </a:lnTo>
                  <a:lnTo>
                    <a:pt x="980" y="119"/>
                  </a:lnTo>
                  <a:lnTo>
                    <a:pt x="968" y="110"/>
                  </a:lnTo>
                  <a:lnTo>
                    <a:pt x="968" y="110"/>
                  </a:lnTo>
                  <a:lnTo>
                    <a:pt x="967" y="110"/>
                  </a:lnTo>
                  <a:lnTo>
                    <a:pt x="968" y="110"/>
                  </a:lnTo>
                  <a:lnTo>
                    <a:pt x="971" y="113"/>
                  </a:lnTo>
                  <a:lnTo>
                    <a:pt x="971" y="113"/>
                  </a:lnTo>
                  <a:lnTo>
                    <a:pt x="964" y="110"/>
                  </a:lnTo>
                  <a:lnTo>
                    <a:pt x="958" y="106"/>
                  </a:lnTo>
                  <a:lnTo>
                    <a:pt x="953" y="103"/>
                  </a:lnTo>
                  <a:lnTo>
                    <a:pt x="948" y="102"/>
                  </a:lnTo>
                  <a:lnTo>
                    <a:pt x="948" y="102"/>
                  </a:lnTo>
                  <a:lnTo>
                    <a:pt x="947" y="100"/>
                  </a:lnTo>
                  <a:lnTo>
                    <a:pt x="948" y="99"/>
                  </a:lnTo>
                  <a:lnTo>
                    <a:pt x="948" y="99"/>
                  </a:lnTo>
                  <a:lnTo>
                    <a:pt x="950" y="99"/>
                  </a:lnTo>
                  <a:lnTo>
                    <a:pt x="950" y="99"/>
                  </a:lnTo>
                  <a:lnTo>
                    <a:pt x="964" y="109"/>
                  </a:lnTo>
                  <a:lnTo>
                    <a:pt x="964" y="109"/>
                  </a:lnTo>
                  <a:lnTo>
                    <a:pt x="967" y="109"/>
                  </a:lnTo>
                  <a:lnTo>
                    <a:pt x="967" y="107"/>
                  </a:lnTo>
                  <a:lnTo>
                    <a:pt x="967" y="107"/>
                  </a:lnTo>
                  <a:lnTo>
                    <a:pt x="964" y="106"/>
                  </a:lnTo>
                  <a:lnTo>
                    <a:pt x="963" y="105"/>
                  </a:lnTo>
                  <a:lnTo>
                    <a:pt x="963" y="105"/>
                  </a:lnTo>
                  <a:lnTo>
                    <a:pt x="961" y="105"/>
                  </a:lnTo>
                  <a:lnTo>
                    <a:pt x="961" y="106"/>
                  </a:lnTo>
                  <a:lnTo>
                    <a:pt x="961" y="106"/>
                  </a:lnTo>
                  <a:lnTo>
                    <a:pt x="957" y="102"/>
                  </a:lnTo>
                  <a:lnTo>
                    <a:pt x="950" y="97"/>
                  </a:lnTo>
                  <a:lnTo>
                    <a:pt x="950" y="97"/>
                  </a:lnTo>
                  <a:lnTo>
                    <a:pt x="943" y="93"/>
                  </a:lnTo>
                  <a:lnTo>
                    <a:pt x="937" y="92"/>
                  </a:lnTo>
                  <a:lnTo>
                    <a:pt x="937" y="92"/>
                  </a:lnTo>
                  <a:lnTo>
                    <a:pt x="938" y="92"/>
                  </a:lnTo>
                  <a:lnTo>
                    <a:pt x="938" y="90"/>
                  </a:lnTo>
                  <a:lnTo>
                    <a:pt x="935" y="89"/>
                  </a:lnTo>
                  <a:lnTo>
                    <a:pt x="931" y="86"/>
                  </a:lnTo>
                  <a:lnTo>
                    <a:pt x="930" y="83"/>
                  </a:lnTo>
                  <a:lnTo>
                    <a:pt x="930" y="83"/>
                  </a:lnTo>
                  <a:lnTo>
                    <a:pt x="924" y="80"/>
                  </a:lnTo>
                  <a:lnTo>
                    <a:pt x="924" y="80"/>
                  </a:lnTo>
                  <a:lnTo>
                    <a:pt x="924" y="80"/>
                  </a:lnTo>
                  <a:lnTo>
                    <a:pt x="925" y="82"/>
                  </a:lnTo>
                  <a:lnTo>
                    <a:pt x="930" y="85"/>
                  </a:lnTo>
                  <a:lnTo>
                    <a:pt x="930" y="85"/>
                  </a:lnTo>
                  <a:lnTo>
                    <a:pt x="928" y="86"/>
                  </a:lnTo>
                  <a:lnTo>
                    <a:pt x="925" y="85"/>
                  </a:lnTo>
                  <a:lnTo>
                    <a:pt x="925" y="85"/>
                  </a:lnTo>
                  <a:lnTo>
                    <a:pt x="917" y="83"/>
                  </a:lnTo>
                  <a:lnTo>
                    <a:pt x="917" y="83"/>
                  </a:lnTo>
                  <a:lnTo>
                    <a:pt x="917" y="80"/>
                  </a:lnTo>
                  <a:lnTo>
                    <a:pt x="918" y="82"/>
                  </a:lnTo>
                  <a:lnTo>
                    <a:pt x="923" y="82"/>
                  </a:lnTo>
                  <a:lnTo>
                    <a:pt x="924" y="82"/>
                  </a:lnTo>
                  <a:lnTo>
                    <a:pt x="924" y="82"/>
                  </a:lnTo>
                  <a:lnTo>
                    <a:pt x="920" y="79"/>
                  </a:lnTo>
                  <a:lnTo>
                    <a:pt x="914" y="77"/>
                  </a:lnTo>
                  <a:lnTo>
                    <a:pt x="914" y="77"/>
                  </a:lnTo>
                  <a:lnTo>
                    <a:pt x="914" y="79"/>
                  </a:lnTo>
                  <a:lnTo>
                    <a:pt x="914" y="80"/>
                  </a:lnTo>
                  <a:lnTo>
                    <a:pt x="914" y="80"/>
                  </a:lnTo>
                  <a:lnTo>
                    <a:pt x="910" y="79"/>
                  </a:lnTo>
                  <a:lnTo>
                    <a:pt x="905" y="76"/>
                  </a:lnTo>
                  <a:lnTo>
                    <a:pt x="905" y="76"/>
                  </a:lnTo>
                  <a:lnTo>
                    <a:pt x="910" y="79"/>
                  </a:lnTo>
                  <a:lnTo>
                    <a:pt x="913" y="80"/>
                  </a:lnTo>
                  <a:lnTo>
                    <a:pt x="915" y="82"/>
                  </a:lnTo>
                  <a:lnTo>
                    <a:pt x="918" y="85"/>
                  </a:lnTo>
                  <a:lnTo>
                    <a:pt x="918" y="85"/>
                  </a:lnTo>
                  <a:lnTo>
                    <a:pt x="927" y="87"/>
                  </a:lnTo>
                  <a:lnTo>
                    <a:pt x="935" y="92"/>
                  </a:lnTo>
                  <a:lnTo>
                    <a:pt x="935" y="92"/>
                  </a:lnTo>
                  <a:lnTo>
                    <a:pt x="935" y="92"/>
                  </a:lnTo>
                  <a:lnTo>
                    <a:pt x="933" y="92"/>
                  </a:lnTo>
                  <a:lnTo>
                    <a:pt x="928" y="89"/>
                  </a:lnTo>
                  <a:lnTo>
                    <a:pt x="928" y="89"/>
                  </a:lnTo>
                  <a:lnTo>
                    <a:pt x="928" y="89"/>
                  </a:lnTo>
                  <a:lnTo>
                    <a:pt x="930" y="90"/>
                  </a:lnTo>
                  <a:lnTo>
                    <a:pt x="933" y="92"/>
                  </a:lnTo>
                  <a:lnTo>
                    <a:pt x="933" y="92"/>
                  </a:lnTo>
                  <a:lnTo>
                    <a:pt x="933" y="92"/>
                  </a:lnTo>
                  <a:lnTo>
                    <a:pt x="931" y="92"/>
                  </a:lnTo>
                  <a:lnTo>
                    <a:pt x="927" y="92"/>
                  </a:lnTo>
                  <a:lnTo>
                    <a:pt x="927" y="92"/>
                  </a:lnTo>
                  <a:lnTo>
                    <a:pt x="921" y="89"/>
                  </a:lnTo>
                  <a:lnTo>
                    <a:pt x="921" y="89"/>
                  </a:lnTo>
                  <a:lnTo>
                    <a:pt x="918" y="86"/>
                  </a:lnTo>
                  <a:lnTo>
                    <a:pt x="918" y="86"/>
                  </a:lnTo>
                  <a:lnTo>
                    <a:pt x="915" y="85"/>
                  </a:lnTo>
                  <a:lnTo>
                    <a:pt x="915" y="85"/>
                  </a:lnTo>
                  <a:lnTo>
                    <a:pt x="900" y="76"/>
                  </a:lnTo>
                  <a:lnTo>
                    <a:pt x="900" y="76"/>
                  </a:lnTo>
                  <a:lnTo>
                    <a:pt x="893" y="72"/>
                  </a:lnTo>
                  <a:lnTo>
                    <a:pt x="893" y="72"/>
                  </a:lnTo>
                  <a:lnTo>
                    <a:pt x="886" y="69"/>
                  </a:lnTo>
                  <a:lnTo>
                    <a:pt x="886" y="69"/>
                  </a:lnTo>
                  <a:lnTo>
                    <a:pt x="887" y="70"/>
                  </a:lnTo>
                  <a:lnTo>
                    <a:pt x="888" y="72"/>
                  </a:lnTo>
                  <a:lnTo>
                    <a:pt x="887" y="72"/>
                  </a:lnTo>
                  <a:lnTo>
                    <a:pt x="887" y="72"/>
                  </a:lnTo>
                  <a:lnTo>
                    <a:pt x="891" y="73"/>
                  </a:lnTo>
                  <a:lnTo>
                    <a:pt x="893" y="73"/>
                  </a:lnTo>
                  <a:lnTo>
                    <a:pt x="894" y="75"/>
                  </a:lnTo>
                  <a:lnTo>
                    <a:pt x="894" y="75"/>
                  </a:lnTo>
                  <a:lnTo>
                    <a:pt x="890" y="75"/>
                  </a:lnTo>
                  <a:lnTo>
                    <a:pt x="890" y="75"/>
                  </a:lnTo>
                  <a:lnTo>
                    <a:pt x="886" y="72"/>
                  </a:lnTo>
                  <a:lnTo>
                    <a:pt x="884" y="70"/>
                  </a:lnTo>
                  <a:lnTo>
                    <a:pt x="884" y="70"/>
                  </a:lnTo>
                  <a:lnTo>
                    <a:pt x="884" y="72"/>
                  </a:lnTo>
                  <a:lnTo>
                    <a:pt x="883" y="72"/>
                  </a:lnTo>
                  <a:lnTo>
                    <a:pt x="880" y="70"/>
                  </a:lnTo>
                  <a:lnTo>
                    <a:pt x="876" y="69"/>
                  </a:lnTo>
                  <a:lnTo>
                    <a:pt x="873" y="67"/>
                  </a:lnTo>
                  <a:lnTo>
                    <a:pt x="873" y="67"/>
                  </a:lnTo>
                  <a:lnTo>
                    <a:pt x="876" y="67"/>
                  </a:lnTo>
                  <a:lnTo>
                    <a:pt x="881" y="70"/>
                  </a:lnTo>
                  <a:lnTo>
                    <a:pt x="881" y="70"/>
                  </a:lnTo>
                  <a:lnTo>
                    <a:pt x="881" y="69"/>
                  </a:lnTo>
                  <a:lnTo>
                    <a:pt x="883" y="69"/>
                  </a:lnTo>
                  <a:lnTo>
                    <a:pt x="886" y="69"/>
                  </a:lnTo>
                  <a:lnTo>
                    <a:pt x="886" y="69"/>
                  </a:lnTo>
                  <a:lnTo>
                    <a:pt x="878" y="63"/>
                  </a:lnTo>
                  <a:lnTo>
                    <a:pt x="878" y="63"/>
                  </a:lnTo>
                  <a:lnTo>
                    <a:pt x="888" y="67"/>
                  </a:lnTo>
                  <a:lnTo>
                    <a:pt x="888" y="67"/>
                  </a:lnTo>
                  <a:lnTo>
                    <a:pt x="894" y="70"/>
                  </a:lnTo>
                  <a:lnTo>
                    <a:pt x="894" y="70"/>
                  </a:lnTo>
                  <a:lnTo>
                    <a:pt x="901" y="72"/>
                  </a:lnTo>
                  <a:lnTo>
                    <a:pt x="901" y="72"/>
                  </a:lnTo>
                  <a:lnTo>
                    <a:pt x="900" y="70"/>
                  </a:lnTo>
                  <a:lnTo>
                    <a:pt x="900" y="70"/>
                  </a:lnTo>
                  <a:lnTo>
                    <a:pt x="895" y="67"/>
                  </a:lnTo>
                  <a:lnTo>
                    <a:pt x="895" y="67"/>
                  </a:lnTo>
                  <a:lnTo>
                    <a:pt x="897" y="69"/>
                  </a:lnTo>
                  <a:lnTo>
                    <a:pt x="895" y="69"/>
                  </a:lnTo>
                  <a:lnTo>
                    <a:pt x="893" y="69"/>
                  </a:lnTo>
                  <a:lnTo>
                    <a:pt x="893" y="69"/>
                  </a:lnTo>
                  <a:lnTo>
                    <a:pt x="881" y="63"/>
                  </a:lnTo>
                  <a:lnTo>
                    <a:pt x="871" y="59"/>
                  </a:lnTo>
                  <a:lnTo>
                    <a:pt x="871" y="59"/>
                  </a:lnTo>
                  <a:lnTo>
                    <a:pt x="873" y="60"/>
                  </a:lnTo>
                  <a:lnTo>
                    <a:pt x="873" y="60"/>
                  </a:lnTo>
                  <a:lnTo>
                    <a:pt x="873" y="60"/>
                  </a:lnTo>
                  <a:lnTo>
                    <a:pt x="881" y="66"/>
                  </a:lnTo>
                  <a:lnTo>
                    <a:pt x="881" y="66"/>
                  </a:lnTo>
                  <a:lnTo>
                    <a:pt x="878" y="66"/>
                  </a:lnTo>
                  <a:lnTo>
                    <a:pt x="874" y="65"/>
                  </a:lnTo>
                  <a:lnTo>
                    <a:pt x="874" y="65"/>
                  </a:lnTo>
                  <a:lnTo>
                    <a:pt x="873" y="63"/>
                  </a:lnTo>
                  <a:lnTo>
                    <a:pt x="874" y="63"/>
                  </a:lnTo>
                  <a:lnTo>
                    <a:pt x="874" y="63"/>
                  </a:lnTo>
                  <a:lnTo>
                    <a:pt x="871" y="62"/>
                  </a:lnTo>
                  <a:lnTo>
                    <a:pt x="870" y="62"/>
                  </a:lnTo>
                  <a:lnTo>
                    <a:pt x="868" y="62"/>
                  </a:lnTo>
                  <a:lnTo>
                    <a:pt x="866" y="60"/>
                  </a:lnTo>
                  <a:lnTo>
                    <a:pt x="866" y="60"/>
                  </a:lnTo>
                  <a:lnTo>
                    <a:pt x="867" y="59"/>
                  </a:lnTo>
                  <a:lnTo>
                    <a:pt x="868" y="59"/>
                  </a:lnTo>
                  <a:lnTo>
                    <a:pt x="868" y="59"/>
                  </a:lnTo>
                  <a:lnTo>
                    <a:pt x="868" y="59"/>
                  </a:lnTo>
                  <a:lnTo>
                    <a:pt x="861" y="56"/>
                  </a:lnTo>
                  <a:lnTo>
                    <a:pt x="853" y="53"/>
                  </a:lnTo>
                  <a:lnTo>
                    <a:pt x="853" y="53"/>
                  </a:lnTo>
                  <a:lnTo>
                    <a:pt x="844" y="50"/>
                  </a:lnTo>
                  <a:lnTo>
                    <a:pt x="837" y="47"/>
                  </a:lnTo>
                  <a:lnTo>
                    <a:pt x="837" y="47"/>
                  </a:lnTo>
                  <a:lnTo>
                    <a:pt x="837" y="47"/>
                  </a:lnTo>
                  <a:lnTo>
                    <a:pt x="837" y="47"/>
                  </a:lnTo>
                  <a:lnTo>
                    <a:pt x="834" y="45"/>
                  </a:lnTo>
                  <a:lnTo>
                    <a:pt x="834" y="45"/>
                  </a:lnTo>
                  <a:lnTo>
                    <a:pt x="828" y="43"/>
                  </a:lnTo>
                  <a:lnTo>
                    <a:pt x="821" y="42"/>
                  </a:lnTo>
                  <a:lnTo>
                    <a:pt x="821" y="42"/>
                  </a:lnTo>
                  <a:lnTo>
                    <a:pt x="824" y="43"/>
                  </a:lnTo>
                  <a:lnTo>
                    <a:pt x="826" y="45"/>
                  </a:lnTo>
                  <a:lnTo>
                    <a:pt x="826" y="45"/>
                  </a:lnTo>
                  <a:lnTo>
                    <a:pt x="817" y="43"/>
                  </a:lnTo>
                  <a:lnTo>
                    <a:pt x="810" y="40"/>
                  </a:lnTo>
                  <a:lnTo>
                    <a:pt x="810" y="40"/>
                  </a:lnTo>
                  <a:lnTo>
                    <a:pt x="810" y="39"/>
                  </a:lnTo>
                  <a:lnTo>
                    <a:pt x="811" y="39"/>
                  </a:lnTo>
                  <a:lnTo>
                    <a:pt x="811" y="39"/>
                  </a:lnTo>
                  <a:lnTo>
                    <a:pt x="816" y="40"/>
                  </a:lnTo>
                  <a:lnTo>
                    <a:pt x="820" y="42"/>
                  </a:lnTo>
                  <a:lnTo>
                    <a:pt x="820" y="42"/>
                  </a:lnTo>
                  <a:lnTo>
                    <a:pt x="818" y="42"/>
                  </a:lnTo>
                  <a:lnTo>
                    <a:pt x="820" y="40"/>
                  </a:lnTo>
                  <a:lnTo>
                    <a:pt x="820" y="40"/>
                  </a:lnTo>
                  <a:lnTo>
                    <a:pt x="820" y="39"/>
                  </a:lnTo>
                  <a:lnTo>
                    <a:pt x="820" y="39"/>
                  </a:lnTo>
                  <a:lnTo>
                    <a:pt x="816" y="39"/>
                  </a:lnTo>
                  <a:lnTo>
                    <a:pt x="811" y="37"/>
                  </a:lnTo>
                  <a:lnTo>
                    <a:pt x="811" y="37"/>
                  </a:lnTo>
                  <a:lnTo>
                    <a:pt x="800" y="36"/>
                  </a:lnTo>
                  <a:lnTo>
                    <a:pt x="800" y="36"/>
                  </a:lnTo>
                  <a:lnTo>
                    <a:pt x="803" y="37"/>
                  </a:lnTo>
                  <a:lnTo>
                    <a:pt x="807" y="37"/>
                  </a:lnTo>
                  <a:lnTo>
                    <a:pt x="807" y="37"/>
                  </a:lnTo>
                  <a:lnTo>
                    <a:pt x="806" y="39"/>
                  </a:lnTo>
                  <a:lnTo>
                    <a:pt x="803" y="37"/>
                  </a:lnTo>
                  <a:lnTo>
                    <a:pt x="796" y="36"/>
                  </a:lnTo>
                  <a:lnTo>
                    <a:pt x="796" y="36"/>
                  </a:lnTo>
                  <a:lnTo>
                    <a:pt x="796" y="35"/>
                  </a:lnTo>
                  <a:lnTo>
                    <a:pt x="794" y="35"/>
                  </a:lnTo>
                  <a:lnTo>
                    <a:pt x="794" y="35"/>
                  </a:lnTo>
                  <a:lnTo>
                    <a:pt x="790" y="35"/>
                  </a:lnTo>
                  <a:lnTo>
                    <a:pt x="786" y="33"/>
                  </a:lnTo>
                  <a:lnTo>
                    <a:pt x="786" y="33"/>
                  </a:lnTo>
                  <a:lnTo>
                    <a:pt x="783" y="32"/>
                  </a:lnTo>
                  <a:lnTo>
                    <a:pt x="783" y="32"/>
                  </a:lnTo>
                  <a:lnTo>
                    <a:pt x="780" y="30"/>
                  </a:lnTo>
                  <a:lnTo>
                    <a:pt x="780" y="30"/>
                  </a:lnTo>
                  <a:lnTo>
                    <a:pt x="774" y="30"/>
                  </a:lnTo>
                  <a:lnTo>
                    <a:pt x="774" y="30"/>
                  </a:lnTo>
                  <a:lnTo>
                    <a:pt x="774" y="29"/>
                  </a:lnTo>
                  <a:lnTo>
                    <a:pt x="774" y="29"/>
                  </a:lnTo>
                  <a:lnTo>
                    <a:pt x="779" y="29"/>
                  </a:lnTo>
                  <a:lnTo>
                    <a:pt x="783" y="29"/>
                  </a:lnTo>
                  <a:lnTo>
                    <a:pt x="784" y="29"/>
                  </a:lnTo>
                  <a:lnTo>
                    <a:pt x="784" y="29"/>
                  </a:lnTo>
                  <a:lnTo>
                    <a:pt x="781" y="29"/>
                  </a:lnTo>
                  <a:lnTo>
                    <a:pt x="781" y="29"/>
                  </a:lnTo>
                  <a:lnTo>
                    <a:pt x="780" y="27"/>
                  </a:lnTo>
                  <a:lnTo>
                    <a:pt x="780" y="27"/>
                  </a:lnTo>
                  <a:lnTo>
                    <a:pt x="781" y="27"/>
                  </a:lnTo>
                  <a:lnTo>
                    <a:pt x="780" y="26"/>
                  </a:lnTo>
                  <a:lnTo>
                    <a:pt x="780" y="26"/>
                  </a:lnTo>
                  <a:lnTo>
                    <a:pt x="773" y="25"/>
                  </a:lnTo>
                  <a:lnTo>
                    <a:pt x="771" y="25"/>
                  </a:lnTo>
                  <a:lnTo>
                    <a:pt x="771" y="26"/>
                  </a:lnTo>
                  <a:lnTo>
                    <a:pt x="771" y="26"/>
                  </a:lnTo>
                  <a:lnTo>
                    <a:pt x="769" y="26"/>
                  </a:lnTo>
                  <a:lnTo>
                    <a:pt x="766" y="25"/>
                  </a:lnTo>
                  <a:lnTo>
                    <a:pt x="760" y="23"/>
                  </a:lnTo>
                  <a:lnTo>
                    <a:pt x="760" y="23"/>
                  </a:lnTo>
                  <a:lnTo>
                    <a:pt x="760" y="22"/>
                  </a:lnTo>
                  <a:lnTo>
                    <a:pt x="761" y="22"/>
                  </a:lnTo>
                  <a:lnTo>
                    <a:pt x="764" y="23"/>
                  </a:lnTo>
                  <a:lnTo>
                    <a:pt x="764" y="23"/>
                  </a:lnTo>
                  <a:lnTo>
                    <a:pt x="763" y="22"/>
                  </a:lnTo>
                  <a:lnTo>
                    <a:pt x="757" y="20"/>
                  </a:lnTo>
                  <a:lnTo>
                    <a:pt x="757" y="20"/>
                  </a:lnTo>
                  <a:lnTo>
                    <a:pt x="751" y="19"/>
                  </a:lnTo>
                  <a:lnTo>
                    <a:pt x="750" y="19"/>
                  </a:lnTo>
                  <a:lnTo>
                    <a:pt x="750" y="17"/>
                  </a:lnTo>
                  <a:lnTo>
                    <a:pt x="750" y="17"/>
                  </a:lnTo>
                  <a:lnTo>
                    <a:pt x="741" y="17"/>
                  </a:lnTo>
                  <a:lnTo>
                    <a:pt x="741" y="17"/>
                  </a:lnTo>
                  <a:lnTo>
                    <a:pt x="744" y="19"/>
                  </a:lnTo>
                  <a:lnTo>
                    <a:pt x="744" y="20"/>
                  </a:lnTo>
                  <a:lnTo>
                    <a:pt x="744" y="20"/>
                  </a:lnTo>
                  <a:lnTo>
                    <a:pt x="740" y="19"/>
                  </a:lnTo>
                  <a:lnTo>
                    <a:pt x="739" y="17"/>
                  </a:lnTo>
                  <a:lnTo>
                    <a:pt x="739" y="17"/>
                  </a:lnTo>
                  <a:lnTo>
                    <a:pt x="733" y="17"/>
                  </a:lnTo>
                  <a:lnTo>
                    <a:pt x="727" y="16"/>
                  </a:lnTo>
                  <a:lnTo>
                    <a:pt x="727" y="16"/>
                  </a:lnTo>
                  <a:lnTo>
                    <a:pt x="713" y="12"/>
                  </a:lnTo>
                  <a:lnTo>
                    <a:pt x="713" y="12"/>
                  </a:lnTo>
                  <a:lnTo>
                    <a:pt x="706" y="12"/>
                  </a:lnTo>
                  <a:lnTo>
                    <a:pt x="697" y="10"/>
                  </a:lnTo>
                  <a:lnTo>
                    <a:pt x="697" y="10"/>
                  </a:lnTo>
                  <a:lnTo>
                    <a:pt x="689" y="9"/>
                  </a:lnTo>
                  <a:lnTo>
                    <a:pt x="680" y="7"/>
                  </a:lnTo>
                  <a:lnTo>
                    <a:pt x="680" y="7"/>
                  </a:lnTo>
                  <a:lnTo>
                    <a:pt x="680" y="9"/>
                  </a:lnTo>
                  <a:lnTo>
                    <a:pt x="683" y="9"/>
                  </a:lnTo>
                  <a:lnTo>
                    <a:pt x="687" y="10"/>
                  </a:lnTo>
                  <a:lnTo>
                    <a:pt x="687" y="10"/>
                  </a:lnTo>
                  <a:lnTo>
                    <a:pt x="684" y="10"/>
                  </a:lnTo>
                  <a:lnTo>
                    <a:pt x="680" y="10"/>
                  </a:lnTo>
                  <a:lnTo>
                    <a:pt x="669" y="9"/>
                  </a:lnTo>
                  <a:lnTo>
                    <a:pt x="669" y="9"/>
                  </a:lnTo>
                  <a:lnTo>
                    <a:pt x="669" y="9"/>
                  </a:lnTo>
                  <a:lnTo>
                    <a:pt x="669" y="9"/>
                  </a:lnTo>
                  <a:lnTo>
                    <a:pt x="672" y="9"/>
                  </a:lnTo>
                  <a:lnTo>
                    <a:pt x="674" y="9"/>
                  </a:lnTo>
                  <a:lnTo>
                    <a:pt x="674" y="7"/>
                  </a:lnTo>
                  <a:lnTo>
                    <a:pt x="674" y="7"/>
                  </a:lnTo>
                  <a:lnTo>
                    <a:pt x="670" y="6"/>
                  </a:lnTo>
                  <a:lnTo>
                    <a:pt x="669" y="5"/>
                  </a:lnTo>
                  <a:lnTo>
                    <a:pt x="669" y="5"/>
                  </a:lnTo>
                  <a:lnTo>
                    <a:pt x="656" y="9"/>
                  </a:lnTo>
                  <a:lnTo>
                    <a:pt x="656" y="9"/>
                  </a:lnTo>
                  <a:lnTo>
                    <a:pt x="653" y="7"/>
                  </a:lnTo>
                  <a:lnTo>
                    <a:pt x="652" y="7"/>
                  </a:lnTo>
                  <a:lnTo>
                    <a:pt x="649" y="6"/>
                  </a:lnTo>
                  <a:lnTo>
                    <a:pt x="649" y="6"/>
                  </a:lnTo>
                  <a:lnTo>
                    <a:pt x="642" y="6"/>
                  </a:lnTo>
                  <a:lnTo>
                    <a:pt x="639" y="6"/>
                  </a:lnTo>
                  <a:lnTo>
                    <a:pt x="637" y="5"/>
                  </a:lnTo>
                  <a:lnTo>
                    <a:pt x="637" y="5"/>
                  </a:lnTo>
                  <a:lnTo>
                    <a:pt x="637" y="5"/>
                  </a:lnTo>
                  <a:lnTo>
                    <a:pt x="624" y="6"/>
                  </a:lnTo>
                  <a:lnTo>
                    <a:pt x="612" y="5"/>
                  </a:lnTo>
                  <a:lnTo>
                    <a:pt x="612" y="5"/>
                  </a:lnTo>
                  <a:lnTo>
                    <a:pt x="609" y="5"/>
                  </a:lnTo>
                  <a:lnTo>
                    <a:pt x="610" y="3"/>
                  </a:lnTo>
                  <a:lnTo>
                    <a:pt x="612" y="3"/>
                  </a:lnTo>
                  <a:lnTo>
                    <a:pt x="610" y="2"/>
                  </a:lnTo>
                  <a:lnTo>
                    <a:pt x="610" y="2"/>
                  </a:lnTo>
                  <a:lnTo>
                    <a:pt x="607" y="3"/>
                  </a:lnTo>
                  <a:lnTo>
                    <a:pt x="607" y="3"/>
                  </a:lnTo>
                  <a:lnTo>
                    <a:pt x="609" y="5"/>
                  </a:lnTo>
                  <a:lnTo>
                    <a:pt x="606" y="5"/>
                  </a:lnTo>
                  <a:lnTo>
                    <a:pt x="606" y="5"/>
                  </a:lnTo>
                  <a:lnTo>
                    <a:pt x="603" y="5"/>
                  </a:lnTo>
                  <a:lnTo>
                    <a:pt x="602" y="5"/>
                  </a:lnTo>
                  <a:lnTo>
                    <a:pt x="597" y="3"/>
                  </a:lnTo>
                  <a:lnTo>
                    <a:pt x="597" y="3"/>
                  </a:lnTo>
                  <a:lnTo>
                    <a:pt x="593" y="3"/>
                  </a:lnTo>
                  <a:lnTo>
                    <a:pt x="587" y="3"/>
                  </a:lnTo>
                  <a:lnTo>
                    <a:pt x="587" y="3"/>
                  </a:lnTo>
                  <a:lnTo>
                    <a:pt x="589" y="2"/>
                  </a:lnTo>
                  <a:lnTo>
                    <a:pt x="587" y="2"/>
                  </a:lnTo>
                  <a:lnTo>
                    <a:pt x="583" y="0"/>
                  </a:lnTo>
                  <a:lnTo>
                    <a:pt x="583" y="0"/>
                  </a:lnTo>
                  <a:lnTo>
                    <a:pt x="583" y="2"/>
                  </a:lnTo>
                  <a:lnTo>
                    <a:pt x="580" y="2"/>
                  </a:lnTo>
                  <a:lnTo>
                    <a:pt x="580" y="2"/>
                  </a:lnTo>
                  <a:lnTo>
                    <a:pt x="579" y="2"/>
                  </a:lnTo>
                  <a:lnTo>
                    <a:pt x="580" y="2"/>
                  </a:lnTo>
                  <a:lnTo>
                    <a:pt x="585" y="3"/>
                  </a:lnTo>
                  <a:lnTo>
                    <a:pt x="585" y="3"/>
                  </a:lnTo>
                  <a:lnTo>
                    <a:pt x="580" y="3"/>
                  </a:lnTo>
                  <a:lnTo>
                    <a:pt x="575" y="3"/>
                  </a:lnTo>
                  <a:lnTo>
                    <a:pt x="575" y="3"/>
                  </a:lnTo>
                  <a:lnTo>
                    <a:pt x="575" y="3"/>
                  </a:lnTo>
                  <a:lnTo>
                    <a:pt x="576" y="3"/>
                  </a:lnTo>
                  <a:lnTo>
                    <a:pt x="580" y="3"/>
                  </a:lnTo>
                  <a:lnTo>
                    <a:pt x="580" y="3"/>
                  </a:lnTo>
                  <a:lnTo>
                    <a:pt x="580" y="5"/>
                  </a:lnTo>
                  <a:lnTo>
                    <a:pt x="579" y="6"/>
                  </a:lnTo>
                  <a:lnTo>
                    <a:pt x="579" y="6"/>
                  </a:lnTo>
                  <a:lnTo>
                    <a:pt x="575" y="6"/>
                  </a:lnTo>
                  <a:lnTo>
                    <a:pt x="572" y="7"/>
                  </a:lnTo>
                  <a:lnTo>
                    <a:pt x="572" y="7"/>
                  </a:lnTo>
                  <a:lnTo>
                    <a:pt x="570" y="6"/>
                  </a:lnTo>
                  <a:lnTo>
                    <a:pt x="572" y="6"/>
                  </a:lnTo>
                  <a:lnTo>
                    <a:pt x="573" y="5"/>
                  </a:lnTo>
                  <a:lnTo>
                    <a:pt x="573" y="5"/>
                  </a:lnTo>
                  <a:lnTo>
                    <a:pt x="570" y="5"/>
                  </a:lnTo>
                  <a:lnTo>
                    <a:pt x="567" y="7"/>
                  </a:lnTo>
                  <a:lnTo>
                    <a:pt x="567" y="7"/>
                  </a:lnTo>
                  <a:lnTo>
                    <a:pt x="552" y="7"/>
                  </a:lnTo>
                  <a:lnTo>
                    <a:pt x="552" y="7"/>
                  </a:lnTo>
                  <a:lnTo>
                    <a:pt x="553" y="6"/>
                  </a:lnTo>
                  <a:lnTo>
                    <a:pt x="555" y="5"/>
                  </a:lnTo>
                  <a:lnTo>
                    <a:pt x="555" y="5"/>
                  </a:lnTo>
                  <a:lnTo>
                    <a:pt x="547" y="5"/>
                  </a:lnTo>
                  <a:lnTo>
                    <a:pt x="547" y="5"/>
                  </a:lnTo>
                  <a:lnTo>
                    <a:pt x="543" y="5"/>
                  </a:lnTo>
                  <a:lnTo>
                    <a:pt x="539" y="5"/>
                  </a:lnTo>
                  <a:lnTo>
                    <a:pt x="539" y="5"/>
                  </a:lnTo>
                  <a:lnTo>
                    <a:pt x="533" y="3"/>
                  </a:lnTo>
                  <a:lnTo>
                    <a:pt x="523" y="3"/>
                  </a:lnTo>
                  <a:lnTo>
                    <a:pt x="523" y="3"/>
                  </a:lnTo>
                  <a:lnTo>
                    <a:pt x="527" y="3"/>
                  </a:lnTo>
                  <a:lnTo>
                    <a:pt x="529" y="5"/>
                  </a:lnTo>
                  <a:lnTo>
                    <a:pt x="530" y="5"/>
                  </a:lnTo>
                  <a:lnTo>
                    <a:pt x="530" y="5"/>
                  </a:lnTo>
                  <a:lnTo>
                    <a:pt x="525" y="6"/>
                  </a:lnTo>
                  <a:lnTo>
                    <a:pt x="519" y="6"/>
                  </a:lnTo>
                  <a:lnTo>
                    <a:pt x="519" y="6"/>
                  </a:lnTo>
                  <a:lnTo>
                    <a:pt x="519" y="7"/>
                  </a:lnTo>
                  <a:lnTo>
                    <a:pt x="519" y="7"/>
                  </a:lnTo>
                  <a:lnTo>
                    <a:pt x="519" y="7"/>
                  </a:lnTo>
                  <a:lnTo>
                    <a:pt x="516" y="9"/>
                  </a:lnTo>
                  <a:lnTo>
                    <a:pt x="516" y="9"/>
                  </a:lnTo>
                  <a:lnTo>
                    <a:pt x="525" y="7"/>
                  </a:lnTo>
                  <a:lnTo>
                    <a:pt x="529" y="7"/>
                  </a:lnTo>
                  <a:lnTo>
                    <a:pt x="530" y="7"/>
                  </a:lnTo>
                  <a:lnTo>
                    <a:pt x="530" y="7"/>
                  </a:lnTo>
                  <a:lnTo>
                    <a:pt x="532" y="7"/>
                  </a:lnTo>
                  <a:lnTo>
                    <a:pt x="529" y="9"/>
                  </a:lnTo>
                  <a:lnTo>
                    <a:pt x="529" y="9"/>
                  </a:lnTo>
                  <a:lnTo>
                    <a:pt x="526" y="9"/>
                  </a:lnTo>
                  <a:lnTo>
                    <a:pt x="522" y="10"/>
                  </a:lnTo>
                  <a:lnTo>
                    <a:pt x="522" y="10"/>
                  </a:lnTo>
                  <a:lnTo>
                    <a:pt x="519" y="10"/>
                  </a:lnTo>
                  <a:lnTo>
                    <a:pt x="520" y="10"/>
                  </a:lnTo>
                  <a:lnTo>
                    <a:pt x="520" y="9"/>
                  </a:lnTo>
                  <a:lnTo>
                    <a:pt x="519" y="9"/>
                  </a:lnTo>
                  <a:lnTo>
                    <a:pt x="519" y="9"/>
                  </a:lnTo>
                  <a:lnTo>
                    <a:pt x="519" y="10"/>
                  </a:lnTo>
                  <a:lnTo>
                    <a:pt x="516" y="10"/>
                  </a:lnTo>
                  <a:lnTo>
                    <a:pt x="509" y="12"/>
                  </a:lnTo>
                  <a:lnTo>
                    <a:pt x="509" y="12"/>
                  </a:lnTo>
                  <a:lnTo>
                    <a:pt x="508" y="13"/>
                  </a:lnTo>
                  <a:lnTo>
                    <a:pt x="509" y="13"/>
                  </a:lnTo>
                  <a:lnTo>
                    <a:pt x="513" y="12"/>
                  </a:lnTo>
                  <a:lnTo>
                    <a:pt x="513" y="12"/>
                  </a:lnTo>
                  <a:lnTo>
                    <a:pt x="508" y="15"/>
                  </a:lnTo>
                  <a:lnTo>
                    <a:pt x="508" y="15"/>
                  </a:lnTo>
                  <a:lnTo>
                    <a:pt x="503" y="13"/>
                  </a:lnTo>
                  <a:lnTo>
                    <a:pt x="502" y="13"/>
                  </a:lnTo>
                  <a:lnTo>
                    <a:pt x="502" y="13"/>
                  </a:lnTo>
                  <a:lnTo>
                    <a:pt x="502" y="13"/>
                  </a:lnTo>
                  <a:lnTo>
                    <a:pt x="496" y="15"/>
                  </a:lnTo>
                  <a:lnTo>
                    <a:pt x="493" y="15"/>
                  </a:lnTo>
                  <a:lnTo>
                    <a:pt x="493" y="15"/>
                  </a:lnTo>
                  <a:lnTo>
                    <a:pt x="493" y="15"/>
                  </a:lnTo>
                  <a:lnTo>
                    <a:pt x="493" y="15"/>
                  </a:lnTo>
                  <a:lnTo>
                    <a:pt x="490" y="15"/>
                  </a:lnTo>
                  <a:lnTo>
                    <a:pt x="489" y="16"/>
                  </a:lnTo>
                  <a:lnTo>
                    <a:pt x="489" y="16"/>
                  </a:lnTo>
                  <a:lnTo>
                    <a:pt x="486" y="17"/>
                  </a:lnTo>
                  <a:lnTo>
                    <a:pt x="482" y="19"/>
                  </a:lnTo>
                  <a:lnTo>
                    <a:pt x="482" y="19"/>
                  </a:lnTo>
                  <a:lnTo>
                    <a:pt x="482" y="17"/>
                  </a:lnTo>
                  <a:lnTo>
                    <a:pt x="483" y="17"/>
                  </a:lnTo>
                  <a:lnTo>
                    <a:pt x="486" y="16"/>
                  </a:lnTo>
                  <a:lnTo>
                    <a:pt x="486" y="16"/>
                  </a:lnTo>
                  <a:lnTo>
                    <a:pt x="475" y="17"/>
                  </a:lnTo>
                  <a:lnTo>
                    <a:pt x="470" y="19"/>
                  </a:lnTo>
                  <a:lnTo>
                    <a:pt x="468" y="20"/>
                  </a:lnTo>
                  <a:lnTo>
                    <a:pt x="468" y="20"/>
                  </a:lnTo>
                  <a:lnTo>
                    <a:pt x="462" y="22"/>
                  </a:lnTo>
                  <a:lnTo>
                    <a:pt x="460" y="20"/>
                  </a:lnTo>
                  <a:lnTo>
                    <a:pt x="462" y="20"/>
                  </a:lnTo>
                  <a:lnTo>
                    <a:pt x="462" y="20"/>
                  </a:lnTo>
                  <a:lnTo>
                    <a:pt x="459" y="20"/>
                  </a:lnTo>
                  <a:lnTo>
                    <a:pt x="459" y="20"/>
                  </a:lnTo>
                  <a:lnTo>
                    <a:pt x="455" y="23"/>
                  </a:lnTo>
                  <a:lnTo>
                    <a:pt x="455" y="23"/>
                  </a:lnTo>
                  <a:lnTo>
                    <a:pt x="448" y="26"/>
                  </a:lnTo>
                  <a:lnTo>
                    <a:pt x="448" y="26"/>
                  </a:lnTo>
                  <a:lnTo>
                    <a:pt x="440" y="29"/>
                  </a:lnTo>
                  <a:lnTo>
                    <a:pt x="438" y="33"/>
                  </a:lnTo>
                  <a:lnTo>
                    <a:pt x="438" y="33"/>
                  </a:lnTo>
                  <a:lnTo>
                    <a:pt x="429" y="36"/>
                  </a:lnTo>
                  <a:lnTo>
                    <a:pt x="429" y="36"/>
                  </a:lnTo>
                  <a:lnTo>
                    <a:pt x="428" y="36"/>
                  </a:lnTo>
                  <a:lnTo>
                    <a:pt x="429" y="35"/>
                  </a:lnTo>
                  <a:lnTo>
                    <a:pt x="429" y="33"/>
                  </a:lnTo>
                  <a:lnTo>
                    <a:pt x="426" y="33"/>
                  </a:lnTo>
                  <a:lnTo>
                    <a:pt x="426" y="33"/>
                  </a:lnTo>
                  <a:lnTo>
                    <a:pt x="432" y="32"/>
                  </a:lnTo>
                  <a:lnTo>
                    <a:pt x="432" y="32"/>
                  </a:lnTo>
                  <a:lnTo>
                    <a:pt x="436" y="30"/>
                  </a:lnTo>
                  <a:lnTo>
                    <a:pt x="436" y="30"/>
                  </a:lnTo>
                  <a:lnTo>
                    <a:pt x="440" y="27"/>
                  </a:lnTo>
                  <a:lnTo>
                    <a:pt x="440" y="27"/>
                  </a:lnTo>
                  <a:lnTo>
                    <a:pt x="438" y="27"/>
                  </a:lnTo>
                  <a:lnTo>
                    <a:pt x="438" y="27"/>
                  </a:lnTo>
                  <a:lnTo>
                    <a:pt x="438" y="27"/>
                  </a:lnTo>
                  <a:lnTo>
                    <a:pt x="439" y="27"/>
                  </a:lnTo>
                  <a:lnTo>
                    <a:pt x="439" y="27"/>
                  </a:lnTo>
                  <a:lnTo>
                    <a:pt x="433" y="30"/>
                  </a:lnTo>
                  <a:lnTo>
                    <a:pt x="429" y="30"/>
                  </a:lnTo>
                  <a:lnTo>
                    <a:pt x="429" y="30"/>
                  </a:lnTo>
                  <a:lnTo>
                    <a:pt x="428" y="30"/>
                  </a:lnTo>
                  <a:lnTo>
                    <a:pt x="429" y="30"/>
                  </a:lnTo>
                  <a:lnTo>
                    <a:pt x="429" y="30"/>
                  </a:lnTo>
                  <a:lnTo>
                    <a:pt x="433" y="27"/>
                  </a:lnTo>
                  <a:lnTo>
                    <a:pt x="433" y="27"/>
                  </a:lnTo>
                  <a:lnTo>
                    <a:pt x="431" y="29"/>
                  </a:lnTo>
                  <a:lnTo>
                    <a:pt x="429" y="29"/>
                  </a:lnTo>
                  <a:lnTo>
                    <a:pt x="429" y="29"/>
                  </a:lnTo>
                  <a:lnTo>
                    <a:pt x="426" y="30"/>
                  </a:lnTo>
                  <a:lnTo>
                    <a:pt x="423" y="30"/>
                  </a:lnTo>
                  <a:lnTo>
                    <a:pt x="423" y="30"/>
                  </a:lnTo>
                  <a:lnTo>
                    <a:pt x="421" y="33"/>
                  </a:lnTo>
                  <a:lnTo>
                    <a:pt x="415" y="35"/>
                  </a:lnTo>
                  <a:lnTo>
                    <a:pt x="402" y="37"/>
                  </a:lnTo>
                  <a:lnTo>
                    <a:pt x="402" y="37"/>
                  </a:lnTo>
                  <a:lnTo>
                    <a:pt x="398" y="40"/>
                  </a:lnTo>
                  <a:lnTo>
                    <a:pt x="398" y="40"/>
                  </a:lnTo>
                  <a:lnTo>
                    <a:pt x="399" y="42"/>
                  </a:lnTo>
                  <a:lnTo>
                    <a:pt x="403" y="40"/>
                  </a:lnTo>
                  <a:lnTo>
                    <a:pt x="403" y="40"/>
                  </a:lnTo>
                  <a:lnTo>
                    <a:pt x="403" y="39"/>
                  </a:lnTo>
                  <a:lnTo>
                    <a:pt x="405" y="39"/>
                  </a:lnTo>
                  <a:lnTo>
                    <a:pt x="411" y="37"/>
                  </a:lnTo>
                  <a:lnTo>
                    <a:pt x="411" y="37"/>
                  </a:lnTo>
                  <a:lnTo>
                    <a:pt x="409" y="37"/>
                  </a:lnTo>
                  <a:lnTo>
                    <a:pt x="406" y="39"/>
                  </a:lnTo>
                  <a:lnTo>
                    <a:pt x="406" y="39"/>
                  </a:lnTo>
                  <a:lnTo>
                    <a:pt x="409" y="39"/>
                  </a:lnTo>
                  <a:lnTo>
                    <a:pt x="415" y="37"/>
                  </a:lnTo>
                  <a:lnTo>
                    <a:pt x="426" y="33"/>
                  </a:lnTo>
                  <a:lnTo>
                    <a:pt x="426" y="33"/>
                  </a:lnTo>
                  <a:lnTo>
                    <a:pt x="411" y="39"/>
                  </a:lnTo>
                  <a:lnTo>
                    <a:pt x="411" y="39"/>
                  </a:lnTo>
                  <a:lnTo>
                    <a:pt x="402" y="43"/>
                  </a:lnTo>
                  <a:lnTo>
                    <a:pt x="402" y="43"/>
                  </a:lnTo>
                  <a:lnTo>
                    <a:pt x="393" y="46"/>
                  </a:lnTo>
                  <a:lnTo>
                    <a:pt x="393" y="46"/>
                  </a:lnTo>
                  <a:lnTo>
                    <a:pt x="376" y="53"/>
                  </a:lnTo>
                  <a:lnTo>
                    <a:pt x="376" y="53"/>
                  </a:lnTo>
                  <a:lnTo>
                    <a:pt x="372" y="55"/>
                  </a:lnTo>
                  <a:lnTo>
                    <a:pt x="372" y="55"/>
                  </a:lnTo>
                  <a:lnTo>
                    <a:pt x="368" y="56"/>
                  </a:lnTo>
                  <a:lnTo>
                    <a:pt x="368" y="56"/>
                  </a:lnTo>
                  <a:lnTo>
                    <a:pt x="361" y="60"/>
                  </a:lnTo>
                  <a:lnTo>
                    <a:pt x="361" y="60"/>
                  </a:lnTo>
                  <a:lnTo>
                    <a:pt x="361" y="60"/>
                  </a:lnTo>
                  <a:lnTo>
                    <a:pt x="361" y="60"/>
                  </a:lnTo>
                  <a:lnTo>
                    <a:pt x="362" y="59"/>
                  </a:lnTo>
                  <a:lnTo>
                    <a:pt x="362" y="59"/>
                  </a:lnTo>
                  <a:lnTo>
                    <a:pt x="358" y="60"/>
                  </a:lnTo>
                  <a:lnTo>
                    <a:pt x="353" y="63"/>
                  </a:lnTo>
                  <a:lnTo>
                    <a:pt x="353" y="63"/>
                  </a:lnTo>
                  <a:lnTo>
                    <a:pt x="352" y="63"/>
                  </a:lnTo>
                  <a:lnTo>
                    <a:pt x="351" y="63"/>
                  </a:lnTo>
                  <a:lnTo>
                    <a:pt x="345" y="66"/>
                  </a:lnTo>
                  <a:lnTo>
                    <a:pt x="345" y="66"/>
                  </a:lnTo>
                  <a:lnTo>
                    <a:pt x="345" y="66"/>
                  </a:lnTo>
                  <a:lnTo>
                    <a:pt x="345" y="65"/>
                  </a:lnTo>
                  <a:lnTo>
                    <a:pt x="346" y="63"/>
                  </a:lnTo>
                  <a:lnTo>
                    <a:pt x="348" y="62"/>
                  </a:lnTo>
                  <a:lnTo>
                    <a:pt x="345" y="63"/>
                  </a:lnTo>
                  <a:lnTo>
                    <a:pt x="345" y="63"/>
                  </a:lnTo>
                  <a:lnTo>
                    <a:pt x="341" y="66"/>
                  </a:lnTo>
                  <a:lnTo>
                    <a:pt x="332" y="70"/>
                  </a:lnTo>
                  <a:lnTo>
                    <a:pt x="332" y="70"/>
                  </a:lnTo>
                  <a:lnTo>
                    <a:pt x="326" y="75"/>
                  </a:lnTo>
                  <a:lnTo>
                    <a:pt x="324" y="76"/>
                  </a:lnTo>
                  <a:lnTo>
                    <a:pt x="319" y="77"/>
                  </a:lnTo>
                  <a:lnTo>
                    <a:pt x="319" y="77"/>
                  </a:lnTo>
                  <a:lnTo>
                    <a:pt x="315" y="80"/>
                  </a:lnTo>
                  <a:lnTo>
                    <a:pt x="315" y="80"/>
                  </a:lnTo>
                  <a:lnTo>
                    <a:pt x="309" y="85"/>
                  </a:lnTo>
                  <a:lnTo>
                    <a:pt x="309" y="85"/>
                  </a:lnTo>
                  <a:lnTo>
                    <a:pt x="299" y="87"/>
                  </a:lnTo>
                  <a:lnTo>
                    <a:pt x="288" y="95"/>
                  </a:lnTo>
                  <a:lnTo>
                    <a:pt x="288" y="95"/>
                  </a:lnTo>
                  <a:lnTo>
                    <a:pt x="275" y="103"/>
                  </a:lnTo>
                  <a:lnTo>
                    <a:pt x="261" y="112"/>
                  </a:lnTo>
                  <a:lnTo>
                    <a:pt x="261" y="112"/>
                  </a:lnTo>
                  <a:lnTo>
                    <a:pt x="261" y="112"/>
                  </a:lnTo>
                  <a:lnTo>
                    <a:pt x="259" y="115"/>
                  </a:lnTo>
                  <a:lnTo>
                    <a:pt x="258" y="116"/>
                  </a:lnTo>
                  <a:lnTo>
                    <a:pt x="255" y="116"/>
                  </a:lnTo>
                  <a:lnTo>
                    <a:pt x="255" y="116"/>
                  </a:lnTo>
                  <a:lnTo>
                    <a:pt x="252" y="119"/>
                  </a:lnTo>
                  <a:lnTo>
                    <a:pt x="254" y="120"/>
                  </a:lnTo>
                  <a:lnTo>
                    <a:pt x="254" y="120"/>
                  </a:lnTo>
                  <a:lnTo>
                    <a:pt x="249" y="123"/>
                  </a:lnTo>
                  <a:lnTo>
                    <a:pt x="249" y="123"/>
                  </a:lnTo>
                  <a:lnTo>
                    <a:pt x="249" y="122"/>
                  </a:lnTo>
                  <a:lnTo>
                    <a:pt x="251" y="117"/>
                  </a:lnTo>
                  <a:lnTo>
                    <a:pt x="251" y="117"/>
                  </a:lnTo>
                  <a:lnTo>
                    <a:pt x="248" y="120"/>
                  </a:lnTo>
                  <a:lnTo>
                    <a:pt x="248" y="122"/>
                  </a:lnTo>
                  <a:lnTo>
                    <a:pt x="247" y="123"/>
                  </a:lnTo>
                  <a:lnTo>
                    <a:pt x="244" y="125"/>
                  </a:lnTo>
                  <a:lnTo>
                    <a:pt x="244" y="125"/>
                  </a:lnTo>
                  <a:lnTo>
                    <a:pt x="244" y="126"/>
                  </a:lnTo>
                  <a:lnTo>
                    <a:pt x="242" y="127"/>
                  </a:lnTo>
                  <a:lnTo>
                    <a:pt x="237" y="132"/>
                  </a:lnTo>
                  <a:lnTo>
                    <a:pt x="237" y="132"/>
                  </a:lnTo>
                  <a:lnTo>
                    <a:pt x="235" y="132"/>
                  </a:lnTo>
                  <a:lnTo>
                    <a:pt x="235" y="132"/>
                  </a:lnTo>
                  <a:lnTo>
                    <a:pt x="238" y="127"/>
                  </a:lnTo>
                  <a:lnTo>
                    <a:pt x="238" y="127"/>
                  </a:lnTo>
                  <a:lnTo>
                    <a:pt x="234" y="130"/>
                  </a:lnTo>
                  <a:lnTo>
                    <a:pt x="234" y="130"/>
                  </a:lnTo>
                  <a:lnTo>
                    <a:pt x="231" y="135"/>
                  </a:lnTo>
                  <a:lnTo>
                    <a:pt x="231" y="135"/>
                  </a:lnTo>
                  <a:lnTo>
                    <a:pt x="222" y="140"/>
                  </a:lnTo>
                  <a:lnTo>
                    <a:pt x="222" y="140"/>
                  </a:lnTo>
                  <a:lnTo>
                    <a:pt x="217" y="147"/>
                  </a:lnTo>
                  <a:lnTo>
                    <a:pt x="211" y="154"/>
                  </a:lnTo>
                  <a:lnTo>
                    <a:pt x="211" y="154"/>
                  </a:lnTo>
                  <a:lnTo>
                    <a:pt x="207" y="157"/>
                  </a:lnTo>
                  <a:lnTo>
                    <a:pt x="204" y="160"/>
                  </a:lnTo>
                  <a:lnTo>
                    <a:pt x="204" y="160"/>
                  </a:lnTo>
                  <a:lnTo>
                    <a:pt x="202" y="160"/>
                  </a:lnTo>
                  <a:lnTo>
                    <a:pt x="202" y="159"/>
                  </a:lnTo>
                  <a:lnTo>
                    <a:pt x="202" y="157"/>
                  </a:lnTo>
                  <a:lnTo>
                    <a:pt x="201" y="159"/>
                  </a:lnTo>
                  <a:lnTo>
                    <a:pt x="201" y="159"/>
                  </a:lnTo>
                  <a:lnTo>
                    <a:pt x="199" y="162"/>
                  </a:lnTo>
                  <a:lnTo>
                    <a:pt x="201" y="162"/>
                  </a:lnTo>
                  <a:lnTo>
                    <a:pt x="201" y="162"/>
                  </a:lnTo>
                  <a:lnTo>
                    <a:pt x="198" y="166"/>
                  </a:lnTo>
                  <a:lnTo>
                    <a:pt x="195" y="169"/>
                  </a:lnTo>
                  <a:lnTo>
                    <a:pt x="195" y="169"/>
                  </a:lnTo>
                  <a:lnTo>
                    <a:pt x="194" y="169"/>
                  </a:lnTo>
                  <a:lnTo>
                    <a:pt x="194" y="169"/>
                  </a:lnTo>
                  <a:lnTo>
                    <a:pt x="194" y="166"/>
                  </a:lnTo>
                  <a:lnTo>
                    <a:pt x="199" y="160"/>
                  </a:lnTo>
                  <a:lnTo>
                    <a:pt x="199" y="160"/>
                  </a:lnTo>
                  <a:lnTo>
                    <a:pt x="198" y="160"/>
                  </a:lnTo>
                  <a:lnTo>
                    <a:pt x="199" y="159"/>
                  </a:lnTo>
                  <a:lnTo>
                    <a:pt x="199" y="159"/>
                  </a:lnTo>
                  <a:lnTo>
                    <a:pt x="187" y="167"/>
                  </a:lnTo>
                  <a:lnTo>
                    <a:pt x="187" y="167"/>
                  </a:lnTo>
                  <a:lnTo>
                    <a:pt x="184" y="170"/>
                  </a:lnTo>
                  <a:lnTo>
                    <a:pt x="184" y="170"/>
                  </a:lnTo>
                  <a:lnTo>
                    <a:pt x="181" y="173"/>
                  </a:lnTo>
                  <a:lnTo>
                    <a:pt x="181" y="173"/>
                  </a:lnTo>
                  <a:lnTo>
                    <a:pt x="175" y="180"/>
                  </a:lnTo>
                  <a:lnTo>
                    <a:pt x="175" y="180"/>
                  </a:lnTo>
                  <a:lnTo>
                    <a:pt x="175" y="182"/>
                  </a:lnTo>
                  <a:lnTo>
                    <a:pt x="175" y="179"/>
                  </a:lnTo>
                  <a:lnTo>
                    <a:pt x="175" y="177"/>
                  </a:lnTo>
                  <a:lnTo>
                    <a:pt x="174" y="179"/>
                  </a:lnTo>
                  <a:lnTo>
                    <a:pt x="174" y="179"/>
                  </a:lnTo>
                  <a:lnTo>
                    <a:pt x="171" y="182"/>
                  </a:lnTo>
                  <a:lnTo>
                    <a:pt x="167" y="186"/>
                  </a:lnTo>
                  <a:lnTo>
                    <a:pt x="167" y="186"/>
                  </a:lnTo>
                  <a:lnTo>
                    <a:pt x="162" y="192"/>
                  </a:lnTo>
                  <a:lnTo>
                    <a:pt x="162" y="192"/>
                  </a:lnTo>
                  <a:lnTo>
                    <a:pt x="158" y="196"/>
                  </a:lnTo>
                  <a:lnTo>
                    <a:pt x="158" y="196"/>
                  </a:lnTo>
                  <a:lnTo>
                    <a:pt x="157" y="200"/>
                  </a:lnTo>
                  <a:lnTo>
                    <a:pt x="157" y="200"/>
                  </a:lnTo>
                  <a:lnTo>
                    <a:pt x="155" y="199"/>
                  </a:lnTo>
                  <a:lnTo>
                    <a:pt x="154" y="199"/>
                  </a:lnTo>
                  <a:lnTo>
                    <a:pt x="154" y="199"/>
                  </a:lnTo>
                  <a:lnTo>
                    <a:pt x="152" y="202"/>
                  </a:lnTo>
                  <a:lnTo>
                    <a:pt x="152" y="203"/>
                  </a:lnTo>
                  <a:lnTo>
                    <a:pt x="152" y="203"/>
                  </a:lnTo>
                  <a:lnTo>
                    <a:pt x="151" y="203"/>
                  </a:lnTo>
                  <a:lnTo>
                    <a:pt x="151" y="203"/>
                  </a:lnTo>
                  <a:lnTo>
                    <a:pt x="151" y="203"/>
                  </a:lnTo>
                  <a:lnTo>
                    <a:pt x="151" y="203"/>
                  </a:lnTo>
                  <a:lnTo>
                    <a:pt x="147" y="207"/>
                  </a:lnTo>
                  <a:lnTo>
                    <a:pt x="145" y="210"/>
                  </a:lnTo>
                  <a:lnTo>
                    <a:pt x="145" y="210"/>
                  </a:lnTo>
                  <a:lnTo>
                    <a:pt x="145" y="210"/>
                  </a:lnTo>
                  <a:lnTo>
                    <a:pt x="142" y="213"/>
                  </a:lnTo>
                  <a:lnTo>
                    <a:pt x="142" y="213"/>
                  </a:lnTo>
                  <a:lnTo>
                    <a:pt x="142" y="213"/>
                  </a:lnTo>
                  <a:lnTo>
                    <a:pt x="142" y="212"/>
                  </a:lnTo>
                  <a:lnTo>
                    <a:pt x="144" y="210"/>
                  </a:lnTo>
                  <a:lnTo>
                    <a:pt x="144" y="210"/>
                  </a:lnTo>
                  <a:lnTo>
                    <a:pt x="141" y="213"/>
                  </a:lnTo>
                  <a:lnTo>
                    <a:pt x="141" y="213"/>
                  </a:lnTo>
                  <a:lnTo>
                    <a:pt x="137" y="217"/>
                  </a:lnTo>
                  <a:lnTo>
                    <a:pt x="137" y="217"/>
                  </a:lnTo>
                  <a:lnTo>
                    <a:pt x="131" y="224"/>
                  </a:lnTo>
                  <a:lnTo>
                    <a:pt x="131" y="224"/>
                  </a:lnTo>
                  <a:lnTo>
                    <a:pt x="124" y="232"/>
                  </a:lnTo>
                  <a:lnTo>
                    <a:pt x="121" y="237"/>
                  </a:lnTo>
                  <a:lnTo>
                    <a:pt x="121" y="237"/>
                  </a:lnTo>
                  <a:lnTo>
                    <a:pt x="115" y="244"/>
                  </a:lnTo>
                  <a:lnTo>
                    <a:pt x="111" y="249"/>
                  </a:lnTo>
                  <a:lnTo>
                    <a:pt x="111" y="249"/>
                  </a:lnTo>
                  <a:lnTo>
                    <a:pt x="108" y="257"/>
                  </a:lnTo>
                  <a:lnTo>
                    <a:pt x="104" y="266"/>
                  </a:lnTo>
                  <a:lnTo>
                    <a:pt x="104" y="266"/>
                  </a:lnTo>
                  <a:lnTo>
                    <a:pt x="110" y="260"/>
                  </a:lnTo>
                  <a:lnTo>
                    <a:pt x="110" y="260"/>
                  </a:lnTo>
                  <a:lnTo>
                    <a:pt x="105" y="264"/>
                  </a:lnTo>
                  <a:lnTo>
                    <a:pt x="105" y="264"/>
                  </a:lnTo>
                  <a:lnTo>
                    <a:pt x="102" y="269"/>
                  </a:lnTo>
                  <a:lnTo>
                    <a:pt x="102" y="269"/>
                  </a:lnTo>
                  <a:lnTo>
                    <a:pt x="102" y="269"/>
                  </a:lnTo>
                  <a:lnTo>
                    <a:pt x="102" y="267"/>
                  </a:lnTo>
                  <a:lnTo>
                    <a:pt x="104" y="266"/>
                  </a:lnTo>
                  <a:lnTo>
                    <a:pt x="104" y="266"/>
                  </a:lnTo>
                  <a:lnTo>
                    <a:pt x="90" y="283"/>
                  </a:lnTo>
                  <a:lnTo>
                    <a:pt x="90" y="283"/>
                  </a:lnTo>
                  <a:lnTo>
                    <a:pt x="90" y="283"/>
                  </a:lnTo>
                  <a:lnTo>
                    <a:pt x="90" y="283"/>
                  </a:lnTo>
                  <a:lnTo>
                    <a:pt x="90" y="280"/>
                  </a:lnTo>
                  <a:lnTo>
                    <a:pt x="90" y="280"/>
                  </a:lnTo>
                  <a:lnTo>
                    <a:pt x="87" y="284"/>
                  </a:lnTo>
                  <a:lnTo>
                    <a:pt x="84" y="290"/>
                  </a:lnTo>
                  <a:lnTo>
                    <a:pt x="84" y="290"/>
                  </a:lnTo>
                  <a:lnTo>
                    <a:pt x="84" y="292"/>
                  </a:lnTo>
                  <a:lnTo>
                    <a:pt x="82" y="296"/>
                  </a:lnTo>
                  <a:lnTo>
                    <a:pt x="77" y="304"/>
                  </a:lnTo>
                  <a:lnTo>
                    <a:pt x="77" y="304"/>
                  </a:lnTo>
                  <a:lnTo>
                    <a:pt x="70" y="314"/>
                  </a:lnTo>
                  <a:lnTo>
                    <a:pt x="70" y="314"/>
                  </a:lnTo>
                  <a:lnTo>
                    <a:pt x="65" y="324"/>
                  </a:lnTo>
                  <a:lnTo>
                    <a:pt x="70" y="316"/>
                  </a:lnTo>
                  <a:lnTo>
                    <a:pt x="70" y="316"/>
                  </a:lnTo>
                  <a:lnTo>
                    <a:pt x="75" y="306"/>
                  </a:lnTo>
                  <a:lnTo>
                    <a:pt x="75" y="306"/>
                  </a:lnTo>
                  <a:lnTo>
                    <a:pt x="87" y="289"/>
                  </a:lnTo>
                  <a:lnTo>
                    <a:pt x="87" y="289"/>
                  </a:lnTo>
                  <a:lnTo>
                    <a:pt x="84" y="296"/>
                  </a:lnTo>
                  <a:lnTo>
                    <a:pt x="80" y="301"/>
                  </a:lnTo>
                  <a:lnTo>
                    <a:pt x="80" y="301"/>
                  </a:lnTo>
                  <a:lnTo>
                    <a:pt x="81" y="301"/>
                  </a:lnTo>
                  <a:lnTo>
                    <a:pt x="82" y="300"/>
                  </a:lnTo>
                  <a:lnTo>
                    <a:pt x="85" y="294"/>
                  </a:lnTo>
                  <a:lnTo>
                    <a:pt x="85" y="294"/>
                  </a:lnTo>
                  <a:lnTo>
                    <a:pt x="82" y="303"/>
                  </a:lnTo>
                  <a:lnTo>
                    <a:pt x="82" y="303"/>
                  </a:lnTo>
                  <a:lnTo>
                    <a:pt x="81" y="303"/>
                  </a:lnTo>
                  <a:lnTo>
                    <a:pt x="80" y="304"/>
                  </a:lnTo>
                  <a:lnTo>
                    <a:pt x="80" y="304"/>
                  </a:lnTo>
                  <a:lnTo>
                    <a:pt x="77" y="310"/>
                  </a:lnTo>
                  <a:lnTo>
                    <a:pt x="77" y="314"/>
                  </a:lnTo>
                  <a:lnTo>
                    <a:pt x="77" y="314"/>
                  </a:lnTo>
                  <a:lnTo>
                    <a:pt x="74" y="319"/>
                  </a:lnTo>
                  <a:lnTo>
                    <a:pt x="71" y="324"/>
                  </a:lnTo>
                  <a:lnTo>
                    <a:pt x="71" y="324"/>
                  </a:lnTo>
                  <a:lnTo>
                    <a:pt x="71" y="323"/>
                  </a:lnTo>
                  <a:lnTo>
                    <a:pt x="72" y="320"/>
                  </a:lnTo>
                  <a:lnTo>
                    <a:pt x="72" y="320"/>
                  </a:lnTo>
                  <a:lnTo>
                    <a:pt x="74" y="317"/>
                  </a:lnTo>
                  <a:lnTo>
                    <a:pt x="74" y="317"/>
                  </a:lnTo>
                  <a:lnTo>
                    <a:pt x="74" y="313"/>
                  </a:lnTo>
                  <a:lnTo>
                    <a:pt x="74" y="313"/>
                  </a:lnTo>
                  <a:lnTo>
                    <a:pt x="72" y="314"/>
                  </a:lnTo>
                  <a:lnTo>
                    <a:pt x="72" y="314"/>
                  </a:lnTo>
                  <a:lnTo>
                    <a:pt x="72" y="313"/>
                  </a:lnTo>
                  <a:lnTo>
                    <a:pt x="72" y="313"/>
                  </a:lnTo>
                  <a:lnTo>
                    <a:pt x="71" y="320"/>
                  </a:lnTo>
                  <a:lnTo>
                    <a:pt x="70" y="326"/>
                  </a:lnTo>
                  <a:lnTo>
                    <a:pt x="65" y="330"/>
                  </a:lnTo>
                  <a:lnTo>
                    <a:pt x="65" y="330"/>
                  </a:lnTo>
                  <a:lnTo>
                    <a:pt x="65" y="331"/>
                  </a:lnTo>
                  <a:lnTo>
                    <a:pt x="65" y="330"/>
                  </a:lnTo>
                  <a:lnTo>
                    <a:pt x="65" y="327"/>
                  </a:lnTo>
                  <a:lnTo>
                    <a:pt x="65" y="327"/>
                  </a:lnTo>
                  <a:lnTo>
                    <a:pt x="64" y="330"/>
                  </a:lnTo>
                  <a:lnTo>
                    <a:pt x="63" y="334"/>
                  </a:lnTo>
                  <a:lnTo>
                    <a:pt x="61" y="339"/>
                  </a:lnTo>
                  <a:lnTo>
                    <a:pt x="60" y="343"/>
                  </a:lnTo>
                  <a:lnTo>
                    <a:pt x="60" y="343"/>
                  </a:lnTo>
                  <a:lnTo>
                    <a:pt x="58" y="344"/>
                  </a:lnTo>
                  <a:lnTo>
                    <a:pt x="58" y="343"/>
                  </a:lnTo>
                  <a:lnTo>
                    <a:pt x="57" y="343"/>
                  </a:lnTo>
                  <a:lnTo>
                    <a:pt x="55" y="344"/>
                  </a:lnTo>
                  <a:lnTo>
                    <a:pt x="55" y="344"/>
                  </a:lnTo>
                  <a:lnTo>
                    <a:pt x="55" y="344"/>
                  </a:lnTo>
                  <a:lnTo>
                    <a:pt x="57" y="344"/>
                  </a:lnTo>
                  <a:lnTo>
                    <a:pt x="57" y="344"/>
                  </a:lnTo>
                  <a:lnTo>
                    <a:pt x="55" y="347"/>
                  </a:lnTo>
                  <a:lnTo>
                    <a:pt x="55" y="349"/>
                  </a:lnTo>
                  <a:lnTo>
                    <a:pt x="55" y="350"/>
                  </a:lnTo>
                  <a:lnTo>
                    <a:pt x="55" y="350"/>
                  </a:lnTo>
                  <a:lnTo>
                    <a:pt x="54" y="354"/>
                  </a:lnTo>
                  <a:lnTo>
                    <a:pt x="53" y="357"/>
                  </a:lnTo>
                  <a:lnTo>
                    <a:pt x="53" y="357"/>
                  </a:lnTo>
                  <a:lnTo>
                    <a:pt x="53" y="357"/>
                  </a:lnTo>
                  <a:lnTo>
                    <a:pt x="51" y="361"/>
                  </a:lnTo>
                  <a:lnTo>
                    <a:pt x="50" y="364"/>
                  </a:lnTo>
                  <a:lnTo>
                    <a:pt x="50" y="364"/>
                  </a:lnTo>
                  <a:lnTo>
                    <a:pt x="50" y="360"/>
                  </a:lnTo>
                  <a:lnTo>
                    <a:pt x="50" y="359"/>
                  </a:lnTo>
                  <a:lnTo>
                    <a:pt x="48" y="357"/>
                  </a:lnTo>
                  <a:lnTo>
                    <a:pt x="48" y="357"/>
                  </a:lnTo>
                  <a:lnTo>
                    <a:pt x="45" y="369"/>
                  </a:lnTo>
                  <a:lnTo>
                    <a:pt x="45" y="369"/>
                  </a:lnTo>
                  <a:lnTo>
                    <a:pt x="44" y="370"/>
                  </a:lnTo>
                  <a:lnTo>
                    <a:pt x="43" y="371"/>
                  </a:lnTo>
                  <a:lnTo>
                    <a:pt x="43" y="371"/>
                  </a:lnTo>
                  <a:lnTo>
                    <a:pt x="34" y="391"/>
                  </a:lnTo>
                  <a:lnTo>
                    <a:pt x="34" y="391"/>
                  </a:lnTo>
                  <a:lnTo>
                    <a:pt x="33" y="391"/>
                  </a:lnTo>
                  <a:lnTo>
                    <a:pt x="34" y="390"/>
                  </a:lnTo>
                  <a:lnTo>
                    <a:pt x="34" y="384"/>
                  </a:lnTo>
                  <a:lnTo>
                    <a:pt x="34" y="384"/>
                  </a:lnTo>
                  <a:lnTo>
                    <a:pt x="33" y="390"/>
                  </a:lnTo>
                  <a:lnTo>
                    <a:pt x="31" y="394"/>
                  </a:lnTo>
                  <a:lnTo>
                    <a:pt x="31" y="399"/>
                  </a:lnTo>
                  <a:lnTo>
                    <a:pt x="28" y="404"/>
                  </a:lnTo>
                  <a:lnTo>
                    <a:pt x="28" y="404"/>
                  </a:lnTo>
                  <a:lnTo>
                    <a:pt x="27" y="409"/>
                  </a:lnTo>
                  <a:lnTo>
                    <a:pt x="27" y="411"/>
                  </a:lnTo>
                  <a:lnTo>
                    <a:pt x="27" y="411"/>
                  </a:lnTo>
                  <a:lnTo>
                    <a:pt x="27" y="413"/>
                  </a:lnTo>
                  <a:lnTo>
                    <a:pt x="27" y="411"/>
                  </a:lnTo>
                  <a:lnTo>
                    <a:pt x="30" y="407"/>
                  </a:lnTo>
                  <a:lnTo>
                    <a:pt x="30" y="407"/>
                  </a:lnTo>
                  <a:lnTo>
                    <a:pt x="28" y="411"/>
                  </a:lnTo>
                  <a:lnTo>
                    <a:pt x="28" y="411"/>
                  </a:lnTo>
                  <a:lnTo>
                    <a:pt x="24" y="421"/>
                  </a:lnTo>
                  <a:lnTo>
                    <a:pt x="24" y="421"/>
                  </a:lnTo>
                  <a:lnTo>
                    <a:pt x="23" y="426"/>
                  </a:lnTo>
                  <a:lnTo>
                    <a:pt x="23" y="426"/>
                  </a:lnTo>
                  <a:lnTo>
                    <a:pt x="21" y="431"/>
                  </a:lnTo>
                  <a:lnTo>
                    <a:pt x="21" y="431"/>
                  </a:lnTo>
                  <a:lnTo>
                    <a:pt x="20" y="429"/>
                  </a:lnTo>
                  <a:lnTo>
                    <a:pt x="21" y="426"/>
                  </a:lnTo>
                  <a:lnTo>
                    <a:pt x="21" y="426"/>
                  </a:lnTo>
                  <a:lnTo>
                    <a:pt x="24" y="419"/>
                  </a:lnTo>
                  <a:lnTo>
                    <a:pt x="24" y="419"/>
                  </a:lnTo>
                  <a:lnTo>
                    <a:pt x="27" y="409"/>
                  </a:lnTo>
                  <a:lnTo>
                    <a:pt x="27" y="409"/>
                  </a:lnTo>
                  <a:lnTo>
                    <a:pt x="23" y="417"/>
                  </a:lnTo>
                  <a:lnTo>
                    <a:pt x="21" y="421"/>
                  </a:lnTo>
                  <a:lnTo>
                    <a:pt x="20" y="427"/>
                  </a:lnTo>
                  <a:lnTo>
                    <a:pt x="20" y="427"/>
                  </a:lnTo>
                  <a:lnTo>
                    <a:pt x="18" y="429"/>
                  </a:lnTo>
                  <a:lnTo>
                    <a:pt x="18" y="429"/>
                  </a:lnTo>
                  <a:lnTo>
                    <a:pt x="18" y="427"/>
                  </a:lnTo>
                  <a:lnTo>
                    <a:pt x="17" y="429"/>
                  </a:lnTo>
                  <a:lnTo>
                    <a:pt x="17" y="429"/>
                  </a:lnTo>
                  <a:lnTo>
                    <a:pt x="17" y="434"/>
                  </a:lnTo>
                  <a:lnTo>
                    <a:pt x="14" y="441"/>
                  </a:lnTo>
                  <a:lnTo>
                    <a:pt x="14" y="441"/>
                  </a:lnTo>
                  <a:lnTo>
                    <a:pt x="13" y="450"/>
                  </a:lnTo>
                  <a:lnTo>
                    <a:pt x="13" y="450"/>
                  </a:lnTo>
                  <a:lnTo>
                    <a:pt x="11" y="454"/>
                  </a:lnTo>
                  <a:lnTo>
                    <a:pt x="11" y="454"/>
                  </a:lnTo>
                  <a:lnTo>
                    <a:pt x="10" y="458"/>
                  </a:lnTo>
                  <a:lnTo>
                    <a:pt x="10" y="458"/>
                  </a:lnTo>
                  <a:lnTo>
                    <a:pt x="10" y="458"/>
                  </a:lnTo>
                  <a:lnTo>
                    <a:pt x="10" y="457"/>
                  </a:lnTo>
                  <a:lnTo>
                    <a:pt x="10" y="453"/>
                  </a:lnTo>
                  <a:lnTo>
                    <a:pt x="10" y="453"/>
                  </a:lnTo>
                  <a:lnTo>
                    <a:pt x="8" y="457"/>
                  </a:lnTo>
                  <a:lnTo>
                    <a:pt x="7" y="460"/>
                  </a:lnTo>
                  <a:lnTo>
                    <a:pt x="7" y="460"/>
                  </a:lnTo>
                  <a:lnTo>
                    <a:pt x="4" y="468"/>
                  </a:lnTo>
                  <a:lnTo>
                    <a:pt x="3" y="478"/>
                  </a:lnTo>
                  <a:lnTo>
                    <a:pt x="3" y="478"/>
                  </a:lnTo>
                  <a:lnTo>
                    <a:pt x="1" y="483"/>
                  </a:lnTo>
                  <a:lnTo>
                    <a:pt x="0" y="487"/>
                  </a:lnTo>
                  <a:lnTo>
                    <a:pt x="0" y="487"/>
                  </a:lnTo>
                  <a:lnTo>
                    <a:pt x="0" y="501"/>
                  </a:lnTo>
                  <a:lnTo>
                    <a:pt x="0" y="501"/>
                  </a:lnTo>
                  <a:lnTo>
                    <a:pt x="1" y="493"/>
                  </a:lnTo>
                  <a:lnTo>
                    <a:pt x="3" y="486"/>
                  </a:lnTo>
                  <a:lnTo>
                    <a:pt x="3" y="486"/>
                  </a:lnTo>
                  <a:lnTo>
                    <a:pt x="3" y="484"/>
                  </a:lnTo>
                  <a:lnTo>
                    <a:pt x="3" y="484"/>
                  </a:lnTo>
                  <a:lnTo>
                    <a:pt x="3" y="484"/>
                  </a:lnTo>
                  <a:lnTo>
                    <a:pt x="3" y="480"/>
                  </a:lnTo>
                  <a:lnTo>
                    <a:pt x="4" y="476"/>
                  </a:lnTo>
                  <a:lnTo>
                    <a:pt x="4" y="476"/>
                  </a:lnTo>
                  <a:lnTo>
                    <a:pt x="5" y="476"/>
                  </a:lnTo>
                  <a:lnTo>
                    <a:pt x="4" y="477"/>
                  </a:lnTo>
                  <a:lnTo>
                    <a:pt x="4" y="480"/>
                  </a:lnTo>
                  <a:lnTo>
                    <a:pt x="4" y="480"/>
                  </a:lnTo>
                  <a:lnTo>
                    <a:pt x="8" y="473"/>
                  </a:lnTo>
                  <a:lnTo>
                    <a:pt x="10" y="468"/>
                  </a:lnTo>
                  <a:lnTo>
                    <a:pt x="10" y="463"/>
                  </a:lnTo>
                  <a:lnTo>
                    <a:pt x="10" y="463"/>
                  </a:lnTo>
                  <a:lnTo>
                    <a:pt x="13" y="458"/>
                  </a:lnTo>
                  <a:lnTo>
                    <a:pt x="14" y="453"/>
                  </a:lnTo>
                  <a:lnTo>
                    <a:pt x="14" y="453"/>
                  </a:lnTo>
                  <a:lnTo>
                    <a:pt x="18" y="439"/>
                  </a:lnTo>
                  <a:lnTo>
                    <a:pt x="18" y="439"/>
                  </a:lnTo>
                  <a:lnTo>
                    <a:pt x="20" y="437"/>
                  </a:lnTo>
                  <a:lnTo>
                    <a:pt x="21" y="434"/>
                  </a:lnTo>
                  <a:lnTo>
                    <a:pt x="21" y="434"/>
                  </a:lnTo>
                  <a:lnTo>
                    <a:pt x="24" y="426"/>
                  </a:lnTo>
                  <a:lnTo>
                    <a:pt x="24" y="426"/>
                  </a:lnTo>
                  <a:lnTo>
                    <a:pt x="28" y="417"/>
                  </a:lnTo>
                  <a:lnTo>
                    <a:pt x="28" y="417"/>
                  </a:lnTo>
                  <a:lnTo>
                    <a:pt x="34" y="400"/>
                  </a:lnTo>
                  <a:lnTo>
                    <a:pt x="34" y="400"/>
                  </a:lnTo>
                  <a:lnTo>
                    <a:pt x="35" y="399"/>
                  </a:lnTo>
                  <a:lnTo>
                    <a:pt x="38" y="394"/>
                  </a:lnTo>
                  <a:lnTo>
                    <a:pt x="40" y="391"/>
                  </a:lnTo>
                  <a:lnTo>
                    <a:pt x="40" y="391"/>
                  </a:lnTo>
                  <a:lnTo>
                    <a:pt x="40" y="393"/>
                  </a:lnTo>
                  <a:lnTo>
                    <a:pt x="40" y="393"/>
                  </a:lnTo>
                  <a:lnTo>
                    <a:pt x="44" y="381"/>
                  </a:lnTo>
                  <a:lnTo>
                    <a:pt x="44" y="381"/>
                  </a:lnTo>
                  <a:lnTo>
                    <a:pt x="40" y="387"/>
                  </a:lnTo>
                  <a:lnTo>
                    <a:pt x="40" y="387"/>
                  </a:lnTo>
                  <a:lnTo>
                    <a:pt x="43" y="380"/>
                  </a:lnTo>
                  <a:lnTo>
                    <a:pt x="43" y="380"/>
                  </a:lnTo>
                  <a:lnTo>
                    <a:pt x="44" y="380"/>
                  </a:lnTo>
                  <a:lnTo>
                    <a:pt x="44" y="381"/>
                  </a:lnTo>
                  <a:lnTo>
                    <a:pt x="44" y="381"/>
                  </a:lnTo>
                  <a:lnTo>
                    <a:pt x="45" y="379"/>
                  </a:lnTo>
                  <a:lnTo>
                    <a:pt x="48" y="374"/>
                  </a:lnTo>
                  <a:lnTo>
                    <a:pt x="48" y="374"/>
                  </a:lnTo>
                  <a:lnTo>
                    <a:pt x="48" y="373"/>
                  </a:lnTo>
                  <a:lnTo>
                    <a:pt x="48" y="371"/>
                  </a:lnTo>
                  <a:lnTo>
                    <a:pt x="48" y="371"/>
                  </a:lnTo>
                  <a:lnTo>
                    <a:pt x="51" y="369"/>
                  </a:lnTo>
                  <a:lnTo>
                    <a:pt x="53" y="364"/>
                  </a:lnTo>
                  <a:lnTo>
                    <a:pt x="53" y="364"/>
                  </a:lnTo>
                  <a:lnTo>
                    <a:pt x="54" y="361"/>
                  </a:lnTo>
                  <a:lnTo>
                    <a:pt x="55" y="359"/>
                  </a:lnTo>
                  <a:lnTo>
                    <a:pt x="55" y="359"/>
                  </a:lnTo>
                  <a:lnTo>
                    <a:pt x="55" y="359"/>
                  </a:lnTo>
                  <a:lnTo>
                    <a:pt x="55" y="360"/>
                  </a:lnTo>
                  <a:lnTo>
                    <a:pt x="55" y="361"/>
                  </a:lnTo>
                  <a:lnTo>
                    <a:pt x="57" y="360"/>
                  </a:lnTo>
                  <a:lnTo>
                    <a:pt x="57" y="360"/>
                  </a:lnTo>
                  <a:lnTo>
                    <a:pt x="58" y="354"/>
                  </a:lnTo>
                  <a:lnTo>
                    <a:pt x="63" y="346"/>
                  </a:lnTo>
                  <a:lnTo>
                    <a:pt x="63" y="346"/>
                  </a:lnTo>
                  <a:lnTo>
                    <a:pt x="67" y="339"/>
                  </a:lnTo>
                  <a:lnTo>
                    <a:pt x="71" y="334"/>
                  </a:lnTo>
                  <a:lnTo>
                    <a:pt x="71" y="334"/>
                  </a:lnTo>
                  <a:lnTo>
                    <a:pt x="71" y="331"/>
                  </a:lnTo>
                  <a:lnTo>
                    <a:pt x="71" y="331"/>
                  </a:lnTo>
                  <a:lnTo>
                    <a:pt x="71" y="329"/>
                  </a:lnTo>
                  <a:lnTo>
                    <a:pt x="71" y="329"/>
                  </a:lnTo>
                  <a:lnTo>
                    <a:pt x="72" y="326"/>
                  </a:lnTo>
                  <a:lnTo>
                    <a:pt x="72" y="326"/>
                  </a:lnTo>
                  <a:lnTo>
                    <a:pt x="75" y="324"/>
                  </a:lnTo>
                  <a:lnTo>
                    <a:pt x="78" y="323"/>
                  </a:lnTo>
                  <a:lnTo>
                    <a:pt x="78" y="323"/>
                  </a:lnTo>
                  <a:lnTo>
                    <a:pt x="78" y="319"/>
                  </a:lnTo>
                  <a:lnTo>
                    <a:pt x="78" y="319"/>
                  </a:lnTo>
                  <a:lnTo>
                    <a:pt x="81" y="316"/>
                  </a:lnTo>
                  <a:lnTo>
                    <a:pt x="81" y="316"/>
                  </a:lnTo>
                  <a:lnTo>
                    <a:pt x="85" y="309"/>
                  </a:lnTo>
                  <a:lnTo>
                    <a:pt x="85" y="309"/>
                  </a:lnTo>
                  <a:lnTo>
                    <a:pt x="95" y="293"/>
                  </a:lnTo>
                  <a:lnTo>
                    <a:pt x="95" y="293"/>
                  </a:lnTo>
                  <a:lnTo>
                    <a:pt x="97" y="289"/>
                  </a:lnTo>
                  <a:lnTo>
                    <a:pt x="98" y="286"/>
                  </a:lnTo>
                  <a:lnTo>
                    <a:pt x="98" y="286"/>
                  </a:lnTo>
                  <a:lnTo>
                    <a:pt x="97" y="287"/>
                  </a:lnTo>
                  <a:lnTo>
                    <a:pt x="95" y="290"/>
                  </a:lnTo>
                  <a:lnTo>
                    <a:pt x="95" y="292"/>
                  </a:lnTo>
                  <a:lnTo>
                    <a:pt x="94" y="294"/>
                  </a:lnTo>
                  <a:lnTo>
                    <a:pt x="94" y="294"/>
                  </a:lnTo>
                  <a:lnTo>
                    <a:pt x="94" y="293"/>
                  </a:lnTo>
                  <a:lnTo>
                    <a:pt x="91" y="294"/>
                  </a:lnTo>
                  <a:lnTo>
                    <a:pt x="91" y="294"/>
                  </a:lnTo>
                  <a:lnTo>
                    <a:pt x="92" y="289"/>
                  </a:lnTo>
                  <a:lnTo>
                    <a:pt x="95" y="284"/>
                  </a:lnTo>
                  <a:lnTo>
                    <a:pt x="98" y="282"/>
                  </a:lnTo>
                  <a:lnTo>
                    <a:pt x="101" y="280"/>
                  </a:lnTo>
                  <a:lnTo>
                    <a:pt x="101" y="280"/>
                  </a:lnTo>
                  <a:lnTo>
                    <a:pt x="100" y="283"/>
                  </a:lnTo>
                  <a:lnTo>
                    <a:pt x="98" y="284"/>
                  </a:lnTo>
                  <a:lnTo>
                    <a:pt x="97" y="286"/>
                  </a:lnTo>
                  <a:lnTo>
                    <a:pt x="95" y="289"/>
                  </a:lnTo>
                  <a:lnTo>
                    <a:pt x="95" y="289"/>
                  </a:lnTo>
                  <a:lnTo>
                    <a:pt x="100" y="284"/>
                  </a:lnTo>
                  <a:lnTo>
                    <a:pt x="100" y="286"/>
                  </a:lnTo>
                  <a:lnTo>
                    <a:pt x="100" y="287"/>
                  </a:lnTo>
                  <a:lnTo>
                    <a:pt x="100" y="287"/>
                  </a:lnTo>
                  <a:lnTo>
                    <a:pt x="112" y="270"/>
                  </a:lnTo>
                  <a:lnTo>
                    <a:pt x="112" y="270"/>
                  </a:lnTo>
                  <a:lnTo>
                    <a:pt x="112" y="272"/>
                  </a:lnTo>
                  <a:lnTo>
                    <a:pt x="112" y="272"/>
                  </a:lnTo>
                  <a:lnTo>
                    <a:pt x="117" y="267"/>
                  </a:lnTo>
                  <a:lnTo>
                    <a:pt x="117" y="267"/>
                  </a:lnTo>
                  <a:lnTo>
                    <a:pt x="114" y="272"/>
                  </a:lnTo>
                  <a:lnTo>
                    <a:pt x="110" y="276"/>
                  </a:lnTo>
                  <a:lnTo>
                    <a:pt x="110" y="276"/>
                  </a:lnTo>
                  <a:lnTo>
                    <a:pt x="110" y="277"/>
                  </a:lnTo>
                  <a:lnTo>
                    <a:pt x="110" y="276"/>
                  </a:lnTo>
                  <a:lnTo>
                    <a:pt x="111" y="276"/>
                  </a:lnTo>
                  <a:lnTo>
                    <a:pt x="111" y="277"/>
                  </a:lnTo>
                  <a:lnTo>
                    <a:pt x="111" y="277"/>
                  </a:lnTo>
                  <a:lnTo>
                    <a:pt x="114" y="272"/>
                  </a:lnTo>
                  <a:lnTo>
                    <a:pt x="118" y="267"/>
                  </a:lnTo>
                  <a:lnTo>
                    <a:pt x="118" y="267"/>
                  </a:lnTo>
                  <a:lnTo>
                    <a:pt x="118" y="266"/>
                  </a:lnTo>
                  <a:lnTo>
                    <a:pt x="117" y="266"/>
                  </a:lnTo>
                  <a:lnTo>
                    <a:pt x="114" y="269"/>
                  </a:lnTo>
                  <a:lnTo>
                    <a:pt x="114" y="269"/>
                  </a:lnTo>
                  <a:lnTo>
                    <a:pt x="120" y="262"/>
                  </a:lnTo>
                  <a:lnTo>
                    <a:pt x="125" y="253"/>
                  </a:lnTo>
                  <a:lnTo>
                    <a:pt x="125" y="253"/>
                  </a:lnTo>
                  <a:lnTo>
                    <a:pt x="124" y="252"/>
                  </a:lnTo>
                  <a:lnTo>
                    <a:pt x="122" y="252"/>
                  </a:lnTo>
                  <a:lnTo>
                    <a:pt x="122" y="250"/>
                  </a:lnTo>
                  <a:lnTo>
                    <a:pt x="122" y="250"/>
                  </a:lnTo>
                  <a:lnTo>
                    <a:pt x="125" y="249"/>
                  </a:lnTo>
                  <a:lnTo>
                    <a:pt x="125" y="249"/>
                  </a:lnTo>
                  <a:lnTo>
                    <a:pt x="127" y="249"/>
                  </a:lnTo>
                  <a:lnTo>
                    <a:pt x="128" y="247"/>
                  </a:lnTo>
                  <a:lnTo>
                    <a:pt x="128" y="247"/>
                  </a:lnTo>
                  <a:lnTo>
                    <a:pt x="128" y="249"/>
                  </a:lnTo>
                  <a:lnTo>
                    <a:pt x="127" y="252"/>
                  </a:lnTo>
                  <a:lnTo>
                    <a:pt x="127" y="252"/>
                  </a:lnTo>
                  <a:lnTo>
                    <a:pt x="131" y="247"/>
                  </a:lnTo>
                  <a:lnTo>
                    <a:pt x="131" y="247"/>
                  </a:lnTo>
                  <a:lnTo>
                    <a:pt x="137" y="240"/>
                  </a:lnTo>
                  <a:lnTo>
                    <a:pt x="137" y="240"/>
                  </a:lnTo>
                  <a:lnTo>
                    <a:pt x="142" y="234"/>
                  </a:lnTo>
                  <a:lnTo>
                    <a:pt x="148" y="230"/>
                  </a:lnTo>
                  <a:lnTo>
                    <a:pt x="148" y="230"/>
                  </a:lnTo>
                  <a:lnTo>
                    <a:pt x="151" y="224"/>
                  </a:lnTo>
                  <a:lnTo>
                    <a:pt x="151" y="224"/>
                  </a:lnTo>
                  <a:lnTo>
                    <a:pt x="157" y="219"/>
                  </a:lnTo>
                  <a:lnTo>
                    <a:pt x="157" y="219"/>
                  </a:lnTo>
                  <a:lnTo>
                    <a:pt x="167" y="209"/>
                  </a:lnTo>
                  <a:lnTo>
                    <a:pt x="167" y="209"/>
                  </a:lnTo>
                  <a:lnTo>
                    <a:pt x="167" y="209"/>
                  </a:lnTo>
                  <a:lnTo>
                    <a:pt x="167" y="209"/>
                  </a:lnTo>
                  <a:lnTo>
                    <a:pt x="165" y="212"/>
                  </a:lnTo>
                  <a:lnTo>
                    <a:pt x="164" y="214"/>
                  </a:lnTo>
                  <a:lnTo>
                    <a:pt x="164" y="216"/>
                  </a:lnTo>
                  <a:lnTo>
                    <a:pt x="164" y="216"/>
                  </a:lnTo>
                  <a:lnTo>
                    <a:pt x="167" y="213"/>
                  </a:lnTo>
                  <a:lnTo>
                    <a:pt x="168" y="210"/>
                  </a:lnTo>
                  <a:lnTo>
                    <a:pt x="169" y="209"/>
                  </a:lnTo>
                  <a:lnTo>
                    <a:pt x="171" y="209"/>
                  </a:lnTo>
                  <a:lnTo>
                    <a:pt x="171" y="209"/>
                  </a:lnTo>
                  <a:lnTo>
                    <a:pt x="171" y="207"/>
                  </a:lnTo>
                  <a:lnTo>
                    <a:pt x="169" y="207"/>
                  </a:lnTo>
                  <a:lnTo>
                    <a:pt x="169" y="207"/>
                  </a:lnTo>
                  <a:lnTo>
                    <a:pt x="172" y="202"/>
                  </a:lnTo>
                  <a:lnTo>
                    <a:pt x="172" y="202"/>
                  </a:lnTo>
                  <a:lnTo>
                    <a:pt x="177" y="197"/>
                  </a:lnTo>
                  <a:lnTo>
                    <a:pt x="177" y="197"/>
                  </a:lnTo>
                  <a:lnTo>
                    <a:pt x="187" y="190"/>
                  </a:lnTo>
                  <a:lnTo>
                    <a:pt x="187" y="190"/>
                  </a:lnTo>
                  <a:lnTo>
                    <a:pt x="188" y="187"/>
                  </a:lnTo>
                  <a:lnTo>
                    <a:pt x="189" y="183"/>
                  </a:lnTo>
                  <a:lnTo>
                    <a:pt x="189" y="183"/>
                  </a:lnTo>
                  <a:lnTo>
                    <a:pt x="194" y="180"/>
                  </a:lnTo>
                  <a:lnTo>
                    <a:pt x="194" y="180"/>
                  </a:lnTo>
                  <a:lnTo>
                    <a:pt x="197" y="177"/>
                  </a:lnTo>
                  <a:lnTo>
                    <a:pt x="197" y="177"/>
                  </a:lnTo>
                  <a:lnTo>
                    <a:pt x="198" y="177"/>
                  </a:lnTo>
                  <a:lnTo>
                    <a:pt x="198" y="179"/>
                  </a:lnTo>
                  <a:lnTo>
                    <a:pt x="197" y="180"/>
                  </a:lnTo>
                  <a:lnTo>
                    <a:pt x="197" y="180"/>
                  </a:lnTo>
                  <a:lnTo>
                    <a:pt x="191" y="183"/>
                  </a:lnTo>
                  <a:lnTo>
                    <a:pt x="191" y="183"/>
                  </a:lnTo>
                  <a:lnTo>
                    <a:pt x="191" y="184"/>
                  </a:lnTo>
                  <a:lnTo>
                    <a:pt x="191" y="184"/>
                  </a:lnTo>
                  <a:lnTo>
                    <a:pt x="191" y="184"/>
                  </a:lnTo>
                  <a:lnTo>
                    <a:pt x="189" y="187"/>
                  </a:lnTo>
                  <a:lnTo>
                    <a:pt x="189" y="187"/>
                  </a:lnTo>
                  <a:lnTo>
                    <a:pt x="194" y="183"/>
                  </a:lnTo>
                  <a:lnTo>
                    <a:pt x="197" y="180"/>
                  </a:lnTo>
                  <a:lnTo>
                    <a:pt x="199" y="179"/>
                  </a:lnTo>
                  <a:lnTo>
                    <a:pt x="199" y="179"/>
                  </a:lnTo>
                  <a:lnTo>
                    <a:pt x="197" y="182"/>
                  </a:lnTo>
                  <a:lnTo>
                    <a:pt x="197" y="182"/>
                  </a:lnTo>
                  <a:lnTo>
                    <a:pt x="194" y="184"/>
                  </a:lnTo>
                  <a:lnTo>
                    <a:pt x="194" y="184"/>
                  </a:lnTo>
                  <a:lnTo>
                    <a:pt x="195" y="186"/>
                  </a:lnTo>
                  <a:lnTo>
                    <a:pt x="197" y="183"/>
                  </a:lnTo>
                  <a:lnTo>
                    <a:pt x="197" y="183"/>
                  </a:lnTo>
                  <a:lnTo>
                    <a:pt x="201" y="180"/>
                  </a:lnTo>
                  <a:lnTo>
                    <a:pt x="201" y="180"/>
                  </a:lnTo>
                  <a:lnTo>
                    <a:pt x="201" y="182"/>
                  </a:lnTo>
                  <a:lnTo>
                    <a:pt x="204" y="179"/>
                  </a:lnTo>
                  <a:lnTo>
                    <a:pt x="214" y="172"/>
                  </a:lnTo>
                  <a:lnTo>
                    <a:pt x="214" y="172"/>
                  </a:lnTo>
                  <a:lnTo>
                    <a:pt x="214" y="169"/>
                  </a:lnTo>
                  <a:lnTo>
                    <a:pt x="217" y="164"/>
                  </a:lnTo>
                  <a:lnTo>
                    <a:pt x="217" y="164"/>
                  </a:lnTo>
                  <a:lnTo>
                    <a:pt x="217" y="166"/>
                  </a:lnTo>
                  <a:lnTo>
                    <a:pt x="218" y="166"/>
                  </a:lnTo>
                  <a:lnTo>
                    <a:pt x="219" y="166"/>
                  </a:lnTo>
                  <a:lnTo>
                    <a:pt x="221" y="166"/>
                  </a:lnTo>
                  <a:lnTo>
                    <a:pt x="221" y="166"/>
                  </a:lnTo>
                  <a:lnTo>
                    <a:pt x="224" y="163"/>
                  </a:lnTo>
                  <a:lnTo>
                    <a:pt x="224" y="163"/>
                  </a:lnTo>
                  <a:lnTo>
                    <a:pt x="222" y="162"/>
                  </a:lnTo>
                  <a:lnTo>
                    <a:pt x="224" y="160"/>
                  </a:lnTo>
                  <a:lnTo>
                    <a:pt x="227" y="156"/>
                  </a:lnTo>
                  <a:lnTo>
                    <a:pt x="227" y="156"/>
                  </a:lnTo>
                  <a:lnTo>
                    <a:pt x="234" y="152"/>
                  </a:lnTo>
                  <a:lnTo>
                    <a:pt x="238" y="147"/>
                  </a:lnTo>
                  <a:lnTo>
                    <a:pt x="242" y="144"/>
                  </a:lnTo>
                  <a:lnTo>
                    <a:pt x="242" y="144"/>
                  </a:lnTo>
                  <a:lnTo>
                    <a:pt x="244" y="143"/>
                  </a:lnTo>
                  <a:lnTo>
                    <a:pt x="244" y="144"/>
                  </a:lnTo>
                  <a:lnTo>
                    <a:pt x="244" y="146"/>
                  </a:lnTo>
                  <a:lnTo>
                    <a:pt x="244" y="146"/>
                  </a:lnTo>
                  <a:lnTo>
                    <a:pt x="251" y="142"/>
                  </a:lnTo>
                  <a:lnTo>
                    <a:pt x="258" y="139"/>
                  </a:lnTo>
                  <a:lnTo>
                    <a:pt x="258" y="139"/>
                  </a:lnTo>
                  <a:lnTo>
                    <a:pt x="261" y="135"/>
                  </a:lnTo>
                  <a:lnTo>
                    <a:pt x="256" y="136"/>
                  </a:lnTo>
                  <a:lnTo>
                    <a:pt x="256" y="136"/>
                  </a:lnTo>
                  <a:lnTo>
                    <a:pt x="254" y="139"/>
                  </a:lnTo>
                  <a:lnTo>
                    <a:pt x="251" y="140"/>
                  </a:lnTo>
                  <a:lnTo>
                    <a:pt x="247" y="143"/>
                  </a:lnTo>
                  <a:lnTo>
                    <a:pt x="247" y="143"/>
                  </a:lnTo>
                  <a:lnTo>
                    <a:pt x="249" y="140"/>
                  </a:lnTo>
                  <a:lnTo>
                    <a:pt x="252" y="139"/>
                  </a:lnTo>
                  <a:lnTo>
                    <a:pt x="258" y="133"/>
                  </a:lnTo>
                  <a:lnTo>
                    <a:pt x="258" y="133"/>
                  </a:lnTo>
                  <a:lnTo>
                    <a:pt x="259" y="135"/>
                  </a:lnTo>
                  <a:lnTo>
                    <a:pt x="261" y="133"/>
                  </a:lnTo>
                  <a:lnTo>
                    <a:pt x="265" y="132"/>
                  </a:lnTo>
                  <a:lnTo>
                    <a:pt x="265" y="132"/>
                  </a:lnTo>
                  <a:lnTo>
                    <a:pt x="272" y="127"/>
                  </a:lnTo>
                  <a:lnTo>
                    <a:pt x="272" y="127"/>
                  </a:lnTo>
                  <a:lnTo>
                    <a:pt x="278" y="125"/>
                  </a:lnTo>
                  <a:lnTo>
                    <a:pt x="278" y="125"/>
                  </a:lnTo>
                  <a:lnTo>
                    <a:pt x="269" y="129"/>
                  </a:lnTo>
                  <a:lnTo>
                    <a:pt x="269" y="129"/>
                  </a:lnTo>
                  <a:lnTo>
                    <a:pt x="271" y="129"/>
                  </a:lnTo>
                  <a:lnTo>
                    <a:pt x="274" y="127"/>
                  </a:lnTo>
                  <a:lnTo>
                    <a:pt x="281" y="123"/>
                  </a:lnTo>
                  <a:lnTo>
                    <a:pt x="281" y="123"/>
                  </a:lnTo>
                  <a:lnTo>
                    <a:pt x="281" y="122"/>
                  </a:lnTo>
                  <a:lnTo>
                    <a:pt x="281" y="120"/>
                  </a:lnTo>
                  <a:lnTo>
                    <a:pt x="281" y="120"/>
                  </a:lnTo>
                  <a:lnTo>
                    <a:pt x="284" y="117"/>
                  </a:lnTo>
                  <a:lnTo>
                    <a:pt x="285" y="117"/>
                  </a:lnTo>
                  <a:lnTo>
                    <a:pt x="285" y="119"/>
                  </a:lnTo>
                  <a:lnTo>
                    <a:pt x="286" y="119"/>
                  </a:lnTo>
                  <a:lnTo>
                    <a:pt x="286" y="119"/>
                  </a:lnTo>
                  <a:lnTo>
                    <a:pt x="288" y="117"/>
                  </a:lnTo>
                  <a:lnTo>
                    <a:pt x="291" y="116"/>
                  </a:lnTo>
                  <a:lnTo>
                    <a:pt x="291" y="116"/>
                  </a:lnTo>
                  <a:lnTo>
                    <a:pt x="291" y="115"/>
                  </a:lnTo>
                  <a:lnTo>
                    <a:pt x="294" y="113"/>
                  </a:lnTo>
                  <a:lnTo>
                    <a:pt x="294" y="113"/>
                  </a:lnTo>
                  <a:lnTo>
                    <a:pt x="301" y="110"/>
                  </a:lnTo>
                  <a:lnTo>
                    <a:pt x="301" y="110"/>
                  </a:lnTo>
                  <a:lnTo>
                    <a:pt x="299" y="110"/>
                  </a:lnTo>
                  <a:lnTo>
                    <a:pt x="299" y="109"/>
                  </a:lnTo>
                  <a:lnTo>
                    <a:pt x="305" y="105"/>
                  </a:lnTo>
                  <a:lnTo>
                    <a:pt x="305" y="105"/>
                  </a:lnTo>
                  <a:lnTo>
                    <a:pt x="306" y="105"/>
                  </a:lnTo>
                  <a:lnTo>
                    <a:pt x="305" y="106"/>
                  </a:lnTo>
                  <a:lnTo>
                    <a:pt x="304" y="107"/>
                  </a:lnTo>
                  <a:lnTo>
                    <a:pt x="306" y="107"/>
                  </a:lnTo>
                  <a:lnTo>
                    <a:pt x="306" y="107"/>
                  </a:lnTo>
                  <a:lnTo>
                    <a:pt x="308" y="105"/>
                  </a:lnTo>
                  <a:lnTo>
                    <a:pt x="309" y="103"/>
                  </a:lnTo>
                  <a:lnTo>
                    <a:pt x="314" y="100"/>
                  </a:lnTo>
                  <a:lnTo>
                    <a:pt x="314" y="100"/>
                  </a:lnTo>
                  <a:lnTo>
                    <a:pt x="315" y="100"/>
                  </a:lnTo>
                  <a:lnTo>
                    <a:pt x="312" y="102"/>
                  </a:lnTo>
                  <a:lnTo>
                    <a:pt x="311" y="103"/>
                  </a:lnTo>
                  <a:lnTo>
                    <a:pt x="311" y="105"/>
                  </a:lnTo>
                  <a:lnTo>
                    <a:pt x="311" y="105"/>
                  </a:lnTo>
                  <a:lnTo>
                    <a:pt x="315" y="102"/>
                  </a:lnTo>
                  <a:lnTo>
                    <a:pt x="318" y="97"/>
                  </a:lnTo>
                  <a:lnTo>
                    <a:pt x="318" y="97"/>
                  </a:lnTo>
                  <a:lnTo>
                    <a:pt x="321" y="97"/>
                  </a:lnTo>
                  <a:lnTo>
                    <a:pt x="319" y="99"/>
                  </a:lnTo>
                  <a:lnTo>
                    <a:pt x="318" y="100"/>
                  </a:lnTo>
                  <a:lnTo>
                    <a:pt x="316" y="100"/>
                  </a:lnTo>
                  <a:lnTo>
                    <a:pt x="316" y="100"/>
                  </a:lnTo>
                  <a:lnTo>
                    <a:pt x="324" y="99"/>
                  </a:lnTo>
                  <a:lnTo>
                    <a:pt x="328" y="96"/>
                  </a:lnTo>
                  <a:lnTo>
                    <a:pt x="336" y="89"/>
                  </a:lnTo>
                  <a:lnTo>
                    <a:pt x="336" y="89"/>
                  </a:lnTo>
                  <a:lnTo>
                    <a:pt x="339" y="89"/>
                  </a:lnTo>
                  <a:lnTo>
                    <a:pt x="342" y="89"/>
                  </a:lnTo>
                  <a:lnTo>
                    <a:pt x="342" y="89"/>
                  </a:lnTo>
                  <a:lnTo>
                    <a:pt x="349" y="85"/>
                  </a:lnTo>
                  <a:lnTo>
                    <a:pt x="355" y="80"/>
                  </a:lnTo>
                  <a:lnTo>
                    <a:pt x="355" y="80"/>
                  </a:lnTo>
                  <a:lnTo>
                    <a:pt x="356" y="82"/>
                  </a:lnTo>
                  <a:lnTo>
                    <a:pt x="356" y="82"/>
                  </a:lnTo>
                  <a:lnTo>
                    <a:pt x="356" y="83"/>
                  </a:lnTo>
                  <a:lnTo>
                    <a:pt x="356" y="83"/>
                  </a:lnTo>
                  <a:lnTo>
                    <a:pt x="352" y="86"/>
                  </a:lnTo>
                  <a:lnTo>
                    <a:pt x="352" y="86"/>
                  </a:lnTo>
                  <a:lnTo>
                    <a:pt x="351" y="86"/>
                  </a:lnTo>
                  <a:lnTo>
                    <a:pt x="351" y="86"/>
                  </a:lnTo>
                  <a:lnTo>
                    <a:pt x="352" y="85"/>
                  </a:lnTo>
                  <a:lnTo>
                    <a:pt x="352" y="85"/>
                  </a:lnTo>
                  <a:lnTo>
                    <a:pt x="345" y="89"/>
                  </a:lnTo>
                  <a:lnTo>
                    <a:pt x="336" y="93"/>
                  </a:lnTo>
                  <a:lnTo>
                    <a:pt x="336" y="93"/>
                  </a:lnTo>
                  <a:lnTo>
                    <a:pt x="343" y="90"/>
                  </a:lnTo>
                  <a:lnTo>
                    <a:pt x="351" y="87"/>
                  </a:lnTo>
                  <a:lnTo>
                    <a:pt x="351" y="87"/>
                  </a:lnTo>
                  <a:lnTo>
                    <a:pt x="351" y="87"/>
                  </a:lnTo>
                  <a:lnTo>
                    <a:pt x="349" y="87"/>
                  </a:lnTo>
                  <a:lnTo>
                    <a:pt x="348" y="89"/>
                  </a:lnTo>
                  <a:lnTo>
                    <a:pt x="349" y="89"/>
                  </a:lnTo>
                  <a:lnTo>
                    <a:pt x="349" y="89"/>
                  </a:lnTo>
                  <a:lnTo>
                    <a:pt x="335" y="96"/>
                  </a:lnTo>
                  <a:lnTo>
                    <a:pt x="335" y="96"/>
                  </a:lnTo>
                  <a:lnTo>
                    <a:pt x="335" y="96"/>
                  </a:lnTo>
                  <a:lnTo>
                    <a:pt x="335" y="96"/>
                  </a:lnTo>
                  <a:lnTo>
                    <a:pt x="335" y="97"/>
                  </a:lnTo>
                  <a:lnTo>
                    <a:pt x="335" y="97"/>
                  </a:lnTo>
                  <a:lnTo>
                    <a:pt x="334" y="97"/>
                  </a:lnTo>
                  <a:lnTo>
                    <a:pt x="332" y="97"/>
                  </a:lnTo>
                  <a:lnTo>
                    <a:pt x="331" y="97"/>
                  </a:lnTo>
                  <a:lnTo>
                    <a:pt x="329" y="97"/>
                  </a:lnTo>
                  <a:lnTo>
                    <a:pt x="329" y="97"/>
                  </a:lnTo>
                  <a:lnTo>
                    <a:pt x="325" y="100"/>
                  </a:lnTo>
                  <a:lnTo>
                    <a:pt x="325" y="100"/>
                  </a:lnTo>
                  <a:lnTo>
                    <a:pt x="324" y="102"/>
                  </a:lnTo>
                  <a:lnTo>
                    <a:pt x="324" y="103"/>
                  </a:lnTo>
                  <a:lnTo>
                    <a:pt x="319" y="106"/>
                  </a:lnTo>
                  <a:lnTo>
                    <a:pt x="315" y="107"/>
                  </a:lnTo>
                  <a:lnTo>
                    <a:pt x="311" y="112"/>
                  </a:lnTo>
                  <a:lnTo>
                    <a:pt x="311" y="112"/>
                  </a:lnTo>
                  <a:lnTo>
                    <a:pt x="308" y="112"/>
                  </a:lnTo>
                  <a:lnTo>
                    <a:pt x="308" y="110"/>
                  </a:lnTo>
                  <a:lnTo>
                    <a:pt x="308" y="110"/>
                  </a:lnTo>
                  <a:lnTo>
                    <a:pt x="305" y="112"/>
                  </a:lnTo>
                  <a:lnTo>
                    <a:pt x="305" y="112"/>
                  </a:lnTo>
                  <a:lnTo>
                    <a:pt x="305" y="113"/>
                  </a:lnTo>
                  <a:lnTo>
                    <a:pt x="305" y="113"/>
                  </a:lnTo>
                  <a:lnTo>
                    <a:pt x="306" y="115"/>
                  </a:lnTo>
                  <a:lnTo>
                    <a:pt x="305" y="116"/>
                  </a:lnTo>
                  <a:lnTo>
                    <a:pt x="305" y="116"/>
                  </a:lnTo>
                  <a:lnTo>
                    <a:pt x="309" y="115"/>
                  </a:lnTo>
                  <a:lnTo>
                    <a:pt x="314" y="112"/>
                  </a:lnTo>
                  <a:lnTo>
                    <a:pt x="314" y="112"/>
                  </a:lnTo>
                  <a:lnTo>
                    <a:pt x="314" y="112"/>
                  </a:lnTo>
                  <a:lnTo>
                    <a:pt x="312" y="112"/>
                  </a:lnTo>
                  <a:lnTo>
                    <a:pt x="311" y="112"/>
                  </a:lnTo>
                  <a:lnTo>
                    <a:pt x="311" y="112"/>
                  </a:lnTo>
                  <a:lnTo>
                    <a:pt x="315" y="109"/>
                  </a:lnTo>
                  <a:lnTo>
                    <a:pt x="321" y="106"/>
                  </a:lnTo>
                  <a:lnTo>
                    <a:pt x="321" y="106"/>
                  </a:lnTo>
                  <a:lnTo>
                    <a:pt x="321" y="107"/>
                  </a:lnTo>
                  <a:lnTo>
                    <a:pt x="319" y="109"/>
                  </a:lnTo>
                  <a:lnTo>
                    <a:pt x="318" y="110"/>
                  </a:lnTo>
                  <a:lnTo>
                    <a:pt x="318" y="110"/>
                  </a:lnTo>
                  <a:lnTo>
                    <a:pt x="311" y="115"/>
                  </a:lnTo>
                  <a:lnTo>
                    <a:pt x="306" y="117"/>
                  </a:lnTo>
                  <a:lnTo>
                    <a:pt x="306" y="117"/>
                  </a:lnTo>
                  <a:lnTo>
                    <a:pt x="304" y="119"/>
                  </a:lnTo>
                  <a:lnTo>
                    <a:pt x="304" y="117"/>
                  </a:lnTo>
                  <a:lnTo>
                    <a:pt x="304" y="117"/>
                  </a:lnTo>
                  <a:lnTo>
                    <a:pt x="301" y="119"/>
                  </a:lnTo>
                  <a:lnTo>
                    <a:pt x="301" y="119"/>
                  </a:lnTo>
                  <a:lnTo>
                    <a:pt x="299" y="122"/>
                  </a:lnTo>
                  <a:lnTo>
                    <a:pt x="295" y="125"/>
                  </a:lnTo>
                  <a:lnTo>
                    <a:pt x="285" y="132"/>
                  </a:lnTo>
                  <a:lnTo>
                    <a:pt x="274" y="139"/>
                  </a:lnTo>
                  <a:lnTo>
                    <a:pt x="264" y="146"/>
                  </a:lnTo>
                  <a:lnTo>
                    <a:pt x="264" y="146"/>
                  </a:lnTo>
                  <a:lnTo>
                    <a:pt x="265" y="143"/>
                  </a:lnTo>
                  <a:lnTo>
                    <a:pt x="265" y="143"/>
                  </a:lnTo>
                  <a:lnTo>
                    <a:pt x="264" y="142"/>
                  </a:lnTo>
                  <a:lnTo>
                    <a:pt x="264" y="142"/>
                  </a:lnTo>
                  <a:lnTo>
                    <a:pt x="281" y="132"/>
                  </a:lnTo>
                  <a:lnTo>
                    <a:pt x="298" y="120"/>
                  </a:lnTo>
                  <a:lnTo>
                    <a:pt x="298" y="120"/>
                  </a:lnTo>
                  <a:lnTo>
                    <a:pt x="298" y="120"/>
                  </a:lnTo>
                  <a:lnTo>
                    <a:pt x="296" y="120"/>
                  </a:lnTo>
                  <a:lnTo>
                    <a:pt x="292" y="125"/>
                  </a:lnTo>
                  <a:lnTo>
                    <a:pt x="292" y="125"/>
                  </a:lnTo>
                  <a:lnTo>
                    <a:pt x="288" y="126"/>
                  </a:lnTo>
                  <a:lnTo>
                    <a:pt x="288" y="126"/>
                  </a:lnTo>
                  <a:lnTo>
                    <a:pt x="289" y="125"/>
                  </a:lnTo>
                  <a:lnTo>
                    <a:pt x="289" y="125"/>
                  </a:lnTo>
                  <a:lnTo>
                    <a:pt x="279" y="130"/>
                  </a:lnTo>
                  <a:lnTo>
                    <a:pt x="279" y="130"/>
                  </a:lnTo>
                  <a:lnTo>
                    <a:pt x="279" y="130"/>
                  </a:lnTo>
                  <a:lnTo>
                    <a:pt x="279" y="129"/>
                  </a:lnTo>
                  <a:lnTo>
                    <a:pt x="279" y="129"/>
                  </a:lnTo>
                  <a:lnTo>
                    <a:pt x="276" y="130"/>
                  </a:lnTo>
                  <a:lnTo>
                    <a:pt x="276" y="130"/>
                  </a:lnTo>
                  <a:lnTo>
                    <a:pt x="274" y="133"/>
                  </a:lnTo>
                  <a:lnTo>
                    <a:pt x="269" y="136"/>
                  </a:lnTo>
                  <a:lnTo>
                    <a:pt x="269" y="136"/>
                  </a:lnTo>
                  <a:lnTo>
                    <a:pt x="268" y="137"/>
                  </a:lnTo>
                  <a:lnTo>
                    <a:pt x="266" y="136"/>
                  </a:lnTo>
                  <a:lnTo>
                    <a:pt x="266" y="136"/>
                  </a:lnTo>
                  <a:lnTo>
                    <a:pt x="265" y="136"/>
                  </a:lnTo>
                  <a:lnTo>
                    <a:pt x="265" y="136"/>
                  </a:lnTo>
                  <a:lnTo>
                    <a:pt x="255" y="144"/>
                  </a:lnTo>
                  <a:lnTo>
                    <a:pt x="248" y="152"/>
                  </a:lnTo>
                  <a:lnTo>
                    <a:pt x="248" y="152"/>
                  </a:lnTo>
                  <a:lnTo>
                    <a:pt x="247" y="152"/>
                  </a:lnTo>
                  <a:lnTo>
                    <a:pt x="247" y="152"/>
                  </a:lnTo>
                  <a:lnTo>
                    <a:pt x="247" y="150"/>
                  </a:lnTo>
                  <a:lnTo>
                    <a:pt x="247" y="150"/>
                  </a:lnTo>
                  <a:lnTo>
                    <a:pt x="247" y="150"/>
                  </a:lnTo>
                  <a:lnTo>
                    <a:pt x="248" y="150"/>
                  </a:lnTo>
                  <a:lnTo>
                    <a:pt x="248" y="150"/>
                  </a:lnTo>
                  <a:lnTo>
                    <a:pt x="249" y="147"/>
                  </a:lnTo>
                  <a:lnTo>
                    <a:pt x="249" y="147"/>
                  </a:lnTo>
                  <a:lnTo>
                    <a:pt x="241" y="153"/>
                  </a:lnTo>
                  <a:lnTo>
                    <a:pt x="234" y="160"/>
                  </a:lnTo>
                  <a:lnTo>
                    <a:pt x="234" y="160"/>
                  </a:lnTo>
                  <a:lnTo>
                    <a:pt x="228" y="166"/>
                  </a:lnTo>
                  <a:lnTo>
                    <a:pt x="228" y="166"/>
                  </a:lnTo>
                  <a:lnTo>
                    <a:pt x="225" y="167"/>
                  </a:lnTo>
                  <a:lnTo>
                    <a:pt x="221" y="169"/>
                  </a:lnTo>
                  <a:lnTo>
                    <a:pt x="221" y="169"/>
                  </a:lnTo>
                  <a:lnTo>
                    <a:pt x="221" y="170"/>
                  </a:lnTo>
                  <a:lnTo>
                    <a:pt x="222" y="170"/>
                  </a:lnTo>
                  <a:lnTo>
                    <a:pt x="227" y="169"/>
                  </a:lnTo>
                  <a:lnTo>
                    <a:pt x="227" y="169"/>
                  </a:lnTo>
                  <a:lnTo>
                    <a:pt x="224" y="170"/>
                  </a:lnTo>
                  <a:lnTo>
                    <a:pt x="222" y="172"/>
                  </a:lnTo>
                  <a:lnTo>
                    <a:pt x="219" y="174"/>
                  </a:lnTo>
                  <a:lnTo>
                    <a:pt x="217" y="176"/>
                  </a:lnTo>
                  <a:lnTo>
                    <a:pt x="217" y="176"/>
                  </a:lnTo>
                  <a:lnTo>
                    <a:pt x="215" y="177"/>
                  </a:lnTo>
                  <a:lnTo>
                    <a:pt x="215" y="176"/>
                  </a:lnTo>
                  <a:lnTo>
                    <a:pt x="215" y="174"/>
                  </a:lnTo>
                  <a:lnTo>
                    <a:pt x="214" y="174"/>
                  </a:lnTo>
                  <a:lnTo>
                    <a:pt x="214" y="174"/>
                  </a:lnTo>
                  <a:lnTo>
                    <a:pt x="214" y="176"/>
                  </a:lnTo>
                  <a:lnTo>
                    <a:pt x="215" y="174"/>
                  </a:lnTo>
                  <a:lnTo>
                    <a:pt x="215" y="174"/>
                  </a:lnTo>
                  <a:lnTo>
                    <a:pt x="205" y="184"/>
                  </a:lnTo>
                  <a:lnTo>
                    <a:pt x="195" y="193"/>
                  </a:lnTo>
                  <a:lnTo>
                    <a:pt x="195" y="193"/>
                  </a:lnTo>
                  <a:lnTo>
                    <a:pt x="195" y="194"/>
                  </a:lnTo>
                  <a:lnTo>
                    <a:pt x="197" y="194"/>
                  </a:lnTo>
                  <a:lnTo>
                    <a:pt x="201" y="190"/>
                  </a:lnTo>
                  <a:lnTo>
                    <a:pt x="201" y="190"/>
                  </a:lnTo>
                  <a:lnTo>
                    <a:pt x="198" y="196"/>
                  </a:lnTo>
                  <a:lnTo>
                    <a:pt x="197" y="199"/>
                  </a:lnTo>
                  <a:lnTo>
                    <a:pt x="194" y="200"/>
                  </a:lnTo>
                  <a:lnTo>
                    <a:pt x="194" y="200"/>
                  </a:lnTo>
                  <a:lnTo>
                    <a:pt x="194" y="200"/>
                  </a:lnTo>
                  <a:lnTo>
                    <a:pt x="194" y="199"/>
                  </a:lnTo>
                  <a:lnTo>
                    <a:pt x="195" y="197"/>
                  </a:lnTo>
                  <a:lnTo>
                    <a:pt x="195" y="197"/>
                  </a:lnTo>
                  <a:lnTo>
                    <a:pt x="195" y="197"/>
                  </a:lnTo>
                  <a:lnTo>
                    <a:pt x="194" y="197"/>
                  </a:lnTo>
                  <a:lnTo>
                    <a:pt x="192" y="199"/>
                  </a:lnTo>
                  <a:lnTo>
                    <a:pt x="191" y="200"/>
                  </a:lnTo>
                  <a:lnTo>
                    <a:pt x="189" y="202"/>
                  </a:lnTo>
                  <a:lnTo>
                    <a:pt x="189" y="202"/>
                  </a:lnTo>
                  <a:lnTo>
                    <a:pt x="189" y="203"/>
                  </a:lnTo>
                  <a:lnTo>
                    <a:pt x="187" y="207"/>
                  </a:lnTo>
                  <a:lnTo>
                    <a:pt x="187" y="207"/>
                  </a:lnTo>
                  <a:lnTo>
                    <a:pt x="185" y="207"/>
                  </a:lnTo>
                  <a:lnTo>
                    <a:pt x="187" y="206"/>
                  </a:lnTo>
                  <a:lnTo>
                    <a:pt x="187" y="206"/>
                  </a:lnTo>
                  <a:lnTo>
                    <a:pt x="184" y="207"/>
                  </a:lnTo>
                  <a:lnTo>
                    <a:pt x="182" y="210"/>
                  </a:lnTo>
                  <a:lnTo>
                    <a:pt x="181" y="212"/>
                  </a:lnTo>
                  <a:lnTo>
                    <a:pt x="179" y="214"/>
                  </a:lnTo>
                  <a:lnTo>
                    <a:pt x="179" y="214"/>
                  </a:lnTo>
                  <a:lnTo>
                    <a:pt x="178" y="213"/>
                  </a:lnTo>
                  <a:lnTo>
                    <a:pt x="179" y="212"/>
                  </a:lnTo>
                  <a:lnTo>
                    <a:pt x="179" y="210"/>
                  </a:lnTo>
                  <a:lnTo>
                    <a:pt x="178" y="212"/>
                  </a:lnTo>
                  <a:lnTo>
                    <a:pt x="178" y="212"/>
                  </a:lnTo>
                  <a:lnTo>
                    <a:pt x="177" y="214"/>
                  </a:lnTo>
                  <a:lnTo>
                    <a:pt x="175" y="217"/>
                  </a:lnTo>
                  <a:lnTo>
                    <a:pt x="175" y="217"/>
                  </a:lnTo>
                  <a:lnTo>
                    <a:pt x="172" y="220"/>
                  </a:lnTo>
                  <a:lnTo>
                    <a:pt x="172" y="220"/>
                  </a:lnTo>
                  <a:lnTo>
                    <a:pt x="174" y="217"/>
                  </a:lnTo>
                  <a:lnTo>
                    <a:pt x="174" y="216"/>
                  </a:lnTo>
                  <a:lnTo>
                    <a:pt x="174" y="216"/>
                  </a:lnTo>
                  <a:lnTo>
                    <a:pt x="174" y="216"/>
                  </a:lnTo>
                  <a:lnTo>
                    <a:pt x="169" y="219"/>
                  </a:lnTo>
                  <a:lnTo>
                    <a:pt x="165" y="222"/>
                  </a:lnTo>
                  <a:lnTo>
                    <a:pt x="165" y="222"/>
                  </a:lnTo>
                  <a:lnTo>
                    <a:pt x="159" y="227"/>
                  </a:lnTo>
                  <a:lnTo>
                    <a:pt x="155" y="233"/>
                  </a:lnTo>
                  <a:lnTo>
                    <a:pt x="147" y="244"/>
                  </a:lnTo>
                  <a:lnTo>
                    <a:pt x="147" y="244"/>
                  </a:lnTo>
                  <a:lnTo>
                    <a:pt x="147" y="243"/>
                  </a:lnTo>
                  <a:lnTo>
                    <a:pt x="145" y="243"/>
                  </a:lnTo>
                  <a:lnTo>
                    <a:pt x="141" y="249"/>
                  </a:lnTo>
                  <a:lnTo>
                    <a:pt x="141" y="249"/>
                  </a:lnTo>
                  <a:lnTo>
                    <a:pt x="134" y="257"/>
                  </a:lnTo>
                  <a:lnTo>
                    <a:pt x="134" y="257"/>
                  </a:lnTo>
                  <a:lnTo>
                    <a:pt x="128" y="263"/>
                  </a:lnTo>
                  <a:lnTo>
                    <a:pt x="128" y="263"/>
                  </a:lnTo>
                  <a:lnTo>
                    <a:pt x="130" y="262"/>
                  </a:lnTo>
                  <a:lnTo>
                    <a:pt x="132" y="257"/>
                  </a:lnTo>
                  <a:lnTo>
                    <a:pt x="135" y="254"/>
                  </a:lnTo>
                  <a:lnTo>
                    <a:pt x="137" y="250"/>
                  </a:lnTo>
                  <a:lnTo>
                    <a:pt x="137" y="250"/>
                  </a:lnTo>
                  <a:lnTo>
                    <a:pt x="132" y="256"/>
                  </a:lnTo>
                  <a:lnTo>
                    <a:pt x="128" y="260"/>
                  </a:lnTo>
                  <a:lnTo>
                    <a:pt x="125" y="266"/>
                  </a:lnTo>
                  <a:lnTo>
                    <a:pt x="122" y="269"/>
                  </a:lnTo>
                  <a:lnTo>
                    <a:pt x="122" y="269"/>
                  </a:lnTo>
                  <a:lnTo>
                    <a:pt x="122" y="270"/>
                  </a:lnTo>
                  <a:lnTo>
                    <a:pt x="122" y="270"/>
                  </a:lnTo>
                  <a:lnTo>
                    <a:pt x="124" y="269"/>
                  </a:lnTo>
                  <a:lnTo>
                    <a:pt x="124" y="269"/>
                  </a:lnTo>
                  <a:lnTo>
                    <a:pt x="122" y="273"/>
                  </a:lnTo>
                  <a:lnTo>
                    <a:pt x="120" y="277"/>
                  </a:lnTo>
                  <a:lnTo>
                    <a:pt x="120" y="277"/>
                  </a:lnTo>
                  <a:lnTo>
                    <a:pt x="115" y="282"/>
                  </a:lnTo>
                  <a:lnTo>
                    <a:pt x="111" y="287"/>
                  </a:lnTo>
                  <a:lnTo>
                    <a:pt x="107" y="293"/>
                  </a:lnTo>
                  <a:lnTo>
                    <a:pt x="104" y="296"/>
                  </a:lnTo>
                  <a:lnTo>
                    <a:pt x="104" y="296"/>
                  </a:lnTo>
                  <a:lnTo>
                    <a:pt x="100" y="303"/>
                  </a:lnTo>
                  <a:lnTo>
                    <a:pt x="100" y="303"/>
                  </a:lnTo>
                  <a:lnTo>
                    <a:pt x="97" y="307"/>
                  </a:lnTo>
                  <a:lnTo>
                    <a:pt x="97" y="307"/>
                  </a:lnTo>
                  <a:lnTo>
                    <a:pt x="94" y="313"/>
                  </a:lnTo>
                  <a:lnTo>
                    <a:pt x="91" y="319"/>
                  </a:lnTo>
                  <a:lnTo>
                    <a:pt x="91" y="319"/>
                  </a:lnTo>
                  <a:lnTo>
                    <a:pt x="94" y="317"/>
                  </a:lnTo>
                  <a:lnTo>
                    <a:pt x="95" y="316"/>
                  </a:lnTo>
                  <a:lnTo>
                    <a:pt x="95" y="316"/>
                  </a:lnTo>
                  <a:lnTo>
                    <a:pt x="91" y="323"/>
                  </a:lnTo>
                  <a:lnTo>
                    <a:pt x="88" y="327"/>
                  </a:lnTo>
                  <a:lnTo>
                    <a:pt x="85" y="329"/>
                  </a:lnTo>
                  <a:lnTo>
                    <a:pt x="82" y="329"/>
                  </a:lnTo>
                  <a:lnTo>
                    <a:pt x="82" y="329"/>
                  </a:lnTo>
                  <a:lnTo>
                    <a:pt x="82" y="330"/>
                  </a:lnTo>
                  <a:lnTo>
                    <a:pt x="84" y="330"/>
                  </a:lnTo>
                  <a:lnTo>
                    <a:pt x="84" y="331"/>
                  </a:lnTo>
                  <a:lnTo>
                    <a:pt x="85" y="333"/>
                  </a:lnTo>
                  <a:lnTo>
                    <a:pt x="85" y="333"/>
                  </a:lnTo>
                  <a:lnTo>
                    <a:pt x="77" y="344"/>
                  </a:lnTo>
                  <a:lnTo>
                    <a:pt x="77" y="344"/>
                  </a:lnTo>
                  <a:lnTo>
                    <a:pt x="77" y="344"/>
                  </a:lnTo>
                  <a:lnTo>
                    <a:pt x="78" y="343"/>
                  </a:lnTo>
                  <a:lnTo>
                    <a:pt x="80" y="337"/>
                  </a:lnTo>
                  <a:lnTo>
                    <a:pt x="80" y="337"/>
                  </a:lnTo>
                  <a:lnTo>
                    <a:pt x="75" y="344"/>
                  </a:lnTo>
                  <a:lnTo>
                    <a:pt x="70" y="354"/>
                  </a:lnTo>
                  <a:lnTo>
                    <a:pt x="70" y="354"/>
                  </a:lnTo>
                  <a:lnTo>
                    <a:pt x="68" y="356"/>
                  </a:lnTo>
                  <a:lnTo>
                    <a:pt x="68" y="354"/>
                  </a:lnTo>
                  <a:lnTo>
                    <a:pt x="68" y="354"/>
                  </a:lnTo>
                  <a:lnTo>
                    <a:pt x="67" y="354"/>
                  </a:lnTo>
                  <a:lnTo>
                    <a:pt x="67" y="356"/>
                  </a:lnTo>
                  <a:lnTo>
                    <a:pt x="65" y="360"/>
                  </a:lnTo>
                  <a:lnTo>
                    <a:pt x="65" y="360"/>
                  </a:lnTo>
                  <a:lnTo>
                    <a:pt x="65" y="361"/>
                  </a:lnTo>
                  <a:lnTo>
                    <a:pt x="65" y="360"/>
                  </a:lnTo>
                  <a:lnTo>
                    <a:pt x="67" y="359"/>
                  </a:lnTo>
                  <a:lnTo>
                    <a:pt x="67" y="359"/>
                  </a:lnTo>
                  <a:lnTo>
                    <a:pt x="58" y="374"/>
                  </a:lnTo>
                  <a:lnTo>
                    <a:pt x="58" y="374"/>
                  </a:lnTo>
                  <a:lnTo>
                    <a:pt x="54" y="383"/>
                  </a:lnTo>
                  <a:lnTo>
                    <a:pt x="50" y="391"/>
                  </a:lnTo>
                  <a:lnTo>
                    <a:pt x="50" y="391"/>
                  </a:lnTo>
                  <a:lnTo>
                    <a:pt x="47" y="396"/>
                  </a:lnTo>
                  <a:lnTo>
                    <a:pt x="47" y="396"/>
                  </a:lnTo>
                  <a:lnTo>
                    <a:pt x="45" y="400"/>
                  </a:lnTo>
                  <a:lnTo>
                    <a:pt x="44" y="403"/>
                  </a:lnTo>
                  <a:lnTo>
                    <a:pt x="44" y="403"/>
                  </a:lnTo>
                  <a:lnTo>
                    <a:pt x="41" y="410"/>
                  </a:lnTo>
                  <a:lnTo>
                    <a:pt x="38" y="417"/>
                  </a:lnTo>
                  <a:lnTo>
                    <a:pt x="35" y="424"/>
                  </a:lnTo>
                  <a:lnTo>
                    <a:pt x="31" y="430"/>
                  </a:lnTo>
                  <a:lnTo>
                    <a:pt x="31" y="430"/>
                  </a:lnTo>
                  <a:lnTo>
                    <a:pt x="30" y="439"/>
                  </a:lnTo>
                  <a:lnTo>
                    <a:pt x="27" y="446"/>
                  </a:lnTo>
                  <a:lnTo>
                    <a:pt x="27" y="446"/>
                  </a:lnTo>
                  <a:lnTo>
                    <a:pt x="24" y="453"/>
                  </a:lnTo>
                  <a:lnTo>
                    <a:pt x="24" y="453"/>
                  </a:lnTo>
                  <a:lnTo>
                    <a:pt x="21" y="460"/>
                  </a:lnTo>
                  <a:lnTo>
                    <a:pt x="21" y="460"/>
                  </a:lnTo>
                  <a:lnTo>
                    <a:pt x="21" y="453"/>
                  </a:lnTo>
                  <a:lnTo>
                    <a:pt x="21" y="453"/>
                  </a:lnTo>
                  <a:lnTo>
                    <a:pt x="21" y="447"/>
                  </a:lnTo>
                  <a:lnTo>
                    <a:pt x="21" y="447"/>
                  </a:lnTo>
                  <a:lnTo>
                    <a:pt x="20" y="456"/>
                  </a:lnTo>
                  <a:lnTo>
                    <a:pt x="20" y="456"/>
                  </a:lnTo>
                  <a:lnTo>
                    <a:pt x="18" y="464"/>
                  </a:lnTo>
                  <a:lnTo>
                    <a:pt x="18" y="464"/>
                  </a:lnTo>
                  <a:lnTo>
                    <a:pt x="15" y="471"/>
                  </a:lnTo>
                  <a:lnTo>
                    <a:pt x="14" y="476"/>
                  </a:lnTo>
                  <a:lnTo>
                    <a:pt x="14" y="476"/>
                  </a:lnTo>
                  <a:lnTo>
                    <a:pt x="15" y="477"/>
                  </a:lnTo>
                  <a:lnTo>
                    <a:pt x="17" y="480"/>
                  </a:lnTo>
                  <a:lnTo>
                    <a:pt x="17" y="483"/>
                  </a:lnTo>
                  <a:lnTo>
                    <a:pt x="18" y="483"/>
                  </a:lnTo>
                  <a:lnTo>
                    <a:pt x="20" y="483"/>
                  </a:lnTo>
                  <a:lnTo>
                    <a:pt x="20" y="483"/>
                  </a:lnTo>
                  <a:lnTo>
                    <a:pt x="17" y="491"/>
                  </a:lnTo>
                  <a:lnTo>
                    <a:pt x="17" y="491"/>
                  </a:lnTo>
                  <a:lnTo>
                    <a:pt x="14" y="500"/>
                  </a:lnTo>
                  <a:lnTo>
                    <a:pt x="14" y="500"/>
                  </a:lnTo>
                  <a:lnTo>
                    <a:pt x="15" y="498"/>
                  </a:lnTo>
                  <a:lnTo>
                    <a:pt x="15" y="497"/>
                  </a:lnTo>
                  <a:lnTo>
                    <a:pt x="18" y="490"/>
                  </a:lnTo>
                  <a:lnTo>
                    <a:pt x="18" y="490"/>
                  </a:lnTo>
                  <a:lnTo>
                    <a:pt x="21" y="483"/>
                  </a:lnTo>
                  <a:lnTo>
                    <a:pt x="21" y="483"/>
                  </a:lnTo>
                  <a:lnTo>
                    <a:pt x="21" y="481"/>
                  </a:lnTo>
                  <a:lnTo>
                    <a:pt x="23" y="481"/>
                  </a:lnTo>
                  <a:lnTo>
                    <a:pt x="23" y="481"/>
                  </a:lnTo>
                  <a:lnTo>
                    <a:pt x="21" y="484"/>
                  </a:lnTo>
                  <a:lnTo>
                    <a:pt x="20" y="487"/>
                  </a:lnTo>
                  <a:lnTo>
                    <a:pt x="20" y="487"/>
                  </a:lnTo>
                  <a:lnTo>
                    <a:pt x="20" y="490"/>
                  </a:lnTo>
                  <a:lnTo>
                    <a:pt x="20" y="493"/>
                  </a:lnTo>
                  <a:lnTo>
                    <a:pt x="18" y="497"/>
                  </a:lnTo>
                  <a:lnTo>
                    <a:pt x="18" y="501"/>
                  </a:lnTo>
                  <a:lnTo>
                    <a:pt x="18" y="501"/>
                  </a:lnTo>
                  <a:lnTo>
                    <a:pt x="17" y="501"/>
                  </a:lnTo>
                  <a:lnTo>
                    <a:pt x="15" y="506"/>
                  </a:lnTo>
                  <a:lnTo>
                    <a:pt x="15" y="506"/>
                  </a:lnTo>
                  <a:lnTo>
                    <a:pt x="15" y="506"/>
                  </a:lnTo>
                  <a:lnTo>
                    <a:pt x="15" y="507"/>
                  </a:lnTo>
                  <a:lnTo>
                    <a:pt x="15" y="514"/>
                  </a:lnTo>
                  <a:lnTo>
                    <a:pt x="15" y="514"/>
                  </a:lnTo>
                  <a:lnTo>
                    <a:pt x="13" y="520"/>
                  </a:lnTo>
                  <a:lnTo>
                    <a:pt x="13" y="523"/>
                  </a:lnTo>
                  <a:lnTo>
                    <a:pt x="13" y="524"/>
                  </a:lnTo>
                  <a:lnTo>
                    <a:pt x="13" y="524"/>
                  </a:lnTo>
                  <a:lnTo>
                    <a:pt x="11" y="527"/>
                  </a:lnTo>
                  <a:lnTo>
                    <a:pt x="10" y="530"/>
                  </a:lnTo>
                  <a:lnTo>
                    <a:pt x="10" y="530"/>
                  </a:lnTo>
                  <a:lnTo>
                    <a:pt x="10" y="531"/>
                  </a:lnTo>
                  <a:lnTo>
                    <a:pt x="10" y="530"/>
                  </a:lnTo>
                  <a:lnTo>
                    <a:pt x="10" y="526"/>
                  </a:lnTo>
                  <a:lnTo>
                    <a:pt x="10" y="526"/>
                  </a:lnTo>
                  <a:lnTo>
                    <a:pt x="8" y="534"/>
                  </a:lnTo>
                  <a:lnTo>
                    <a:pt x="7" y="541"/>
                  </a:lnTo>
                  <a:lnTo>
                    <a:pt x="7" y="541"/>
                  </a:lnTo>
                  <a:lnTo>
                    <a:pt x="5" y="543"/>
                  </a:lnTo>
                  <a:lnTo>
                    <a:pt x="5" y="541"/>
                  </a:lnTo>
                  <a:lnTo>
                    <a:pt x="5" y="540"/>
                  </a:lnTo>
                  <a:lnTo>
                    <a:pt x="4" y="540"/>
                  </a:lnTo>
                  <a:lnTo>
                    <a:pt x="4" y="540"/>
                  </a:lnTo>
                  <a:lnTo>
                    <a:pt x="5" y="544"/>
                  </a:lnTo>
                  <a:lnTo>
                    <a:pt x="5" y="546"/>
                  </a:lnTo>
                  <a:lnTo>
                    <a:pt x="4" y="548"/>
                  </a:lnTo>
                  <a:lnTo>
                    <a:pt x="4" y="548"/>
                  </a:lnTo>
                  <a:lnTo>
                    <a:pt x="5" y="551"/>
                  </a:lnTo>
                  <a:lnTo>
                    <a:pt x="5" y="551"/>
                  </a:lnTo>
                  <a:lnTo>
                    <a:pt x="7" y="548"/>
                  </a:lnTo>
                  <a:lnTo>
                    <a:pt x="7" y="548"/>
                  </a:lnTo>
                  <a:lnTo>
                    <a:pt x="7" y="554"/>
                  </a:lnTo>
                  <a:lnTo>
                    <a:pt x="8" y="557"/>
                  </a:lnTo>
                  <a:lnTo>
                    <a:pt x="8" y="557"/>
                  </a:lnTo>
                  <a:lnTo>
                    <a:pt x="8" y="558"/>
                  </a:lnTo>
                  <a:lnTo>
                    <a:pt x="7" y="561"/>
                  </a:lnTo>
                  <a:lnTo>
                    <a:pt x="7" y="563"/>
                  </a:lnTo>
                  <a:lnTo>
                    <a:pt x="7" y="564"/>
                  </a:lnTo>
                  <a:lnTo>
                    <a:pt x="7" y="564"/>
                  </a:lnTo>
                  <a:lnTo>
                    <a:pt x="7" y="566"/>
                  </a:lnTo>
                  <a:lnTo>
                    <a:pt x="8" y="564"/>
                  </a:lnTo>
                  <a:lnTo>
                    <a:pt x="8" y="560"/>
                  </a:lnTo>
                  <a:lnTo>
                    <a:pt x="8" y="560"/>
                  </a:lnTo>
                  <a:lnTo>
                    <a:pt x="8" y="564"/>
                  </a:lnTo>
                  <a:lnTo>
                    <a:pt x="8" y="570"/>
                  </a:lnTo>
                  <a:lnTo>
                    <a:pt x="8" y="570"/>
                  </a:lnTo>
                  <a:lnTo>
                    <a:pt x="7" y="570"/>
                  </a:lnTo>
                  <a:lnTo>
                    <a:pt x="7" y="568"/>
                  </a:lnTo>
                  <a:lnTo>
                    <a:pt x="7" y="567"/>
                  </a:lnTo>
                  <a:lnTo>
                    <a:pt x="5" y="568"/>
                  </a:lnTo>
                  <a:lnTo>
                    <a:pt x="5" y="568"/>
                  </a:lnTo>
                  <a:lnTo>
                    <a:pt x="5" y="573"/>
                  </a:lnTo>
                  <a:lnTo>
                    <a:pt x="5" y="574"/>
                  </a:lnTo>
                  <a:lnTo>
                    <a:pt x="4" y="574"/>
                  </a:lnTo>
                  <a:lnTo>
                    <a:pt x="4" y="574"/>
                  </a:lnTo>
                  <a:lnTo>
                    <a:pt x="5" y="581"/>
                  </a:lnTo>
                  <a:lnTo>
                    <a:pt x="5" y="588"/>
                  </a:lnTo>
                  <a:lnTo>
                    <a:pt x="1" y="603"/>
                  </a:lnTo>
                  <a:lnTo>
                    <a:pt x="1" y="603"/>
                  </a:lnTo>
                  <a:lnTo>
                    <a:pt x="4" y="607"/>
                  </a:lnTo>
                  <a:lnTo>
                    <a:pt x="4" y="607"/>
                  </a:lnTo>
                  <a:lnTo>
                    <a:pt x="4" y="604"/>
                  </a:lnTo>
                  <a:lnTo>
                    <a:pt x="5" y="601"/>
                  </a:lnTo>
                  <a:lnTo>
                    <a:pt x="5" y="601"/>
                  </a:lnTo>
                  <a:lnTo>
                    <a:pt x="5" y="600"/>
                  </a:lnTo>
                  <a:lnTo>
                    <a:pt x="5" y="600"/>
                  </a:lnTo>
                  <a:lnTo>
                    <a:pt x="4" y="601"/>
                  </a:lnTo>
                  <a:lnTo>
                    <a:pt x="4" y="601"/>
                  </a:lnTo>
                  <a:lnTo>
                    <a:pt x="5" y="587"/>
                  </a:lnTo>
                  <a:lnTo>
                    <a:pt x="8" y="573"/>
                  </a:lnTo>
                  <a:lnTo>
                    <a:pt x="8" y="573"/>
                  </a:lnTo>
                  <a:lnTo>
                    <a:pt x="8" y="578"/>
                  </a:lnTo>
                  <a:lnTo>
                    <a:pt x="7" y="586"/>
                  </a:lnTo>
                  <a:lnTo>
                    <a:pt x="7" y="591"/>
                  </a:lnTo>
                  <a:lnTo>
                    <a:pt x="7" y="597"/>
                  </a:lnTo>
                  <a:lnTo>
                    <a:pt x="7" y="597"/>
                  </a:lnTo>
                  <a:lnTo>
                    <a:pt x="8" y="584"/>
                  </a:lnTo>
                  <a:lnTo>
                    <a:pt x="8" y="584"/>
                  </a:lnTo>
                  <a:lnTo>
                    <a:pt x="8" y="591"/>
                  </a:lnTo>
                  <a:lnTo>
                    <a:pt x="8" y="596"/>
                  </a:lnTo>
                  <a:lnTo>
                    <a:pt x="10" y="598"/>
                  </a:lnTo>
                  <a:lnTo>
                    <a:pt x="10" y="598"/>
                  </a:lnTo>
                  <a:lnTo>
                    <a:pt x="8" y="600"/>
                  </a:lnTo>
                  <a:lnTo>
                    <a:pt x="8" y="600"/>
                  </a:lnTo>
                  <a:lnTo>
                    <a:pt x="7" y="598"/>
                  </a:lnTo>
                  <a:lnTo>
                    <a:pt x="7" y="601"/>
                  </a:lnTo>
                  <a:lnTo>
                    <a:pt x="7" y="601"/>
                  </a:lnTo>
                  <a:lnTo>
                    <a:pt x="7" y="607"/>
                  </a:lnTo>
                  <a:lnTo>
                    <a:pt x="7" y="607"/>
                  </a:lnTo>
                  <a:lnTo>
                    <a:pt x="7" y="608"/>
                  </a:lnTo>
                  <a:lnTo>
                    <a:pt x="7" y="608"/>
                  </a:lnTo>
                  <a:lnTo>
                    <a:pt x="5" y="606"/>
                  </a:lnTo>
                  <a:lnTo>
                    <a:pt x="5" y="606"/>
                  </a:lnTo>
                  <a:lnTo>
                    <a:pt x="5" y="608"/>
                  </a:lnTo>
                  <a:lnTo>
                    <a:pt x="5" y="613"/>
                  </a:lnTo>
                  <a:lnTo>
                    <a:pt x="5" y="613"/>
                  </a:lnTo>
                  <a:lnTo>
                    <a:pt x="5" y="614"/>
                  </a:lnTo>
                  <a:lnTo>
                    <a:pt x="5" y="617"/>
                  </a:lnTo>
                  <a:lnTo>
                    <a:pt x="7" y="620"/>
                  </a:lnTo>
                  <a:lnTo>
                    <a:pt x="7" y="621"/>
                  </a:lnTo>
                  <a:lnTo>
                    <a:pt x="7" y="621"/>
                  </a:lnTo>
                  <a:lnTo>
                    <a:pt x="7" y="624"/>
                  </a:lnTo>
                  <a:lnTo>
                    <a:pt x="5" y="624"/>
                  </a:lnTo>
                  <a:lnTo>
                    <a:pt x="4" y="624"/>
                  </a:lnTo>
                  <a:lnTo>
                    <a:pt x="4" y="625"/>
                  </a:lnTo>
                  <a:lnTo>
                    <a:pt x="4" y="625"/>
                  </a:lnTo>
                  <a:lnTo>
                    <a:pt x="4" y="635"/>
                  </a:lnTo>
                  <a:lnTo>
                    <a:pt x="4" y="635"/>
                  </a:lnTo>
                  <a:lnTo>
                    <a:pt x="3" y="643"/>
                  </a:lnTo>
                  <a:lnTo>
                    <a:pt x="3" y="643"/>
                  </a:lnTo>
                  <a:lnTo>
                    <a:pt x="3" y="650"/>
                  </a:lnTo>
                  <a:lnTo>
                    <a:pt x="3" y="655"/>
                  </a:lnTo>
                  <a:lnTo>
                    <a:pt x="3" y="655"/>
                  </a:lnTo>
                  <a:lnTo>
                    <a:pt x="3" y="657"/>
                  </a:lnTo>
                  <a:lnTo>
                    <a:pt x="3" y="655"/>
                  </a:lnTo>
                  <a:lnTo>
                    <a:pt x="1" y="651"/>
                  </a:lnTo>
                  <a:lnTo>
                    <a:pt x="1" y="651"/>
                  </a:lnTo>
                  <a:lnTo>
                    <a:pt x="1" y="661"/>
                  </a:lnTo>
                  <a:lnTo>
                    <a:pt x="1" y="671"/>
                  </a:lnTo>
                  <a:lnTo>
                    <a:pt x="1" y="671"/>
                  </a:lnTo>
                  <a:lnTo>
                    <a:pt x="3" y="674"/>
                  </a:lnTo>
                  <a:lnTo>
                    <a:pt x="5" y="675"/>
                  </a:lnTo>
                  <a:lnTo>
                    <a:pt x="5" y="675"/>
                  </a:lnTo>
                  <a:lnTo>
                    <a:pt x="5" y="683"/>
                  </a:lnTo>
                  <a:lnTo>
                    <a:pt x="7" y="685"/>
                  </a:lnTo>
                  <a:lnTo>
                    <a:pt x="8" y="687"/>
                  </a:lnTo>
                  <a:lnTo>
                    <a:pt x="8" y="687"/>
                  </a:lnTo>
                  <a:lnTo>
                    <a:pt x="7" y="688"/>
                  </a:lnTo>
                  <a:lnTo>
                    <a:pt x="7" y="688"/>
                  </a:lnTo>
                  <a:lnTo>
                    <a:pt x="7" y="687"/>
                  </a:lnTo>
                  <a:lnTo>
                    <a:pt x="5" y="688"/>
                  </a:lnTo>
                  <a:lnTo>
                    <a:pt x="5" y="688"/>
                  </a:lnTo>
                  <a:lnTo>
                    <a:pt x="7" y="694"/>
                  </a:lnTo>
                  <a:lnTo>
                    <a:pt x="7" y="694"/>
                  </a:lnTo>
                  <a:lnTo>
                    <a:pt x="7" y="700"/>
                  </a:lnTo>
                  <a:lnTo>
                    <a:pt x="7" y="700"/>
                  </a:lnTo>
                  <a:lnTo>
                    <a:pt x="8" y="703"/>
                  </a:lnTo>
                  <a:lnTo>
                    <a:pt x="10" y="705"/>
                  </a:lnTo>
                  <a:lnTo>
                    <a:pt x="10" y="705"/>
                  </a:lnTo>
                  <a:lnTo>
                    <a:pt x="8" y="705"/>
                  </a:lnTo>
                  <a:lnTo>
                    <a:pt x="7" y="704"/>
                  </a:lnTo>
                  <a:lnTo>
                    <a:pt x="7" y="701"/>
                  </a:lnTo>
                  <a:lnTo>
                    <a:pt x="5" y="701"/>
                  </a:lnTo>
                  <a:lnTo>
                    <a:pt x="5" y="701"/>
                  </a:lnTo>
                  <a:lnTo>
                    <a:pt x="5" y="698"/>
                  </a:lnTo>
                  <a:lnTo>
                    <a:pt x="5" y="697"/>
                  </a:lnTo>
                  <a:lnTo>
                    <a:pt x="5" y="694"/>
                  </a:lnTo>
                  <a:lnTo>
                    <a:pt x="4" y="693"/>
                  </a:lnTo>
                  <a:lnTo>
                    <a:pt x="4" y="693"/>
                  </a:lnTo>
                  <a:lnTo>
                    <a:pt x="4" y="694"/>
                  </a:lnTo>
                  <a:lnTo>
                    <a:pt x="4" y="698"/>
                  </a:lnTo>
                  <a:lnTo>
                    <a:pt x="5" y="707"/>
                  </a:lnTo>
                  <a:lnTo>
                    <a:pt x="5" y="707"/>
                  </a:lnTo>
                  <a:lnTo>
                    <a:pt x="5" y="710"/>
                  </a:lnTo>
                  <a:lnTo>
                    <a:pt x="5" y="713"/>
                  </a:lnTo>
                  <a:lnTo>
                    <a:pt x="5" y="713"/>
                  </a:lnTo>
                  <a:lnTo>
                    <a:pt x="8" y="724"/>
                  </a:lnTo>
                  <a:lnTo>
                    <a:pt x="8" y="724"/>
                  </a:lnTo>
                  <a:lnTo>
                    <a:pt x="8" y="728"/>
                  </a:lnTo>
                  <a:lnTo>
                    <a:pt x="8" y="733"/>
                  </a:lnTo>
                  <a:lnTo>
                    <a:pt x="8" y="733"/>
                  </a:lnTo>
                  <a:lnTo>
                    <a:pt x="10" y="734"/>
                  </a:lnTo>
                  <a:lnTo>
                    <a:pt x="10" y="733"/>
                  </a:lnTo>
                  <a:lnTo>
                    <a:pt x="10" y="733"/>
                  </a:lnTo>
                  <a:lnTo>
                    <a:pt x="11" y="740"/>
                  </a:lnTo>
                  <a:lnTo>
                    <a:pt x="11" y="745"/>
                  </a:lnTo>
                  <a:lnTo>
                    <a:pt x="11" y="745"/>
                  </a:lnTo>
                  <a:lnTo>
                    <a:pt x="13" y="750"/>
                  </a:lnTo>
                  <a:lnTo>
                    <a:pt x="14" y="754"/>
                  </a:lnTo>
                  <a:lnTo>
                    <a:pt x="14" y="754"/>
                  </a:lnTo>
                  <a:lnTo>
                    <a:pt x="14" y="750"/>
                  </a:lnTo>
                  <a:lnTo>
                    <a:pt x="14" y="747"/>
                  </a:lnTo>
                  <a:lnTo>
                    <a:pt x="13" y="743"/>
                  </a:lnTo>
                  <a:lnTo>
                    <a:pt x="13" y="738"/>
                  </a:lnTo>
                  <a:lnTo>
                    <a:pt x="13" y="738"/>
                  </a:lnTo>
                  <a:lnTo>
                    <a:pt x="13" y="737"/>
                  </a:lnTo>
                  <a:lnTo>
                    <a:pt x="14" y="737"/>
                  </a:lnTo>
                  <a:lnTo>
                    <a:pt x="14" y="735"/>
                  </a:lnTo>
                  <a:lnTo>
                    <a:pt x="14" y="733"/>
                  </a:lnTo>
                  <a:lnTo>
                    <a:pt x="14" y="733"/>
                  </a:lnTo>
                  <a:lnTo>
                    <a:pt x="15" y="735"/>
                  </a:lnTo>
                  <a:lnTo>
                    <a:pt x="15" y="738"/>
                  </a:lnTo>
                  <a:lnTo>
                    <a:pt x="15" y="743"/>
                  </a:lnTo>
                  <a:lnTo>
                    <a:pt x="15" y="743"/>
                  </a:lnTo>
                  <a:lnTo>
                    <a:pt x="17" y="744"/>
                  </a:lnTo>
                  <a:lnTo>
                    <a:pt x="17" y="741"/>
                  </a:lnTo>
                  <a:lnTo>
                    <a:pt x="17" y="738"/>
                  </a:lnTo>
                  <a:lnTo>
                    <a:pt x="17" y="738"/>
                  </a:lnTo>
                  <a:lnTo>
                    <a:pt x="17" y="738"/>
                  </a:lnTo>
                  <a:lnTo>
                    <a:pt x="15" y="734"/>
                  </a:lnTo>
                  <a:lnTo>
                    <a:pt x="15" y="731"/>
                  </a:lnTo>
                  <a:lnTo>
                    <a:pt x="15" y="731"/>
                  </a:lnTo>
                  <a:lnTo>
                    <a:pt x="14" y="727"/>
                  </a:lnTo>
                  <a:lnTo>
                    <a:pt x="14" y="725"/>
                  </a:lnTo>
                  <a:lnTo>
                    <a:pt x="14" y="725"/>
                  </a:lnTo>
                  <a:lnTo>
                    <a:pt x="14" y="730"/>
                  </a:lnTo>
                  <a:lnTo>
                    <a:pt x="14" y="731"/>
                  </a:lnTo>
                  <a:lnTo>
                    <a:pt x="13" y="731"/>
                  </a:lnTo>
                  <a:lnTo>
                    <a:pt x="13" y="731"/>
                  </a:lnTo>
                  <a:lnTo>
                    <a:pt x="13" y="727"/>
                  </a:lnTo>
                  <a:lnTo>
                    <a:pt x="11" y="723"/>
                  </a:lnTo>
                  <a:lnTo>
                    <a:pt x="11" y="723"/>
                  </a:lnTo>
                  <a:lnTo>
                    <a:pt x="13" y="723"/>
                  </a:lnTo>
                  <a:lnTo>
                    <a:pt x="13" y="723"/>
                  </a:lnTo>
                  <a:lnTo>
                    <a:pt x="14" y="720"/>
                  </a:lnTo>
                  <a:lnTo>
                    <a:pt x="14" y="720"/>
                  </a:lnTo>
                  <a:lnTo>
                    <a:pt x="13" y="720"/>
                  </a:lnTo>
                  <a:lnTo>
                    <a:pt x="13" y="717"/>
                  </a:lnTo>
                  <a:lnTo>
                    <a:pt x="13" y="710"/>
                  </a:lnTo>
                  <a:lnTo>
                    <a:pt x="13" y="710"/>
                  </a:lnTo>
                  <a:lnTo>
                    <a:pt x="14" y="710"/>
                  </a:lnTo>
                  <a:lnTo>
                    <a:pt x="14" y="714"/>
                  </a:lnTo>
                  <a:lnTo>
                    <a:pt x="14" y="714"/>
                  </a:lnTo>
                  <a:lnTo>
                    <a:pt x="14" y="707"/>
                  </a:lnTo>
                  <a:lnTo>
                    <a:pt x="14" y="697"/>
                  </a:lnTo>
                  <a:lnTo>
                    <a:pt x="14" y="697"/>
                  </a:lnTo>
                  <a:lnTo>
                    <a:pt x="14" y="694"/>
                  </a:lnTo>
                  <a:lnTo>
                    <a:pt x="14" y="690"/>
                  </a:lnTo>
                  <a:lnTo>
                    <a:pt x="15" y="685"/>
                  </a:lnTo>
                  <a:lnTo>
                    <a:pt x="15" y="683"/>
                  </a:lnTo>
                  <a:lnTo>
                    <a:pt x="15" y="683"/>
                  </a:lnTo>
                  <a:lnTo>
                    <a:pt x="14" y="677"/>
                  </a:lnTo>
                  <a:lnTo>
                    <a:pt x="13" y="671"/>
                  </a:lnTo>
                  <a:lnTo>
                    <a:pt x="13" y="671"/>
                  </a:lnTo>
                  <a:lnTo>
                    <a:pt x="14" y="671"/>
                  </a:lnTo>
                  <a:lnTo>
                    <a:pt x="14" y="671"/>
                  </a:lnTo>
                  <a:lnTo>
                    <a:pt x="15" y="674"/>
                  </a:lnTo>
                  <a:lnTo>
                    <a:pt x="15" y="674"/>
                  </a:lnTo>
                  <a:lnTo>
                    <a:pt x="15" y="671"/>
                  </a:lnTo>
                  <a:lnTo>
                    <a:pt x="15" y="667"/>
                  </a:lnTo>
                  <a:lnTo>
                    <a:pt x="15" y="667"/>
                  </a:lnTo>
                  <a:lnTo>
                    <a:pt x="15" y="660"/>
                  </a:lnTo>
                  <a:lnTo>
                    <a:pt x="15" y="660"/>
                  </a:lnTo>
                  <a:lnTo>
                    <a:pt x="14" y="660"/>
                  </a:lnTo>
                  <a:lnTo>
                    <a:pt x="14" y="663"/>
                  </a:lnTo>
                  <a:lnTo>
                    <a:pt x="14" y="663"/>
                  </a:lnTo>
                  <a:lnTo>
                    <a:pt x="13" y="657"/>
                  </a:lnTo>
                  <a:lnTo>
                    <a:pt x="13" y="654"/>
                  </a:lnTo>
                  <a:lnTo>
                    <a:pt x="13" y="654"/>
                  </a:lnTo>
                  <a:lnTo>
                    <a:pt x="13" y="654"/>
                  </a:lnTo>
                  <a:lnTo>
                    <a:pt x="14" y="653"/>
                  </a:lnTo>
                  <a:lnTo>
                    <a:pt x="14" y="650"/>
                  </a:lnTo>
                  <a:lnTo>
                    <a:pt x="14" y="650"/>
                  </a:lnTo>
                  <a:lnTo>
                    <a:pt x="14" y="648"/>
                  </a:lnTo>
                  <a:lnTo>
                    <a:pt x="14" y="650"/>
                  </a:lnTo>
                  <a:lnTo>
                    <a:pt x="15" y="653"/>
                  </a:lnTo>
                  <a:lnTo>
                    <a:pt x="15" y="653"/>
                  </a:lnTo>
                  <a:lnTo>
                    <a:pt x="15" y="644"/>
                  </a:lnTo>
                  <a:lnTo>
                    <a:pt x="15" y="640"/>
                  </a:lnTo>
                  <a:lnTo>
                    <a:pt x="17" y="635"/>
                  </a:lnTo>
                  <a:lnTo>
                    <a:pt x="17" y="635"/>
                  </a:lnTo>
                  <a:lnTo>
                    <a:pt x="15" y="633"/>
                  </a:lnTo>
                  <a:lnTo>
                    <a:pt x="15" y="630"/>
                  </a:lnTo>
                  <a:lnTo>
                    <a:pt x="17" y="625"/>
                  </a:lnTo>
                  <a:lnTo>
                    <a:pt x="15" y="621"/>
                  </a:lnTo>
                  <a:lnTo>
                    <a:pt x="15" y="621"/>
                  </a:lnTo>
                  <a:lnTo>
                    <a:pt x="17" y="621"/>
                  </a:lnTo>
                  <a:lnTo>
                    <a:pt x="17" y="620"/>
                  </a:lnTo>
                  <a:lnTo>
                    <a:pt x="17" y="617"/>
                  </a:lnTo>
                  <a:lnTo>
                    <a:pt x="18" y="615"/>
                  </a:lnTo>
                  <a:lnTo>
                    <a:pt x="18" y="615"/>
                  </a:lnTo>
                  <a:lnTo>
                    <a:pt x="18" y="623"/>
                  </a:lnTo>
                  <a:lnTo>
                    <a:pt x="17" y="628"/>
                  </a:lnTo>
                  <a:lnTo>
                    <a:pt x="17" y="628"/>
                  </a:lnTo>
                  <a:lnTo>
                    <a:pt x="18" y="633"/>
                  </a:lnTo>
                  <a:lnTo>
                    <a:pt x="18" y="638"/>
                  </a:lnTo>
                  <a:lnTo>
                    <a:pt x="15" y="650"/>
                  </a:lnTo>
                  <a:lnTo>
                    <a:pt x="15" y="650"/>
                  </a:lnTo>
                  <a:lnTo>
                    <a:pt x="18" y="651"/>
                  </a:lnTo>
                  <a:lnTo>
                    <a:pt x="20" y="655"/>
                  </a:lnTo>
                  <a:lnTo>
                    <a:pt x="20" y="655"/>
                  </a:lnTo>
                  <a:lnTo>
                    <a:pt x="18" y="651"/>
                  </a:lnTo>
                  <a:lnTo>
                    <a:pt x="18" y="645"/>
                  </a:lnTo>
                  <a:lnTo>
                    <a:pt x="18" y="634"/>
                  </a:lnTo>
                  <a:lnTo>
                    <a:pt x="18" y="634"/>
                  </a:lnTo>
                  <a:lnTo>
                    <a:pt x="20" y="623"/>
                  </a:lnTo>
                  <a:lnTo>
                    <a:pt x="20" y="617"/>
                  </a:lnTo>
                  <a:lnTo>
                    <a:pt x="18" y="613"/>
                  </a:lnTo>
                  <a:lnTo>
                    <a:pt x="18" y="613"/>
                  </a:lnTo>
                  <a:lnTo>
                    <a:pt x="18" y="601"/>
                  </a:lnTo>
                  <a:lnTo>
                    <a:pt x="20" y="591"/>
                  </a:lnTo>
                  <a:lnTo>
                    <a:pt x="20" y="591"/>
                  </a:lnTo>
                  <a:lnTo>
                    <a:pt x="18" y="590"/>
                  </a:lnTo>
                  <a:lnTo>
                    <a:pt x="18" y="593"/>
                  </a:lnTo>
                  <a:lnTo>
                    <a:pt x="18" y="593"/>
                  </a:lnTo>
                  <a:lnTo>
                    <a:pt x="17" y="586"/>
                  </a:lnTo>
                  <a:lnTo>
                    <a:pt x="17" y="586"/>
                  </a:lnTo>
                  <a:lnTo>
                    <a:pt x="18" y="578"/>
                  </a:lnTo>
                  <a:lnTo>
                    <a:pt x="18" y="578"/>
                  </a:lnTo>
                  <a:lnTo>
                    <a:pt x="18" y="584"/>
                  </a:lnTo>
                  <a:lnTo>
                    <a:pt x="18" y="590"/>
                  </a:lnTo>
                  <a:lnTo>
                    <a:pt x="18" y="590"/>
                  </a:lnTo>
                  <a:lnTo>
                    <a:pt x="21" y="580"/>
                  </a:lnTo>
                  <a:lnTo>
                    <a:pt x="21" y="580"/>
                  </a:lnTo>
                  <a:lnTo>
                    <a:pt x="20" y="574"/>
                  </a:lnTo>
                  <a:lnTo>
                    <a:pt x="20" y="574"/>
                  </a:lnTo>
                  <a:lnTo>
                    <a:pt x="21" y="570"/>
                  </a:lnTo>
                  <a:lnTo>
                    <a:pt x="21" y="570"/>
                  </a:lnTo>
                  <a:lnTo>
                    <a:pt x="21" y="568"/>
                  </a:lnTo>
                  <a:lnTo>
                    <a:pt x="23" y="570"/>
                  </a:lnTo>
                  <a:lnTo>
                    <a:pt x="23" y="573"/>
                  </a:lnTo>
                  <a:lnTo>
                    <a:pt x="23" y="573"/>
                  </a:lnTo>
                  <a:lnTo>
                    <a:pt x="23" y="568"/>
                  </a:lnTo>
                  <a:lnTo>
                    <a:pt x="23" y="567"/>
                  </a:lnTo>
                  <a:lnTo>
                    <a:pt x="23" y="564"/>
                  </a:lnTo>
                  <a:lnTo>
                    <a:pt x="23" y="558"/>
                  </a:lnTo>
                  <a:lnTo>
                    <a:pt x="23" y="558"/>
                  </a:lnTo>
                  <a:lnTo>
                    <a:pt x="23" y="558"/>
                  </a:lnTo>
                  <a:lnTo>
                    <a:pt x="21" y="560"/>
                  </a:lnTo>
                  <a:lnTo>
                    <a:pt x="21" y="560"/>
                  </a:lnTo>
                  <a:lnTo>
                    <a:pt x="21" y="553"/>
                  </a:lnTo>
                  <a:lnTo>
                    <a:pt x="21" y="553"/>
                  </a:lnTo>
                  <a:lnTo>
                    <a:pt x="23" y="554"/>
                  </a:lnTo>
                  <a:lnTo>
                    <a:pt x="23" y="553"/>
                  </a:lnTo>
                  <a:lnTo>
                    <a:pt x="24" y="548"/>
                  </a:lnTo>
                  <a:lnTo>
                    <a:pt x="24" y="548"/>
                  </a:lnTo>
                  <a:lnTo>
                    <a:pt x="28" y="536"/>
                  </a:lnTo>
                  <a:lnTo>
                    <a:pt x="28" y="536"/>
                  </a:lnTo>
                  <a:lnTo>
                    <a:pt x="27" y="548"/>
                  </a:lnTo>
                  <a:lnTo>
                    <a:pt x="27" y="548"/>
                  </a:lnTo>
                  <a:lnTo>
                    <a:pt x="25" y="556"/>
                  </a:lnTo>
                  <a:lnTo>
                    <a:pt x="25" y="557"/>
                  </a:lnTo>
                  <a:lnTo>
                    <a:pt x="27" y="558"/>
                  </a:lnTo>
                  <a:lnTo>
                    <a:pt x="27" y="558"/>
                  </a:lnTo>
                  <a:lnTo>
                    <a:pt x="25" y="568"/>
                  </a:lnTo>
                  <a:lnTo>
                    <a:pt x="24" y="578"/>
                  </a:lnTo>
                  <a:lnTo>
                    <a:pt x="24" y="578"/>
                  </a:lnTo>
                  <a:lnTo>
                    <a:pt x="24" y="577"/>
                  </a:lnTo>
                  <a:lnTo>
                    <a:pt x="25" y="574"/>
                  </a:lnTo>
                  <a:lnTo>
                    <a:pt x="25" y="574"/>
                  </a:lnTo>
                  <a:lnTo>
                    <a:pt x="27" y="567"/>
                  </a:lnTo>
                  <a:lnTo>
                    <a:pt x="27" y="567"/>
                  </a:lnTo>
                  <a:lnTo>
                    <a:pt x="27" y="573"/>
                  </a:lnTo>
                  <a:lnTo>
                    <a:pt x="27" y="577"/>
                  </a:lnTo>
                  <a:lnTo>
                    <a:pt x="27" y="577"/>
                  </a:lnTo>
                  <a:lnTo>
                    <a:pt x="25" y="578"/>
                  </a:lnTo>
                  <a:lnTo>
                    <a:pt x="25" y="581"/>
                  </a:lnTo>
                  <a:lnTo>
                    <a:pt x="25" y="583"/>
                  </a:lnTo>
                  <a:lnTo>
                    <a:pt x="24" y="584"/>
                  </a:lnTo>
                  <a:lnTo>
                    <a:pt x="24" y="584"/>
                  </a:lnTo>
                  <a:lnTo>
                    <a:pt x="24" y="588"/>
                  </a:lnTo>
                  <a:lnTo>
                    <a:pt x="25" y="588"/>
                  </a:lnTo>
                  <a:lnTo>
                    <a:pt x="27" y="587"/>
                  </a:lnTo>
                  <a:lnTo>
                    <a:pt x="27" y="587"/>
                  </a:lnTo>
                  <a:lnTo>
                    <a:pt x="27" y="590"/>
                  </a:lnTo>
                  <a:lnTo>
                    <a:pt x="25" y="591"/>
                  </a:lnTo>
                  <a:lnTo>
                    <a:pt x="24" y="593"/>
                  </a:lnTo>
                  <a:lnTo>
                    <a:pt x="24" y="593"/>
                  </a:lnTo>
                  <a:lnTo>
                    <a:pt x="25" y="597"/>
                  </a:lnTo>
                  <a:lnTo>
                    <a:pt x="25" y="601"/>
                  </a:lnTo>
                  <a:lnTo>
                    <a:pt x="25" y="601"/>
                  </a:lnTo>
                  <a:lnTo>
                    <a:pt x="24" y="604"/>
                  </a:lnTo>
                  <a:lnTo>
                    <a:pt x="23" y="606"/>
                  </a:lnTo>
                  <a:lnTo>
                    <a:pt x="23" y="606"/>
                  </a:lnTo>
                  <a:lnTo>
                    <a:pt x="24" y="610"/>
                  </a:lnTo>
                  <a:lnTo>
                    <a:pt x="23" y="613"/>
                  </a:lnTo>
                  <a:lnTo>
                    <a:pt x="23" y="613"/>
                  </a:lnTo>
                  <a:lnTo>
                    <a:pt x="23" y="621"/>
                  </a:lnTo>
                  <a:lnTo>
                    <a:pt x="24" y="630"/>
                  </a:lnTo>
                  <a:lnTo>
                    <a:pt x="24" y="630"/>
                  </a:lnTo>
                  <a:lnTo>
                    <a:pt x="23" y="631"/>
                  </a:lnTo>
                  <a:lnTo>
                    <a:pt x="23" y="631"/>
                  </a:lnTo>
                  <a:lnTo>
                    <a:pt x="23" y="630"/>
                  </a:lnTo>
                  <a:lnTo>
                    <a:pt x="21" y="630"/>
                  </a:lnTo>
                  <a:lnTo>
                    <a:pt x="21" y="630"/>
                  </a:lnTo>
                  <a:lnTo>
                    <a:pt x="21" y="620"/>
                  </a:lnTo>
                  <a:lnTo>
                    <a:pt x="21" y="617"/>
                  </a:lnTo>
                  <a:lnTo>
                    <a:pt x="20" y="615"/>
                  </a:lnTo>
                  <a:lnTo>
                    <a:pt x="20" y="615"/>
                  </a:lnTo>
                  <a:lnTo>
                    <a:pt x="21" y="620"/>
                  </a:lnTo>
                  <a:lnTo>
                    <a:pt x="21" y="624"/>
                  </a:lnTo>
                  <a:lnTo>
                    <a:pt x="21" y="624"/>
                  </a:lnTo>
                  <a:lnTo>
                    <a:pt x="20" y="627"/>
                  </a:lnTo>
                  <a:lnTo>
                    <a:pt x="20" y="627"/>
                  </a:lnTo>
                  <a:lnTo>
                    <a:pt x="21" y="631"/>
                  </a:lnTo>
                  <a:lnTo>
                    <a:pt x="20" y="637"/>
                  </a:lnTo>
                  <a:lnTo>
                    <a:pt x="20" y="637"/>
                  </a:lnTo>
                  <a:lnTo>
                    <a:pt x="21" y="640"/>
                  </a:lnTo>
                  <a:lnTo>
                    <a:pt x="23" y="640"/>
                  </a:lnTo>
                  <a:lnTo>
                    <a:pt x="23" y="640"/>
                  </a:lnTo>
                  <a:lnTo>
                    <a:pt x="24" y="643"/>
                  </a:lnTo>
                  <a:lnTo>
                    <a:pt x="24" y="643"/>
                  </a:lnTo>
                  <a:lnTo>
                    <a:pt x="24" y="647"/>
                  </a:lnTo>
                  <a:lnTo>
                    <a:pt x="24" y="647"/>
                  </a:lnTo>
                  <a:lnTo>
                    <a:pt x="24" y="648"/>
                  </a:lnTo>
                  <a:lnTo>
                    <a:pt x="23" y="648"/>
                  </a:lnTo>
                  <a:lnTo>
                    <a:pt x="21" y="645"/>
                  </a:lnTo>
                  <a:lnTo>
                    <a:pt x="21" y="645"/>
                  </a:lnTo>
                  <a:lnTo>
                    <a:pt x="21" y="650"/>
                  </a:lnTo>
                  <a:lnTo>
                    <a:pt x="21" y="655"/>
                  </a:lnTo>
                  <a:lnTo>
                    <a:pt x="21" y="655"/>
                  </a:lnTo>
                  <a:lnTo>
                    <a:pt x="21" y="657"/>
                  </a:lnTo>
                  <a:lnTo>
                    <a:pt x="23" y="655"/>
                  </a:lnTo>
                  <a:lnTo>
                    <a:pt x="23" y="655"/>
                  </a:lnTo>
                  <a:lnTo>
                    <a:pt x="23" y="665"/>
                  </a:lnTo>
                  <a:lnTo>
                    <a:pt x="23" y="670"/>
                  </a:lnTo>
                  <a:lnTo>
                    <a:pt x="24" y="675"/>
                  </a:lnTo>
                  <a:lnTo>
                    <a:pt x="24" y="675"/>
                  </a:lnTo>
                  <a:lnTo>
                    <a:pt x="25" y="693"/>
                  </a:lnTo>
                  <a:lnTo>
                    <a:pt x="25" y="693"/>
                  </a:lnTo>
                  <a:lnTo>
                    <a:pt x="25" y="700"/>
                  </a:lnTo>
                  <a:lnTo>
                    <a:pt x="25" y="707"/>
                  </a:lnTo>
                  <a:lnTo>
                    <a:pt x="25" y="707"/>
                  </a:lnTo>
                  <a:lnTo>
                    <a:pt x="27" y="713"/>
                  </a:lnTo>
                  <a:lnTo>
                    <a:pt x="27" y="718"/>
                  </a:lnTo>
                  <a:lnTo>
                    <a:pt x="27" y="718"/>
                  </a:lnTo>
                  <a:lnTo>
                    <a:pt x="30" y="720"/>
                  </a:lnTo>
                  <a:lnTo>
                    <a:pt x="31" y="721"/>
                  </a:lnTo>
                  <a:lnTo>
                    <a:pt x="31" y="721"/>
                  </a:lnTo>
                  <a:lnTo>
                    <a:pt x="33" y="713"/>
                  </a:lnTo>
                  <a:lnTo>
                    <a:pt x="33" y="713"/>
                  </a:lnTo>
                  <a:lnTo>
                    <a:pt x="31" y="711"/>
                  </a:lnTo>
                  <a:lnTo>
                    <a:pt x="28" y="708"/>
                  </a:lnTo>
                  <a:lnTo>
                    <a:pt x="28" y="708"/>
                  </a:lnTo>
                  <a:lnTo>
                    <a:pt x="28" y="701"/>
                  </a:lnTo>
                  <a:lnTo>
                    <a:pt x="25" y="694"/>
                  </a:lnTo>
                  <a:lnTo>
                    <a:pt x="25" y="694"/>
                  </a:lnTo>
                  <a:lnTo>
                    <a:pt x="27" y="693"/>
                  </a:lnTo>
                  <a:lnTo>
                    <a:pt x="28" y="695"/>
                  </a:lnTo>
                  <a:lnTo>
                    <a:pt x="30" y="700"/>
                  </a:lnTo>
                  <a:lnTo>
                    <a:pt x="30" y="700"/>
                  </a:lnTo>
                  <a:lnTo>
                    <a:pt x="30" y="693"/>
                  </a:lnTo>
                  <a:lnTo>
                    <a:pt x="30" y="690"/>
                  </a:lnTo>
                  <a:lnTo>
                    <a:pt x="31" y="690"/>
                  </a:lnTo>
                  <a:lnTo>
                    <a:pt x="31" y="690"/>
                  </a:lnTo>
                  <a:lnTo>
                    <a:pt x="30" y="678"/>
                  </a:lnTo>
                  <a:lnTo>
                    <a:pt x="30" y="673"/>
                  </a:lnTo>
                  <a:lnTo>
                    <a:pt x="30" y="667"/>
                  </a:lnTo>
                  <a:lnTo>
                    <a:pt x="30" y="667"/>
                  </a:lnTo>
                  <a:lnTo>
                    <a:pt x="33" y="681"/>
                  </a:lnTo>
                  <a:lnTo>
                    <a:pt x="33" y="681"/>
                  </a:lnTo>
                  <a:lnTo>
                    <a:pt x="33" y="675"/>
                  </a:lnTo>
                  <a:lnTo>
                    <a:pt x="33" y="671"/>
                  </a:lnTo>
                  <a:lnTo>
                    <a:pt x="33" y="671"/>
                  </a:lnTo>
                  <a:lnTo>
                    <a:pt x="31" y="670"/>
                  </a:lnTo>
                  <a:lnTo>
                    <a:pt x="33" y="667"/>
                  </a:lnTo>
                  <a:lnTo>
                    <a:pt x="33" y="667"/>
                  </a:lnTo>
                  <a:lnTo>
                    <a:pt x="31" y="661"/>
                  </a:lnTo>
                  <a:lnTo>
                    <a:pt x="31" y="661"/>
                  </a:lnTo>
                  <a:lnTo>
                    <a:pt x="31" y="654"/>
                  </a:lnTo>
                  <a:lnTo>
                    <a:pt x="31" y="654"/>
                  </a:lnTo>
                  <a:lnTo>
                    <a:pt x="31" y="648"/>
                  </a:lnTo>
                  <a:lnTo>
                    <a:pt x="31" y="641"/>
                  </a:lnTo>
                  <a:lnTo>
                    <a:pt x="31" y="641"/>
                  </a:lnTo>
                  <a:lnTo>
                    <a:pt x="33" y="640"/>
                  </a:lnTo>
                  <a:lnTo>
                    <a:pt x="33" y="641"/>
                  </a:lnTo>
                  <a:lnTo>
                    <a:pt x="34" y="644"/>
                  </a:lnTo>
                  <a:lnTo>
                    <a:pt x="34" y="644"/>
                  </a:lnTo>
                  <a:lnTo>
                    <a:pt x="34" y="640"/>
                  </a:lnTo>
                  <a:lnTo>
                    <a:pt x="34" y="635"/>
                  </a:lnTo>
                  <a:lnTo>
                    <a:pt x="34" y="635"/>
                  </a:lnTo>
                  <a:lnTo>
                    <a:pt x="33" y="637"/>
                  </a:lnTo>
                  <a:lnTo>
                    <a:pt x="31" y="643"/>
                  </a:lnTo>
                  <a:lnTo>
                    <a:pt x="31" y="643"/>
                  </a:lnTo>
                  <a:lnTo>
                    <a:pt x="30" y="641"/>
                  </a:lnTo>
                  <a:lnTo>
                    <a:pt x="30" y="641"/>
                  </a:lnTo>
                  <a:lnTo>
                    <a:pt x="30" y="634"/>
                  </a:lnTo>
                  <a:lnTo>
                    <a:pt x="30" y="634"/>
                  </a:lnTo>
                  <a:lnTo>
                    <a:pt x="30" y="633"/>
                  </a:lnTo>
                  <a:lnTo>
                    <a:pt x="30" y="634"/>
                  </a:lnTo>
                  <a:lnTo>
                    <a:pt x="31" y="634"/>
                  </a:lnTo>
                  <a:lnTo>
                    <a:pt x="31" y="631"/>
                  </a:lnTo>
                  <a:lnTo>
                    <a:pt x="31" y="631"/>
                  </a:lnTo>
                  <a:lnTo>
                    <a:pt x="30" y="630"/>
                  </a:lnTo>
                  <a:lnTo>
                    <a:pt x="30" y="628"/>
                  </a:lnTo>
                  <a:lnTo>
                    <a:pt x="30" y="628"/>
                  </a:lnTo>
                  <a:lnTo>
                    <a:pt x="30" y="624"/>
                  </a:lnTo>
                  <a:lnTo>
                    <a:pt x="30" y="624"/>
                  </a:lnTo>
                  <a:lnTo>
                    <a:pt x="30" y="623"/>
                  </a:lnTo>
                  <a:lnTo>
                    <a:pt x="31" y="624"/>
                  </a:lnTo>
                  <a:lnTo>
                    <a:pt x="31" y="625"/>
                  </a:lnTo>
                  <a:lnTo>
                    <a:pt x="31" y="625"/>
                  </a:lnTo>
                  <a:lnTo>
                    <a:pt x="31" y="631"/>
                  </a:lnTo>
                  <a:lnTo>
                    <a:pt x="31" y="634"/>
                  </a:lnTo>
                  <a:lnTo>
                    <a:pt x="31" y="635"/>
                  </a:lnTo>
                  <a:lnTo>
                    <a:pt x="31" y="635"/>
                  </a:lnTo>
                  <a:lnTo>
                    <a:pt x="33" y="610"/>
                  </a:lnTo>
                  <a:lnTo>
                    <a:pt x="35" y="584"/>
                  </a:lnTo>
                  <a:lnTo>
                    <a:pt x="38" y="560"/>
                  </a:lnTo>
                  <a:lnTo>
                    <a:pt x="44" y="534"/>
                  </a:lnTo>
                  <a:lnTo>
                    <a:pt x="44" y="534"/>
                  </a:lnTo>
                  <a:lnTo>
                    <a:pt x="43" y="531"/>
                  </a:lnTo>
                  <a:lnTo>
                    <a:pt x="44" y="526"/>
                  </a:lnTo>
                  <a:lnTo>
                    <a:pt x="45" y="521"/>
                  </a:lnTo>
                  <a:lnTo>
                    <a:pt x="47" y="518"/>
                  </a:lnTo>
                  <a:lnTo>
                    <a:pt x="47" y="518"/>
                  </a:lnTo>
                  <a:lnTo>
                    <a:pt x="45" y="518"/>
                  </a:lnTo>
                  <a:lnTo>
                    <a:pt x="45" y="518"/>
                  </a:lnTo>
                  <a:lnTo>
                    <a:pt x="44" y="518"/>
                  </a:lnTo>
                  <a:lnTo>
                    <a:pt x="43" y="517"/>
                  </a:lnTo>
                  <a:lnTo>
                    <a:pt x="43" y="517"/>
                  </a:lnTo>
                  <a:lnTo>
                    <a:pt x="44" y="513"/>
                  </a:lnTo>
                  <a:lnTo>
                    <a:pt x="45" y="511"/>
                  </a:lnTo>
                  <a:lnTo>
                    <a:pt x="45" y="508"/>
                  </a:lnTo>
                  <a:lnTo>
                    <a:pt x="47" y="506"/>
                  </a:lnTo>
                  <a:lnTo>
                    <a:pt x="47" y="506"/>
                  </a:lnTo>
                  <a:lnTo>
                    <a:pt x="47" y="506"/>
                  </a:lnTo>
                  <a:lnTo>
                    <a:pt x="47" y="507"/>
                  </a:lnTo>
                  <a:lnTo>
                    <a:pt x="47" y="507"/>
                  </a:lnTo>
                  <a:lnTo>
                    <a:pt x="48" y="500"/>
                  </a:lnTo>
                  <a:lnTo>
                    <a:pt x="50" y="491"/>
                  </a:lnTo>
                  <a:lnTo>
                    <a:pt x="50" y="491"/>
                  </a:lnTo>
                  <a:lnTo>
                    <a:pt x="51" y="493"/>
                  </a:lnTo>
                  <a:lnTo>
                    <a:pt x="53" y="493"/>
                  </a:lnTo>
                  <a:lnTo>
                    <a:pt x="54" y="487"/>
                  </a:lnTo>
                  <a:lnTo>
                    <a:pt x="57" y="478"/>
                  </a:lnTo>
                  <a:lnTo>
                    <a:pt x="60" y="471"/>
                  </a:lnTo>
                  <a:lnTo>
                    <a:pt x="60" y="471"/>
                  </a:lnTo>
                  <a:lnTo>
                    <a:pt x="60" y="470"/>
                  </a:lnTo>
                  <a:lnTo>
                    <a:pt x="60" y="470"/>
                  </a:lnTo>
                  <a:lnTo>
                    <a:pt x="58" y="473"/>
                  </a:lnTo>
                  <a:lnTo>
                    <a:pt x="58" y="473"/>
                  </a:lnTo>
                  <a:lnTo>
                    <a:pt x="60" y="467"/>
                  </a:lnTo>
                  <a:lnTo>
                    <a:pt x="63" y="461"/>
                  </a:lnTo>
                  <a:lnTo>
                    <a:pt x="63" y="461"/>
                  </a:lnTo>
                  <a:lnTo>
                    <a:pt x="63" y="461"/>
                  </a:lnTo>
                  <a:lnTo>
                    <a:pt x="61" y="461"/>
                  </a:lnTo>
                  <a:lnTo>
                    <a:pt x="61" y="461"/>
                  </a:lnTo>
                  <a:lnTo>
                    <a:pt x="61" y="461"/>
                  </a:lnTo>
                  <a:lnTo>
                    <a:pt x="61" y="461"/>
                  </a:lnTo>
                  <a:lnTo>
                    <a:pt x="64" y="456"/>
                  </a:lnTo>
                  <a:lnTo>
                    <a:pt x="64" y="456"/>
                  </a:lnTo>
                  <a:lnTo>
                    <a:pt x="63" y="450"/>
                  </a:lnTo>
                  <a:lnTo>
                    <a:pt x="63" y="450"/>
                  </a:lnTo>
                  <a:lnTo>
                    <a:pt x="64" y="447"/>
                  </a:lnTo>
                  <a:lnTo>
                    <a:pt x="64" y="447"/>
                  </a:lnTo>
                  <a:lnTo>
                    <a:pt x="65" y="446"/>
                  </a:lnTo>
                  <a:lnTo>
                    <a:pt x="65" y="441"/>
                  </a:lnTo>
                  <a:lnTo>
                    <a:pt x="65" y="441"/>
                  </a:lnTo>
                  <a:lnTo>
                    <a:pt x="67" y="441"/>
                  </a:lnTo>
                  <a:lnTo>
                    <a:pt x="67" y="441"/>
                  </a:lnTo>
                  <a:lnTo>
                    <a:pt x="67" y="444"/>
                  </a:lnTo>
                  <a:lnTo>
                    <a:pt x="67" y="444"/>
                  </a:lnTo>
                  <a:lnTo>
                    <a:pt x="68" y="441"/>
                  </a:lnTo>
                  <a:lnTo>
                    <a:pt x="68" y="441"/>
                  </a:lnTo>
                  <a:lnTo>
                    <a:pt x="70" y="439"/>
                  </a:lnTo>
                  <a:lnTo>
                    <a:pt x="70" y="439"/>
                  </a:lnTo>
                  <a:lnTo>
                    <a:pt x="72" y="434"/>
                  </a:lnTo>
                  <a:lnTo>
                    <a:pt x="72" y="434"/>
                  </a:lnTo>
                  <a:lnTo>
                    <a:pt x="77" y="420"/>
                  </a:lnTo>
                  <a:lnTo>
                    <a:pt x="77" y="420"/>
                  </a:lnTo>
                  <a:lnTo>
                    <a:pt x="78" y="420"/>
                  </a:lnTo>
                  <a:lnTo>
                    <a:pt x="78" y="421"/>
                  </a:lnTo>
                  <a:lnTo>
                    <a:pt x="78" y="421"/>
                  </a:lnTo>
                  <a:lnTo>
                    <a:pt x="80" y="414"/>
                  </a:lnTo>
                  <a:lnTo>
                    <a:pt x="80" y="414"/>
                  </a:lnTo>
                  <a:lnTo>
                    <a:pt x="82" y="407"/>
                  </a:lnTo>
                  <a:lnTo>
                    <a:pt x="82" y="407"/>
                  </a:lnTo>
                  <a:lnTo>
                    <a:pt x="88" y="393"/>
                  </a:lnTo>
                  <a:lnTo>
                    <a:pt x="88" y="393"/>
                  </a:lnTo>
                  <a:lnTo>
                    <a:pt x="90" y="393"/>
                  </a:lnTo>
                  <a:lnTo>
                    <a:pt x="90" y="393"/>
                  </a:lnTo>
                  <a:lnTo>
                    <a:pt x="90" y="393"/>
                  </a:lnTo>
                  <a:lnTo>
                    <a:pt x="92" y="381"/>
                  </a:lnTo>
                  <a:lnTo>
                    <a:pt x="92" y="381"/>
                  </a:lnTo>
                  <a:lnTo>
                    <a:pt x="95" y="379"/>
                  </a:lnTo>
                  <a:lnTo>
                    <a:pt x="94" y="381"/>
                  </a:lnTo>
                  <a:lnTo>
                    <a:pt x="94" y="381"/>
                  </a:lnTo>
                  <a:lnTo>
                    <a:pt x="98" y="373"/>
                  </a:lnTo>
                  <a:lnTo>
                    <a:pt x="104" y="364"/>
                  </a:lnTo>
                  <a:lnTo>
                    <a:pt x="104" y="364"/>
                  </a:lnTo>
                  <a:lnTo>
                    <a:pt x="108" y="356"/>
                  </a:lnTo>
                  <a:lnTo>
                    <a:pt x="112" y="347"/>
                  </a:lnTo>
                  <a:lnTo>
                    <a:pt x="112" y="347"/>
                  </a:lnTo>
                  <a:lnTo>
                    <a:pt x="114" y="346"/>
                  </a:lnTo>
                  <a:lnTo>
                    <a:pt x="114" y="346"/>
                  </a:lnTo>
                  <a:lnTo>
                    <a:pt x="114" y="346"/>
                  </a:lnTo>
                  <a:lnTo>
                    <a:pt x="115" y="346"/>
                  </a:lnTo>
                  <a:lnTo>
                    <a:pt x="115" y="346"/>
                  </a:lnTo>
                  <a:lnTo>
                    <a:pt x="114" y="349"/>
                  </a:lnTo>
                  <a:lnTo>
                    <a:pt x="112" y="351"/>
                  </a:lnTo>
                  <a:lnTo>
                    <a:pt x="112" y="351"/>
                  </a:lnTo>
                  <a:lnTo>
                    <a:pt x="120" y="336"/>
                  </a:lnTo>
                  <a:lnTo>
                    <a:pt x="125" y="327"/>
                  </a:lnTo>
                  <a:lnTo>
                    <a:pt x="130" y="320"/>
                  </a:lnTo>
                  <a:lnTo>
                    <a:pt x="130" y="320"/>
                  </a:lnTo>
                  <a:lnTo>
                    <a:pt x="130" y="319"/>
                  </a:lnTo>
                  <a:lnTo>
                    <a:pt x="130" y="320"/>
                  </a:lnTo>
                  <a:lnTo>
                    <a:pt x="128" y="321"/>
                  </a:lnTo>
                  <a:lnTo>
                    <a:pt x="127" y="321"/>
                  </a:lnTo>
                  <a:lnTo>
                    <a:pt x="127" y="320"/>
                  </a:lnTo>
                  <a:lnTo>
                    <a:pt x="127" y="320"/>
                  </a:lnTo>
                  <a:lnTo>
                    <a:pt x="132" y="314"/>
                  </a:lnTo>
                  <a:lnTo>
                    <a:pt x="137" y="309"/>
                  </a:lnTo>
                  <a:lnTo>
                    <a:pt x="137" y="309"/>
                  </a:lnTo>
                  <a:lnTo>
                    <a:pt x="137" y="307"/>
                  </a:lnTo>
                  <a:lnTo>
                    <a:pt x="135" y="309"/>
                  </a:lnTo>
                  <a:lnTo>
                    <a:pt x="132" y="314"/>
                  </a:lnTo>
                  <a:lnTo>
                    <a:pt x="132" y="314"/>
                  </a:lnTo>
                  <a:lnTo>
                    <a:pt x="135" y="309"/>
                  </a:lnTo>
                  <a:lnTo>
                    <a:pt x="138" y="303"/>
                  </a:lnTo>
                  <a:lnTo>
                    <a:pt x="138" y="303"/>
                  </a:lnTo>
                  <a:lnTo>
                    <a:pt x="138" y="304"/>
                  </a:lnTo>
                  <a:lnTo>
                    <a:pt x="140" y="307"/>
                  </a:lnTo>
                  <a:lnTo>
                    <a:pt x="140" y="307"/>
                  </a:lnTo>
                  <a:lnTo>
                    <a:pt x="147" y="294"/>
                  </a:lnTo>
                  <a:lnTo>
                    <a:pt x="147" y="294"/>
                  </a:lnTo>
                  <a:lnTo>
                    <a:pt x="151" y="287"/>
                  </a:lnTo>
                  <a:lnTo>
                    <a:pt x="157" y="280"/>
                  </a:lnTo>
                  <a:lnTo>
                    <a:pt x="157" y="280"/>
                  </a:lnTo>
                  <a:lnTo>
                    <a:pt x="157" y="282"/>
                  </a:lnTo>
                  <a:lnTo>
                    <a:pt x="157" y="282"/>
                  </a:lnTo>
                  <a:lnTo>
                    <a:pt x="157" y="282"/>
                  </a:lnTo>
                  <a:lnTo>
                    <a:pt x="157" y="282"/>
                  </a:lnTo>
                  <a:lnTo>
                    <a:pt x="161" y="277"/>
                  </a:lnTo>
                  <a:lnTo>
                    <a:pt x="161" y="277"/>
                  </a:lnTo>
                  <a:lnTo>
                    <a:pt x="162" y="274"/>
                  </a:lnTo>
                  <a:lnTo>
                    <a:pt x="164" y="272"/>
                  </a:lnTo>
                  <a:lnTo>
                    <a:pt x="164" y="272"/>
                  </a:lnTo>
                  <a:lnTo>
                    <a:pt x="165" y="272"/>
                  </a:lnTo>
                  <a:lnTo>
                    <a:pt x="168" y="269"/>
                  </a:lnTo>
                  <a:lnTo>
                    <a:pt x="168" y="269"/>
                  </a:lnTo>
                  <a:lnTo>
                    <a:pt x="172" y="263"/>
                  </a:lnTo>
                  <a:lnTo>
                    <a:pt x="178" y="256"/>
                  </a:lnTo>
                  <a:lnTo>
                    <a:pt x="178" y="256"/>
                  </a:lnTo>
                  <a:lnTo>
                    <a:pt x="178" y="256"/>
                  </a:lnTo>
                  <a:lnTo>
                    <a:pt x="178" y="257"/>
                  </a:lnTo>
                  <a:lnTo>
                    <a:pt x="175" y="260"/>
                  </a:lnTo>
                  <a:lnTo>
                    <a:pt x="175" y="260"/>
                  </a:lnTo>
                  <a:lnTo>
                    <a:pt x="178" y="257"/>
                  </a:lnTo>
                  <a:lnTo>
                    <a:pt x="181" y="254"/>
                  </a:lnTo>
                  <a:lnTo>
                    <a:pt x="185" y="246"/>
                  </a:lnTo>
                  <a:lnTo>
                    <a:pt x="185" y="246"/>
                  </a:lnTo>
                  <a:lnTo>
                    <a:pt x="187" y="244"/>
                  </a:lnTo>
                  <a:lnTo>
                    <a:pt x="187" y="246"/>
                  </a:lnTo>
                  <a:lnTo>
                    <a:pt x="185" y="250"/>
                  </a:lnTo>
                  <a:lnTo>
                    <a:pt x="185" y="250"/>
                  </a:lnTo>
                  <a:lnTo>
                    <a:pt x="192" y="240"/>
                  </a:lnTo>
                  <a:lnTo>
                    <a:pt x="195" y="236"/>
                  </a:lnTo>
                  <a:lnTo>
                    <a:pt x="199" y="232"/>
                  </a:lnTo>
                  <a:lnTo>
                    <a:pt x="199" y="232"/>
                  </a:lnTo>
                  <a:lnTo>
                    <a:pt x="199" y="232"/>
                  </a:lnTo>
                  <a:lnTo>
                    <a:pt x="199" y="233"/>
                  </a:lnTo>
                  <a:lnTo>
                    <a:pt x="198" y="234"/>
                  </a:lnTo>
                  <a:lnTo>
                    <a:pt x="197" y="236"/>
                  </a:lnTo>
                  <a:lnTo>
                    <a:pt x="197" y="236"/>
                  </a:lnTo>
                  <a:lnTo>
                    <a:pt x="201" y="233"/>
                  </a:lnTo>
                  <a:lnTo>
                    <a:pt x="205" y="229"/>
                  </a:lnTo>
                  <a:lnTo>
                    <a:pt x="205" y="229"/>
                  </a:lnTo>
                  <a:lnTo>
                    <a:pt x="204" y="232"/>
                  </a:lnTo>
                  <a:lnTo>
                    <a:pt x="204" y="233"/>
                  </a:lnTo>
                  <a:lnTo>
                    <a:pt x="205" y="232"/>
                  </a:lnTo>
                  <a:lnTo>
                    <a:pt x="205" y="232"/>
                  </a:lnTo>
                  <a:lnTo>
                    <a:pt x="202" y="234"/>
                  </a:lnTo>
                  <a:lnTo>
                    <a:pt x="201" y="237"/>
                  </a:lnTo>
                  <a:lnTo>
                    <a:pt x="201" y="237"/>
                  </a:lnTo>
                  <a:lnTo>
                    <a:pt x="205" y="233"/>
                  </a:lnTo>
                  <a:lnTo>
                    <a:pt x="208" y="230"/>
                  </a:lnTo>
                  <a:lnTo>
                    <a:pt x="208" y="230"/>
                  </a:lnTo>
                  <a:lnTo>
                    <a:pt x="208" y="229"/>
                  </a:lnTo>
                  <a:lnTo>
                    <a:pt x="208" y="227"/>
                  </a:lnTo>
                  <a:lnTo>
                    <a:pt x="211" y="224"/>
                  </a:lnTo>
                  <a:lnTo>
                    <a:pt x="211" y="224"/>
                  </a:lnTo>
                  <a:lnTo>
                    <a:pt x="211" y="224"/>
                  </a:lnTo>
                  <a:lnTo>
                    <a:pt x="211" y="224"/>
                  </a:lnTo>
                  <a:lnTo>
                    <a:pt x="208" y="226"/>
                  </a:lnTo>
                  <a:lnTo>
                    <a:pt x="208" y="226"/>
                  </a:lnTo>
                  <a:lnTo>
                    <a:pt x="212" y="220"/>
                  </a:lnTo>
                  <a:lnTo>
                    <a:pt x="217" y="214"/>
                  </a:lnTo>
                  <a:lnTo>
                    <a:pt x="217" y="214"/>
                  </a:lnTo>
                  <a:lnTo>
                    <a:pt x="218" y="214"/>
                  </a:lnTo>
                  <a:lnTo>
                    <a:pt x="218" y="214"/>
                  </a:lnTo>
                  <a:lnTo>
                    <a:pt x="218" y="216"/>
                  </a:lnTo>
                  <a:lnTo>
                    <a:pt x="219" y="216"/>
                  </a:lnTo>
                  <a:lnTo>
                    <a:pt x="219" y="216"/>
                  </a:lnTo>
                  <a:lnTo>
                    <a:pt x="222" y="210"/>
                  </a:lnTo>
                  <a:lnTo>
                    <a:pt x="222" y="210"/>
                  </a:lnTo>
                  <a:lnTo>
                    <a:pt x="224" y="209"/>
                  </a:lnTo>
                  <a:lnTo>
                    <a:pt x="224" y="207"/>
                  </a:lnTo>
                  <a:lnTo>
                    <a:pt x="224" y="207"/>
                  </a:lnTo>
                  <a:lnTo>
                    <a:pt x="235" y="199"/>
                  </a:lnTo>
                  <a:lnTo>
                    <a:pt x="244" y="190"/>
                  </a:lnTo>
                  <a:lnTo>
                    <a:pt x="244" y="190"/>
                  </a:lnTo>
                  <a:lnTo>
                    <a:pt x="244" y="190"/>
                  </a:lnTo>
                  <a:lnTo>
                    <a:pt x="245" y="186"/>
                  </a:lnTo>
                  <a:lnTo>
                    <a:pt x="245" y="186"/>
                  </a:lnTo>
                  <a:lnTo>
                    <a:pt x="247" y="187"/>
                  </a:lnTo>
                  <a:lnTo>
                    <a:pt x="247" y="187"/>
                  </a:lnTo>
                  <a:lnTo>
                    <a:pt x="248" y="187"/>
                  </a:lnTo>
                  <a:lnTo>
                    <a:pt x="252" y="186"/>
                  </a:lnTo>
                  <a:lnTo>
                    <a:pt x="252" y="186"/>
                  </a:lnTo>
                  <a:lnTo>
                    <a:pt x="249" y="189"/>
                  </a:lnTo>
                  <a:lnTo>
                    <a:pt x="245" y="192"/>
                  </a:lnTo>
                  <a:lnTo>
                    <a:pt x="245" y="192"/>
                  </a:lnTo>
                  <a:lnTo>
                    <a:pt x="248" y="190"/>
                  </a:lnTo>
                  <a:lnTo>
                    <a:pt x="251" y="189"/>
                  </a:lnTo>
                  <a:lnTo>
                    <a:pt x="256" y="183"/>
                  </a:lnTo>
                  <a:lnTo>
                    <a:pt x="256" y="183"/>
                  </a:lnTo>
                  <a:lnTo>
                    <a:pt x="256" y="182"/>
                  </a:lnTo>
                  <a:lnTo>
                    <a:pt x="256" y="180"/>
                  </a:lnTo>
                  <a:lnTo>
                    <a:pt x="256" y="180"/>
                  </a:lnTo>
                  <a:lnTo>
                    <a:pt x="261" y="179"/>
                  </a:lnTo>
                  <a:lnTo>
                    <a:pt x="264" y="177"/>
                  </a:lnTo>
                  <a:lnTo>
                    <a:pt x="264" y="177"/>
                  </a:lnTo>
                  <a:lnTo>
                    <a:pt x="266" y="174"/>
                  </a:lnTo>
                  <a:lnTo>
                    <a:pt x="268" y="172"/>
                  </a:lnTo>
                  <a:lnTo>
                    <a:pt x="268" y="172"/>
                  </a:lnTo>
                  <a:lnTo>
                    <a:pt x="272" y="170"/>
                  </a:lnTo>
                  <a:lnTo>
                    <a:pt x="275" y="167"/>
                  </a:lnTo>
                  <a:lnTo>
                    <a:pt x="278" y="164"/>
                  </a:lnTo>
                  <a:lnTo>
                    <a:pt x="278" y="164"/>
                  </a:lnTo>
                  <a:lnTo>
                    <a:pt x="279" y="164"/>
                  </a:lnTo>
                  <a:lnTo>
                    <a:pt x="282" y="164"/>
                  </a:lnTo>
                  <a:lnTo>
                    <a:pt x="282" y="164"/>
                  </a:lnTo>
                  <a:lnTo>
                    <a:pt x="279" y="167"/>
                  </a:lnTo>
                  <a:lnTo>
                    <a:pt x="275" y="169"/>
                  </a:lnTo>
                  <a:lnTo>
                    <a:pt x="275" y="169"/>
                  </a:lnTo>
                  <a:lnTo>
                    <a:pt x="288" y="162"/>
                  </a:lnTo>
                  <a:lnTo>
                    <a:pt x="288" y="162"/>
                  </a:lnTo>
                  <a:lnTo>
                    <a:pt x="294" y="157"/>
                  </a:lnTo>
                  <a:lnTo>
                    <a:pt x="294" y="157"/>
                  </a:lnTo>
                  <a:lnTo>
                    <a:pt x="301" y="153"/>
                  </a:lnTo>
                  <a:lnTo>
                    <a:pt x="301" y="153"/>
                  </a:lnTo>
                  <a:lnTo>
                    <a:pt x="314" y="144"/>
                  </a:lnTo>
                  <a:lnTo>
                    <a:pt x="314" y="144"/>
                  </a:lnTo>
                  <a:lnTo>
                    <a:pt x="321" y="140"/>
                  </a:lnTo>
                  <a:lnTo>
                    <a:pt x="321" y="140"/>
                  </a:lnTo>
                  <a:lnTo>
                    <a:pt x="328" y="136"/>
                  </a:lnTo>
                  <a:lnTo>
                    <a:pt x="328" y="136"/>
                  </a:lnTo>
                  <a:lnTo>
                    <a:pt x="326" y="137"/>
                  </a:lnTo>
                  <a:lnTo>
                    <a:pt x="325" y="140"/>
                  </a:lnTo>
                  <a:lnTo>
                    <a:pt x="325" y="140"/>
                  </a:lnTo>
                  <a:lnTo>
                    <a:pt x="329" y="137"/>
                  </a:lnTo>
                  <a:lnTo>
                    <a:pt x="335" y="135"/>
                  </a:lnTo>
                  <a:lnTo>
                    <a:pt x="335" y="135"/>
                  </a:lnTo>
                  <a:lnTo>
                    <a:pt x="336" y="133"/>
                  </a:lnTo>
                  <a:lnTo>
                    <a:pt x="335" y="132"/>
                  </a:lnTo>
                  <a:lnTo>
                    <a:pt x="335" y="132"/>
                  </a:lnTo>
                  <a:lnTo>
                    <a:pt x="342" y="129"/>
                  </a:lnTo>
                  <a:lnTo>
                    <a:pt x="342" y="129"/>
                  </a:lnTo>
                  <a:lnTo>
                    <a:pt x="351" y="125"/>
                  </a:lnTo>
                  <a:lnTo>
                    <a:pt x="351" y="125"/>
                  </a:lnTo>
                  <a:lnTo>
                    <a:pt x="359" y="120"/>
                  </a:lnTo>
                  <a:lnTo>
                    <a:pt x="366" y="115"/>
                  </a:lnTo>
                  <a:lnTo>
                    <a:pt x="366" y="115"/>
                  </a:lnTo>
                  <a:lnTo>
                    <a:pt x="368" y="115"/>
                  </a:lnTo>
                  <a:lnTo>
                    <a:pt x="366" y="116"/>
                  </a:lnTo>
                  <a:lnTo>
                    <a:pt x="365" y="117"/>
                  </a:lnTo>
                  <a:lnTo>
                    <a:pt x="365" y="117"/>
                  </a:lnTo>
                  <a:lnTo>
                    <a:pt x="365" y="117"/>
                  </a:lnTo>
                  <a:lnTo>
                    <a:pt x="368" y="116"/>
                  </a:lnTo>
                  <a:lnTo>
                    <a:pt x="368" y="116"/>
                  </a:lnTo>
                  <a:lnTo>
                    <a:pt x="371" y="115"/>
                  </a:lnTo>
                  <a:lnTo>
                    <a:pt x="371" y="115"/>
                  </a:lnTo>
                  <a:lnTo>
                    <a:pt x="378" y="112"/>
                  </a:lnTo>
                  <a:lnTo>
                    <a:pt x="378" y="112"/>
                  </a:lnTo>
                  <a:lnTo>
                    <a:pt x="378" y="112"/>
                  </a:lnTo>
                  <a:lnTo>
                    <a:pt x="378" y="110"/>
                  </a:lnTo>
                  <a:lnTo>
                    <a:pt x="378" y="110"/>
                  </a:lnTo>
                  <a:lnTo>
                    <a:pt x="389" y="106"/>
                  </a:lnTo>
                  <a:lnTo>
                    <a:pt x="395" y="105"/>
                  </a:lnTo>
                  <a:lnTo>
                    <a:pt x="398" y="102"/>
                  </a:lnTo>
                  <a:lnTo>
                    <a:pt x="398" y="102"/>
                  </a:lnTo>
                  <a:lnTo>
                    <a:pt x="401" y="102"/>
                  </a:lnTo>
                  <a:lnTo>
                    <a:pt x="403" y="102"/>
                  </a:lnTo>
                  <a:lnTo>
                    <a:pt x="403" y="102"/>
                  </a:lnTo>
                  <a:lnTo>
                    <a:pt x="408" y="99"/>
                  </a:lnTo>
                  <a:lnTo>
                    <a:pt x="411" y="97"/>
                  </a:lnTo>
                  <a:lnTo>
                    <a:pt x="413" y="97"/>
                  </a:lnTo>
                  <a:lnTo>
                    <a:pt x="413" y="97"/>
                  </a:lnTo>
                  <a:lnTo>
                    <a:pt x="418" y="95"/>
                  </a:lnTo>
                  <a:lnTo>
                    <a:pt x="418" y="95"/>
                  </a:lnTo>
                  <a:lnTo>
                    <a:pt x="421" y="93"/>
                  </a:lnTo>
                  <a:lnTo>
                    <a:pt x="421" y="93"/>
                  </a:lnTo>
                  <a:lnTo>
                    <a:pt x="423" y="93"/>
                  </a:lnTo>
                  <a:lnTo>
                    <a:pt x="423" y="93"/>
                  </a:lnTo>
                  <a:lnTo>
                    <a:pt x="431" y="90"/>
                  </a:lnTo>
                  <a:lnTo>
                    <a:pt x="438" y="87"/>
                  </a:lnTo>
                  <a:lnTo>
                    <a:pt x="438" y="87"/>
                  </a:lnTo>
                  <a:lnTo>
                    <a:pt x="439" y="87"/>
                  </a:lnTo>
                  <a:lnTo>
                    <a:pt x="440" y="87"/>
                  </a:lnTo>
                  <a:lnTo>
                    <a:pt x="440" y="89"/>
                  </a:lnTo>
                  <a:lnTo>
                    <a:pt x="440" y="89"/>
                  </a:lnTo>
                  <a:lnTo>
                    <a:pt x="448" y="85"/>
                  </a:lnTo>
                  <a:lnTo>
                    <a:pt x="448" y="85"/>
                  </a:lnTo>
                  <a:lnTo>
                    <a:pt x="452" y="85"/>
                  </a:lnTo>
                  <a:lnTo>
                    <a:pt x="455" y="85"/>
                  </a:lnTo>
                  <a:lnTo>
                    <a:pt x="455" y="85"/>
                  </a:lnTo>
                  <a:lnTo>
                    <a:pt x="462" y="82"/>
                  </a:lnTo>
                  <a:lnTo>
                    <a:pt x="462" y="82"/>
                  </a:lnTo>
                  <a:lnTo>
                    <a:pt x="463" y="82"/>
                  </a:lnTo>
                  <a:lnTo>
                    <a:pt x="463" y="82"/>
                  </a:lnTo>
                  <a:lnTo>
                    <a:pt x="466" y="80"/>
                  </a:lnTo>
                  <a:lnTo>
                    <a:pt x="468" y="80"/>
                  </a:lnTo>
                  <a:lnTo>
                    <a:pt x="468" y="80"/>
                  </a:lnTo>
                  <a:lnTo>
                    <a:pt x="468" y="80"/>
                  </a:lnTo>
                  <a:lnTo>
                    <a:pt x="473" y="79"/>
                  </a:lnTo>
                  <a:lnTo>
                    <a:pt x="473" y="79"/>
                  </a:lnTo>
                  <a:lnTo>
                    <a:pt x="482" y="77"/>
                  </a:lnTo>
                  <a:lnTo>
                    <a:pt x="482" y="77"/>
                  </a:lnTo>
                  <a:lnTo>
                    <a:pt x="482" y="76"/>
                  </a:lnTo>
                  <a:lnTo>
                    <a:pt x="482" y="76"/>
                  </a:lnTo>
                  <a:lnTo>
                    <a:pt x="488" y="75"/>
                  </a:lnTo>
                  <a:lnTo>
                    <a:pt x="488" y="75"/>
                  </a:lnTo>
                  <a:lnTo>
                    <a:pt x="486" y="75"/>
                  </a:lnTo>
                  <a:lnTo>
                    <a:pt x="485" y="76"/>
                  </a:lnTo>
                  <a:lnTo>
                    <a:pt x="485" y="76"/>
                  </a:lnTo>
                  <a:lnTo>
                    <a:pt x="500" y="73"/>
                  </a:lnTo>
                  <a:lnTo>
                    <a:pt x="500" y="73"/>
                  </a:lnTo>
                  <a:lnTo>
                    <a:pt x="496" y="75"/>
                  </a:lnTo>
                  <a:lnTo>
                    <a:pt x="495" y="75"/>
                  </a:lnTo>
                  <a:lnTo>
                    <a:pt x="493" y="76"/>
                  </a:lnTo>
                  <a:lnTo>
                    <a:pt x="493" y="76"/>
                  </a:lnTo>
                  <a:lnTo>
                    <a:pt x="503" y="75"/>
                  </a:lnTo>
                  <a:lnTo>
                    <a:pt x="503" y="75"/>
                  </a:lnTo>
                  <a:lnTo>
                    <a:pt x="502" y="76"/>
                  </a:lnTo>
                  <a:lnTo>
                    <a:pt x="500" y="77"/>
                  </a:lnTo>
                  <a:lnTo>
                    <a:pt x="500" y="77"/>
                  </a:lnTo>
                  <a:lnTo>
                    <a:pt x="495" y="77"/>
                  </a:lnTo>
                  <a:lnTo>
                    <a:pt x="492" y="77"/>
                  </a:lnTo>
                  <a:lnTo>
                    <a:pt x="489" y="79"/>
                  </a:lnTo>
                  <a:lnTo>
                    <a:pt x="489" y="79"/>
                  </a:lnTo>
                  <a:lnTo>
                    <a:pt x="490" y="79"/>
                  </a:lnTo>
                  <a:lnTo>
                    <a:pt x="492" y="79"/>
                  </a:lnTo>
                  <a:lnTo>
                    <a:pt x="493" y="79"/>
                  </a:lnTo>
                  <a:lnTo>
                    <a:pt x="496" y="79"/>
                  </a:lnTo>
                  <a:lnTo>
                    <a:pt x="496" y="79"/>
                  </a:lnTo>
                  <a:lnTo>
                    <a:pt x="496" y="80"/>
                  </a:lnTo>
                  <a:lnTo>
                    <a:pt x="495" y="80"/>
                  </a:lnTo>
                  <a:lnTo>
                    <a:pt x="489" y="82"/>
                  </a:lnTo>
                  <a:lnTo>
                    <a:pt x="489" y="82"/>
                  </a:lnTo>
                  <a:lnTo>
                    <a:pt x="489" y="82"/>
                  </a:lnTo>
                  <a:lnTo>
                    <a:pt x="489" y="82"/>
                  </a:lnTo>
                  <a:lnTo>
                    <a:pt x="490" y="80"/>
                  </a:lnTo>
                  <a:lnTo>
                    <a:pt x="490" y="80"/>
                  </a:lnTo>
                  <a:lnTo>
                    <a:pt x="486" y="82"/>
                  </a:lnTo>
                  <a:lnTo>
                    <a:pt x="483" y="83"/>
                  </a:lnTo>
                  <a:lnTo>
                    <a:pt x="483" y="83"/>
                  </a:lnTo>
                  <a:lnTo>
                    <a:pt x="479" y="85"/>
                  </a:lnTo>
                  <a:lnTo>
                    <a:pt x="479" y="85"/>
                  </a:lnTo>
                  <a:lnTo>
                    <a:pt x="476" y="85"/>
                  </a:lnTo>
                  <a:lnTo>
                    <a:pt x="476" y="85"/>
                  </a:lnTo>
                  <a:lnTo>
                    <a:pt x="473" y="85"/>
                  </a:lnTo>
                  <a:lnTo>
                    <a:pt x="473" y="85"/>
                  </a:lnTo>
                  <a:lnTo>
                    <a:pt x="478" y="83"/>
                  </a:lnTo>
                  <a:lnTo>
                    <a:pt x="478" y="83"/>
                  </a:lnTo>
                  <a:lnTo>
                    <a:pt x="479" y="83"/>
                  </a:lnTo>
                  <a:lnTo>
                    <a:pt x="479" y="83"/>
                  </a:lnTo>
                  <a:lnTo>
                    <a:pt x="482" y="82"/>
                  </a:lnTo>
                  <a:lnTo>
                    <a:pt x="485" y="80"/>
                  </a:lnTo>
                  <a:lnTo>
                    <a:pt x="485" y="80"/>
                  </a:lnTo>
                  <a:lnTo>
                    <a:pt x="485" y="80"/>
                  </a:lnTo>
                  <a:lnTo>
                    <a:pt x="482" y="80"/>
                  </a:lnTo>
                  <a:lnTo>
                    <a:pt x="482" y="80"/>
                  </a:lnTo>
                  <a:lnTo>
                    <a:pt x="485" y="79"/>
                  </a:lnTo>
                  <a:lnTo>
                    <a:pt x="485" y="79"/>
                  </a:lnTo>
                  <a:lnTo>
                    <a:pt x="486" y="79"/>
                  </a:lnTo>
                  <a:lnTo>
                    <a:pt x="486" y="79"/>
                  </a:lnTo>
                  <a:lnTo>
                    <a:pt x="486" y="79"/>
                  </a:lnTo>
                  <a:lnTo>
                    <a:pt x="488" y="79"/>
                  </a:lnTo>
                  <a:lnTo>
                    <a:pt x="488" y="79"/>
                  </a:lnTo>
                  <a:lnTo>
                    <a:pt x="489" y="77"/>
                  </a:lnTo>
                  <a:lnTo>
                    <a:pt x="489" y="77"/>
                  </a:lnTo>
                  <a:lnTo>
                    <a:pt x="485" y="77"/>
                  </a:lnTo>
                  <a:lnTo>
                    <a:pt x="485" y="77"/>
                  </a:lnTo>
                  <a:lnTo>
                    <a:pt x="489" y="76"/>
                  </a:lnTo>
                  <a:lnTo>
                    <a:pt x="489" y="76"/>
                  </a:lnTo>
                  <a:lnTo>
                    <a:pt x="478" y="79"/>
                  </a:lnTo>
                  <a:lnTo>
                    <a:pt x="478" y="79"/>
                  </a:lnTo>
                  <a:lnTo>
                    <a:pt x="470" y="82"/>
                  </a:lnTo>
                  <a:lnTo>
                    <a:pt x="470" y="82"/>
                  </a:lnTo>
                  <a:lnTo>
                    <a:pt x="463" y="83"/>
                  </a:lnTo>
                  <a:lnTo>
                    <a:pt x="463" y="83"/>
                  </a:lnTo>
                  <a:lnTo>
                    <a:pt x="463" y="83"/>
                  </a:lnTo>
                  <a:lnTo>
                    <a:pt x="462" y="85"/>
                  </a:lnTo>
                  <a:lnTo>
                    <a:pt x="460" y="85"/>
                  </a:lnTo>
                  <a:lnTo>
                    <a:pt x="459" y="86"/>
                  </a:lnTo>
                  <a:lnTo>
                    <a:pt x="459" y="86"/>
                  </a:lnTo>
                  <a:lnTo>
                    <a:pt x="473" y="80"/>
                  </a:lnTo>
                  <a:lnTo>
                    <a:pt x="473" y="80"/>
                  </a:lnTo>
                  <a:lnTo>
                    <a:pt x="475" y="82"/>
                  </a:lnTo>
                  <a:lnTo>
                    <a:pt x="473" y="83"/>
                  </a:lnTo>
                  <a:lnTo>
                    <a:pt x="468" y="86"/>
                  </a:lnTo>
                  <a:lnTo>
                    <a:pt x="455" y="90"/>
                  </a:lnTo>
                  <a:lnTo>
                    <a:pt x="455" y="90"/>
                  </a:lnTo>
                  <a:lnTo>
                    <a:pt x="452" y="90"/>
                  </a:lnTo>
                  <a:lnTo>
                    <a:pt x="450" y="89"/>
                  </a:lnTo>
                  <a:lnTo>
                    <a:pt x="450" y="87"/>
                  </a:lnTo>
                  <a:lnTo>
                    <a:pt x="449" y="86"/>
                  </a:lnTo>
                  <a:lnTo>
                    <a:pt x="449" y="86"/>
                  </a:lnTo>
                  <a:lnTo>
                    <a:pt x="448" y="87"/>
                  </a:lnTo>
                  <a:lnTo>
                    <a:pt x="445" y="89"/>
                  </a:lnTo>
                  <a:lnTo>
                    <a:pt x="442" y="89"/>
                  </a:lnTo>
                  <a:lnTo>
                    <a:pt x="439" y="92"/>
                  </a:lnTo>
                  <a:lnTo>
                    <a:pt x="439" y="92"/>
                  </a:lnTo>
                  <a:lnTo>
                    <a:pt x="446" y="89"/>
                  </a:lnTo>
                  <a:lnTo>
                    <a:pt x="449" y="89"/>
                  </a:lnTo>
                  <a:lnTo>
                    <a:pt x="449" y="90"/>
                  </a:lnTo>
                  <a:lnTo>
                    <a:pt x="449" y="90"/>
                  </a:lnTo>
                  <a:lnTo>
                    <a:pt x="449" y="90"/>
                  </a:lnTo>
                  <a:lnTo>
                    <a:pt x="445" y="90"/>
                  </a:lnTo>
                  <a:lnTo>
                    <a:pt x="443" y="92"/>
                  </a:lnTo>
                  <a:lnTo>
                    <a:pt x="440" y="93"/>
                  </a:lnTo>
                  <a:lnTo>
                    <a:pt x="436" y="95"/>
                  </a:lnTo>
                  <a:lnTo>
                    <a:pt x="436" y="95"/>
                  </a:lnTo>
                  <a:lnTo>
                    <a:pt x="433" y="95"/>
                  </a:lnTo>
                  <a:lnTo>
                    <a:pt x="433" y="93"/>
                  </a:lnTo>
                  <a:lnTo>
                    <a:pt x="433" y="93"/>
                  </a:lnTo>
                  <a:lnTo>
                    <a:pt x="432" y="93"/>
                  </a:lnTo>
                  <a:lnTo>
                    <a:pt x="428" y="96"/>
                  </a:lnTo>
                  <a:lnTo>
                    <a:pt x="428" y="96"/>
                  </a:lnTo>
                  <a:lnTo>
                    <a:pt x="429" y="96"/>
                  </a:lnTo>
                  <a:lnTo>
                    <a:pt x="429" y="96"/>
                  </a:lnTo>
                  <a:lnTo>
                    <a:pt x="429" y="96"/>
                  </a:lnTo>
                  <a:lnTo>
                    <a:pt x="423" y="100"/>
                  </a:lnTo>
                  <a:lnTo>
                    <a:pt x="423" y="100"/>
                  </a:lnTo>
                  <a:lnTo>
                    <a:pt x="416" y="103"/>
                  </a:lnTo>
                  <a:lnTo>
                    <a:pt x="416" y="103"/>
                  </a:lnTo>
                  <a:lnTo>
                    <a:pt x="402" y="109"/>
                  </a:lnTo>
                  <a:lnTo>
                    <a:pt x="402" y="109"/>
                  </a:lnTo>
                  <a:lnTo>
                    <a:pt x="408" y="107"/>
                  </a:lnTo>
                  <a:lnTo>
                    <a:pt x="412" y="106"/>
                  </a:lnTo>
                  <a:lnTo>
                    <a:pt x="412" y="106"/>
                  </a:lnTo>
                  <a:lnTo>
                    <a:pt x="402" y="112"/>
                  </a:lnTo>
                  <a:lnTo>
                    <a:pt x="396" y="113"/>
                  </a:lnTo>
                  <a:lnTo>
                    <a:pt x="393" y="113"/>
                  </a:lnTo>
                  <a:lnTo>
                    <a:pt x="393" y="113"/>
                  </a:lnTo>
                  <a:lnTo>
                    <a:pt x="398" y="112"/>
                  </a:lnTo>
                  <a:lnTo>
                    <a:pt x="398" y="112"/>
                  </a:lnTo>
                  <a:lnTo>
                    <a:pt x="401" y="109"/>
                  </a:lnTo>
                  <a:lnTo>
                    <a:pt x="401" y="109"/>
                  </a:lnTo>
                  <a:lnTo>
                    <a:pt x="401" y="107"/>
                  </a:lnTo>
                  <a:lnTo>
                    <a:pt x="399" y="109"/>
                  </a:lnTo>
                  <a:lnTo>
                    <a:pt x="398" y="109"/>
                  </a:lnTo>
                  <a:lnTo>
                    <a:pt x="398" y="107"/>
                  </a:lnTo>
                  <a:lnTo>
                    <a:pt x="398" y="107"/>
                  </a:lnTo>
                  <a:lnTo>
                    <a:pt x="389" y="113"/>
                  </a:lnTo>
                  <a:lnTo>
                    <a:pt x="386" y="115"/>
                  </a:lnTo>
                  <a:lnTo>
                    <a:pt x="382" y="115"/>
                  </a:lnTo>
                  <a:lnTo>
                    <a:pt x="382" y="115"/>
                  </a:lnTo>
                  <a:lnTo>
                    <a:pt x="379" y="117"/>
                  </a:lnTo>
                  <a:lnTo>
                    <a:pt x="376" y="119"/>
                  </a:lnTo>
                  <a:lnTo>
                    <a:pt x="376" y="119"/>
                  </a:lnTo>
                  <a:lnTo>
                    <a:pt x="375" y="119"/>
                  </a:lnTo>
                  <a:lnTo>
                    <a:pt x="375" y="120"/>
                  </a:lnTo>
                  <a:lnTo>
                    <a:pt x="375" y="120"/>
                  </a:lnTo>
                  <a:lnTo>
                    <a:pt x="375" y="120"/>
                  </a:lnTo>
                  <a:lnTo>
                    <a:pt x="369" y="123"/>
                  </a:lnTo>
                  <a:lnTo>
                    <a:pt x="362" y="126"/>
                  </a:lnTo>
                  <a:lnTo>
                    <a:pt x="362" y="126"/>
                  </a:lnTo>
                  <a:lnTo>
                    <a:pt x="356" y="129"/>
                  </a:lnTo>
                  <a:lnTo>
                    <a:pt x="352" y="130"/>
                  </a:lnTo>
                  <a:lnTo>
                    <a:pt x="352" y="130"/>
                  </a:lnTo>
                  <a:lnTo>
                    <a:pt x="346" y="135"/>
                  </a:lnTo>
                  <a:lnTo>
                    <a:pt x="341" y="137"/>
                  </a:lnTo>
                  <a:lnTo>
                    <a:pt x="341" y="137"/>
                  </a:lnTo>
                  <a:lnTo>
                    <a:pt x="341" y="136"/>
                  </a:lnTo>
                  <a:lnTo>
                    <a:pt x="341" y="136"/>
                  </a:lnTo>
                  <a:lnTo>
                    <a:pt x="339" y="137"/>
                  </a:lnTo>
                  <a:lnTo>
                    <a:pt x="338" y="137"/>
                  </a:lnTo>
                  <a:lnTo>
                    <a:pt x="336" y="140"/>
                  </a:lnTo>
                  <a:lnTo>
                    <a:pt x="336" y="140"/>
                  </a:lnTo>
                  <a:lnTo>
                    <a:pt x="335" y="140"/>
                  </a:lnTo>
                  <a:lnTo>
                    <a:pt x="334" y="139"/>
                  </a:lnTo>
                  <a:lnTo>
                    <a:pt x="335" y="137"/>
                  </a:lnTo>
                  <a:lnTo>
                    <a:pt x="335" y="137"/>
                  </a:lnTo>
                  <a:lnTo>
                    <a:pt x="329" y="140"/>
                  </a:lnTo>
                  <a:lnTo>
                    <a:pt x="326" y="142"/>
                  </a:lnTo>
                  <a:lnTo>
                    <a:pt x="324" y="142"/>
                  </a:lnTo>
                  <a:lnTo>
                    <a:pt x="324" y="142"/>
                  </a:lnTo>
                  <a:lnTo>
                    <a:pt x="324" y="143"/>
                  </a:lnTo>
                  <a:lnTo>
                    <a:pt x="325" y="143"/>
                  </a:lnTo>
                  <a:lnTo>
                    <a:pt x="325" y="144"/>
                  </a:lnTo>
                  <a:lnTo>
                    <a:pt x="324" y="146"/>
                  </a:lnTo>
                  <a:lnTo>
                    <a:pt x="324" y="146"/>
                  </a:lnTo>
                  <a:lnTo>
                    <a:pt x="326" y="144"/>
                  </a:lnTo>
                  <a:lnTo>
                    <a:pt x="328" y="143"/>
                  </a:lnTo>
                  <a:lnTo>
                    <a:pt x="328" y="142"/>
                  </a:lnTo>
                  <a:lnTo>
                    <a:pt x="332" y="140"/>
                  </a:lnTo>
                  <a:lnTo>
                    <a:pt x="332" y="140"/>
                  </a:lnTo>
                  <a:lnTo>
                    <a:pt x="332" y="140"/>
                  </a:lnTo>
                  <a:lnTo>
                    <a:pt x="332" y="142"/>
                  </a:lnTo>
                  <a:lnTo>
                    <a:pt x="329" y="144"/>
                  </a:lnTo>
                  <a:lnTo>
                    <a:pt x="329" y="144"/>
                  </a:lnTo>
                  <a:lnTo>
                    <a:pt x="324" y="147"/>
                  </a:lnTo>
                  <a:lnTo>
                    <a:pt x="318" y="149"/>
                  </a:lnTo>
                  <a:lnTo>
                    <a:pt x="318" y="149"/>
                  </a:lnTo>
                  <a:lnTo>
                    <a:pt x="314" y="152"/>
                  </a:lnTo>
                  <a:lnTo>
                    <a:pt x="308" y="156"/>
                  </a:lnTo>
                  <a:lnTo>
                    <a:pt x="308" y="156"/>
                  </a:lnTo>
                  <a:lnTo>
                    <a:pt x="306" y="154"/>
                  </a:lnTo>
                  <a:lnTo>
                    <a:pt x="308" y="153"/>
                  </a:lnTo>
                  <a:lnTo>
                    <a:pt x="312" y="150"/>
                  </a:lnTo>
                  <a:lnTo>
                    <a:pt x="312" y="150"/>
                  </a:lnTo>
                  <a:lnTo>
                    <a:pt x="308" y="153"/>
                  </a:lnTo>
                  <a:lnTo>
                    <a:pt x="304" y="156"/>
                  </a:lnTo>
                  <a:lnTo>
                    <a:pt x="304" y="156"/>
                  </a:lnTo>
                  <a:lnTo>
                    <a:pt x="306" y="156"/>
                  </a:lnTo>
                  <a:lnTo>
                    <a:pt x="306" y="156"/>
                  </a:lnTo>
                  <a:lnTo>
                    <a:pt x="304" y="159"/>
                  </a:lnTo>
                  <a:lnTo>
                    <a:pt x="304" y="160"/>
                  </a:lnTo>
                  <a:lnTo>
                    <a:pt x="304" y="160"/>
                  </a:lnTo>
                  <a:lnTo>
                    <a:pt x="299" y="162"/>
                  </a:lnTo>
                  <a:lnTo>
                    <a:pt x="295" y="164"/>
                  </a:lnTo>
                  <a:lnTo>
                    <a:pt x="295" y="164"/>
                  </a:lnTo>
                  <a:lnTo>
                    <a:pt x="292" y="167"/>
                  </a:lnTo>
                  <a:lnTo>
                    <a:pt x="288" y="169"/>
                  </a:lnTo>
                  <a:lnTo>
                    <a:pt x="288" y="169"/>
                  </a:lnTo>
                  <a:lnTo>
                    <a:pt x="286" y="170"/>
                  </a:lnTo>
                  <a:lnTo>
                    <a:pt x="284" y="173"/>
                  </a:lnTo>
                  <a:lnTo>
                    <a:pt x="281" y="174"/>
                  </a:lnTo>
                  <a:lnTo>
                    <a:pt x="279" y="174"/>
                  </a:lnTo>
                  <a:lnTo>
                    <a:pt x="279" y="174"/>
                  </a:lnTo>
                  <a:lnTo>
                    <a:pt x="276" y="179"/>
                  </a:lnTo>
                  <a:lnTo>
                    <a:pt x="274" y="183"/>
                  </a:lnTo>
                  <a:lnTo>
                    <a:pt x="274" y="183"/>
                  </a:lnTo>
                  <a:lnTo>
                    <a:pt x="264" y="189"/>
                  </a:lnTo>
                  <a:lnTo>
                    <a:pt x="264" y="189"/>
                  </a:lnTo>
                  <a:lnTo>
                    <a:pt x="264" y="190"/>
                  </a:lnTo>
                  <a:lnTo>
                    <a:pt x="262" y="192"/>
                  </a:lnTo>
                  <a:lnTo>
                    <a:pt x="262" y="192"/>
                  </a:lnTo>
                  <a:lnTo>
                    <a:pt x="256" y="196"/>
                  </a:lnTo>
                  <a:lnTo>
                    <a:pt x="254" y="197"/>
                  </a:lnTo>
                  <a:lnTo>
                    <a:pt x="252" y="197"/>
                  </a:lnTo>
                  <a:lnTo>
                    <a:pt x="252" y="197"/>
                  </a:lnTo>
                  <a:lnTo>
                    <a:pt x="248" y="203"/>
                  </a:lnTo>
                  <a:lnTo>
                    <a:pt x="248" y="203"/>
                  </a:lnTo>
                  <a:lnTo>
                    <a:pt x="245" y="204"/>
                  </a:lnTo>
                  <a:lnTo>
                    <a:pt x="245" y="203"/>
                  </a:lnTo>
                  <a:lnTo>
                    <a:pt x="247" y="202"/>
                  </a:lnTo>
                  <a:lnTo>
                    <a:pt x="245" y="202"/>
                  </a:lnTo>
                  <a:lnTo>
                    <a:pt x="245" y="202"/>
                  </a:lnTo>
                  <a:lnTo>
                    <a:pt x="241" y="207"/>
                  </a:lnTo>
                  <a:lnTo>
                    <a:pt x="235" y="212"/>
                  </a:lnTo>
                  <a:lnTo>
                    <a:pt x="235" y="212"/>
                  </a:lnTo>
                  <a:lnTo>
                    <a:pt x="234" y="214"/>
                  </a:lnTo>
                  <a:lnTo>
                    <a:pt x="232" y="219"/>
                  </a:lnTo>
                  <a:lnTo>
                    <a:pt x="232" y="219"/>
                  </a:lnTo>
                  <a:lnTo>
                    <a:pt x="231" y="219"/>
                  </a:lnTo>
                  <a:lnTo>
                    <a:pt x="231" y="216"/>
                  </a:lnTo>
                  <a:lnTo>
                    <a:pt x="231" y="214"/>
                  </a:lnTo>
                  <a:lnTo>
                    <a:pt x="229" y="216"/>
                  </a:lnTo>
                  <a:lnTo>
                    <a:pt x="229" y="216"/>
                  </a:lnTo>
                  <a:lnTo>
                    <a:pt x="229" y="219"/>
                  </a:lnTo>
                  <a:lnTo>
                    <a:pt x="225" y="223"/>
                  </a:lnTo>
                  <a:lnTo>
                    <a:pt x="217" y="230"/>
                  </a:lnTo>
                  <a:lnTo>
                    <a:pt x="217" y="230"/>
                  </a:lnTo>
                  <a:lnTo>
                    <a:pt x="214" y="236"/>
                  </a:lnTo>
                  <a:lnTo>
                    <a:pt x="214" y="236"/>
                  </a:lnTo>
                  <a:lnTo>
                    <a:pt x="209" y="240"/>
                  </a:lnTo>
                  <a:lnTo>
                    <a:pt x="209" y="240"/>
                  </a:lnTo>
                  <a:lnTo>
                    <a:pt x="209" y="237"/>
                  </a:lnTo>
                  <a:lnTo>
                    <a:pt x="209" y="237"/>
                  </a:lnTo>
                  <a:lnTo>
                    <a:pt x="207" y="240"/>
                  </a:lnTo>
                  <a:lnTo>
                    <a:pt x="207" y="240"/>
                  </a:lnTo>
                  <a:lnTo>
                    <a:pt x="207" y="240"/>
                  </a:lnTo>
                  <a:lnTo>
                    <a:pt x="207" y="239"/>
                  </a:lnTo>
                  <a:lnTo>
                    <a:pt x="209" y="234"/>
                  </a:lnTo>
                  <a:lnTo>
                    <a:pt x="209" y="234"/>
                  </a:lnTo>
                  <a:lnTo>
                    <a:pt x="208" y="236"/>
                  </a:lnTo>
                  <a:lnTo>
                    <a:pt x="208" y="236"/>
                  </a:lnTo>
                  <a:lnTo>
                    <a:pt x="205" y="236"/>
                  </a:lnTo>
                  <a:lnTo>
                    <a:pt x="205" y="236"/>
                  </a:lnTo>
                  <a:lnTo>
                    <a:pt x="205" y="239"/>
                  </a:lnTo>
                  <a:lnTo>
                    <a:pt x="204" y="242"/>
                  </a:lnTo>
                  <a:lnTo>
                    <a:pt x="204" y="242"/>
                  </a:lnTo>
                  <a:lnTo>
                    <a:pt x="202" y="244"/>
                  </a:lnTo>
                  <a:lnTo>
                    <a:pt x="201" y="244"/>
                  </a:lnTo>
                  <a:lnTo>
                    <a:pt x="198" y="246"/>
                  </a:lnTo>
                  <a:lnTo>
                    <a:pt x="195" y="247"/>
                  </a:lnTo>
                  <a:lnTo>
                    <a:pt x="195" y="247"/>
                  </a:lnTo>
                  <a:lnTo>
                    <a:pt x="192" y="252"/>
                  </a:lnTo>
                  <a:lnTo>
                    <a:pt x="188" y="256"/>
                  </a:lnTo>
                  <a:lnTo>
                    <a:pt x="188" y="256"/>
                  </a:lnTo>
                  <a:lnTo>
                    <a:pt x="192" y="253"/>
                  </a:lnTo>
                  <a:lnTo>
                    <a:pt x="197" y="247"/>
                  </a:lnTo>
                  <a:lnTo>
                    <a:pt x="197" y="247"/>
                  </a:lnTo>
                  <a:lnTo>
                    <a:pt x="198" y="247"/>
                  </a:lnTo>
                  <a:lnTo>
                    <a:pt x="202" y="246"/>
                  </a:lnTo>
                  <a:lnTo>
                    <a:pt x="202" y="246"/>
                  </a:lnTo>
                  <a:lnTo>
                    <a:pt x="199" y="249"/>
                  </a:lnTo>
                  <a:lnTo>
                    <a:pt x="195" y="252"/>
                  </a:lnTo>
                  <a:lnTo>
                    <a:pt x="195" y="252"/>
                  </a:lnTo>
                  <a:lnTo>
                    <a:pt x="194" y="253"/>
                  </a:lnTo>
                  <a:lnTo>
                    <a:pt x="195" y="253"/>
                  </a:lnTo>
                  <a:lnTo>
                    <a:pt x="195" y="253"/>
                  </a:lnTo>
                  <a:lnTo>
                    <a:pt x="195" y="254"/>
                  </a:lnTo>
                  <a:lnTo>
                    <a:pt x="195" y="254"/>
                  </a:lnTo>
                  <a:lnTo>
                    <a:pt x="191" y="257"/>
                  </a:lnTo>
                  <a:lnTo>
                    <a:pt x="191" y="257"/>
                  </a:lnTo>
                  <a:lnTo>
                    <a:pt x="188" y="262"/>
                  </a:lnTo>
                  <a:lnTo>
                    <a:pt x="188" y="262"/>
                  </a:lnTo>
                  <a:lnTo>
                    <a:pt x="179" y="272"/>
                  </a:lnTo>
                  <a:lnTo>
                    <a:pt x="179" y="272"/>
                  </a:lnTo>
                  <a:lnTo>
                    <a:pt x="179" y="272"/>
                  </a:lnTo>
                  <a:lnTo>
                    <a:pt x="182" y="269"/>
                  </a:lnTo>
                  <a:lnTo>
                    <a:pt x="185" y="264"/>
                  </a:lnTo>
                  <a:lnTo>
                    <a:pt x="185" y="264"/>
                  </a:lnTo>
                  <a:lnTo>
                    <a:pt x="185" y="266"/>
                  </a:lnTo>
                  <a:lnTo>
                    <a:pt x="185" y="266"/>
                  </a:lnTo>
                  <a:lnTo>
                    <a:pt x="184" y="270"/>
                  </a:lnTo>
                  <a:lnTo>
                    <a:pt x="178" y="277"/>
                  </a:lnTo>
                  <a:lnTo>
                    <a:pt x="178" y="277"/>
                  </a:lnTo>
                  <a:lnTo>
                    <a:pt x="177" y="277"/>
                  </a:lnTo>
                  <a:lnTo>
                    <a:pt x="177" y="276"/>
                  </a:lnTo>
                  <a:lnTo>
                    <a:pt x="178" y="274"/>
                  </a:lnTo>
                  <a:lnTo>
                    <a:pt x="179" y="273"/>
                  </a:lnTo>
                  <a:lnTo>
                    <a:pt x="179" y="272"/>
                  </a:lnTo>
                  <a:lnTo>
                    <a:pt x="179" y="273"/>
                  </a:lnTo>
                  <a:lnTo>
                    <a:pt x="179" y="273"/>
                  </a:lnTo>
                  <a:lnTo>
                    <a:pt x="177" y="274"/>
                  </a:lnTo>
                  <a:lnTo>
                    <a:pt x="177" y="276"/>
                  </a:lnTo>
                  <a:lnTo>
                    <a:pt x="175" y="277"/>
                  </a:lnTo>
                  <a:lnTo>
                    <a:pt x="174" y="280"/>
                  </a:lnTo>
                  <a:lnTo>
                    <a:pt x="174" y="280"/>
                  </a:lnTo>
                  <a:lnTo>
                    <a:pt x="174" y="279"/>
                  </a:lnTo>
                  <a:lnTo>
                    <a:pt x="172" y="279"/>
                  </a:lnTo>
                  <a:lnTo>
                    <a:pt x="168" y="284"/>
                  </a:lnTo>
                  <a:lnTo>
                    <a:pt x="162" y="292"/>
                  </a:lnTo>
                  <a:lnTo>
                    <a:pt x="158" y="297"/>
                  </a:lnTo>
                  <a:lnTo>
                    <a:pt x="158" y="297"/>
                  </a:lnTo>
                  <a:lnTo>
                    <a:pt x="151" y="313"/>
                  </a:lnTo>
                  <a:lnTo>
                    <a:pt x="151" y="313"/>
                  </a:lnTo>
                  <a:lnTo>
                    <a:pt x="150" y="313"/>
                  </a:lnTo>
                  <a:lnTo>
                    <a:pt x="150" y="314"/>
                  </a:lnTo>
                  <a:lnTo>
                    <a:pt x="145" y="319"/>
                  </a:lnTo>
                  <a:lnTo>
                    <a:pt x="141" y="329"/>
                  </a:lnTo>
                  <a:lnTo>
                    <a:pt x="141" y="329"/>
                  </a:lnTo>
                  <a:lnTo>
                    <a:pt x="140" y="330"/>
                  </a:lnTo>
                  <a:lnTo>
                    <a:pt x="140" y="330"/>
                  </a:lnTo>
                  <a:lnTo>
                    <a:pt x="140" y="330"/>
                  </a:lnTo>
                  <a:lnTo>
                    <a:pt x="137" y="334"/>
                  </a:lnTo>
                  <a:lnTo>
                    <a:pt x="134" y="340"/>
                  </a:lnTo>
                  <a:lnTo>
                    <a:pt x="134" y="340"/>
                  </a:lnTo>
                  <a:lnTo>
                    <a:pt x="132" y="341"/>
                  </a:lnTo>
                  <a:lnTo>
                    <a:pt x="131" y="344"/>
                  </a:lnTo>
                  <a:lnTo>
                    <a:pt x="131" y="344"/>
                  </a:lnTo>
                  <a:lnTo>
                    <a:pt x="128" y="353"/>
                  </a:lnTo>
                  <a:lnTo>
                    <a:pt x="128" y="353"/>
                  </a:lnTo>
                  <a:lnTo>
                    <a:pt x="127" y="353"/>
                  </a:lnTo>
                  <a:lnTo>
                    <a:pt x="124" y="354"/>
                  </a:lnTo>
                  <a:lnTo>
                    <a:pt x="124" y="354"/>
                  </a:lnTo>
                  <a:lnTo>
                    <a:pt x="117" y="370"/>
                  </a:lnTo>
                  <a:lnTo>
                    <a:pt x="117" y="370"/>
                  </a:lnTo>
                  <a:lnTo>
                    <a:pt x="110" y="386"/>
                  </a:lnTo>
                  <a:lnTo>
                    <a:pt x="110" y="386"/>
                  </a:lnTo>
                  <a:lnTo>
                    <a:pt x="108" y="386"/>
                  </a:lnTo>
                  <a:lnTo>
                    <a:pt x="107" y="387"/>
                  </a:lnTo>
                  <a:lnTo>
                    <a:pt x="107" y="387"/>
                  </a:lnTo>
                  <a:lnTo>
                    <a:pt x="107" y="390"/>
                  </a:lnTo>
                  <a:lnTo>
                    <a:pt x="107" y="391"/>
                  </a:lnTo>
                  <a:lnTo>
                    <a:pt x="101" y="397"/>
                  </a:lnTo>
                  <a:lnTo>
                    <a:pt x="101" y="397"/>
                  </a:lnTo>
                  <a:lnTo>
                    <a:pt x="102" y="397"/>
                  </a:lnTo>
                  <a:lnTo>
                    <a:pt x="102" y="400"/>
                  </a:lnTo>
                  <a:lnTo>
                    <a:pt x="100" y="409"/>
                  </a:lnTo>
                  <a:lnTo>
                    <a:pt x="100" y="409"/>
                  </a:lnTo>
                  <a:lnTo>
                    <a:pt x="100" y="407"/>
                  </a:lnTo>
                  <a:lnTo>
                    <a:pt x="100" y="406"/>
                  </a:lnTo>
                  <a:lnTo>
                    <a:pt x="101" y="403"/>
                  </a:lnTo>
                  <a:lnTo>
                    <a:pt x="101" y="403"/>
                  </a:lnTo>
                  <a:lnTo>
                    <a:pt x="101" y="403"/>
                  </a:lnTo>
                  <a:lnTo>
                    <a:pt x="98" y="407"/>
                  </a:lnTo>
                  <a:lnTo>
                    <a:pt x="98" y="407"/>
                  </a:lnTo>
                  <a:lnTo>
                    <a:pt x="98" y="409"/>
                  </a:lnTo>
                  <a:lnTo>
                    <a:pt x="98" y="410"/>
                  </a:lnTo>
                  <a:lnTo>
                    <a:pt x="98" y="410"/>
                  </a:lnTo>
                  <a:lnTo>
                    <a:pt x="97" y="410"/>
                  </a:lnTo>
                  <a:lnTo>
                    <a:pt x="97" y="410"/>
                  </a:lnTo>
                  <a:lnTo>
                    <a:pt x="97" y="409"/>
                  </a:lnTo>
                  <a:lnTo>
                    <a:pt x="97" y="409"/>
                  </a:lnTo>
                  <a:lnTo>
                    <a:pt x="97" y="409"/>
                  </a:lnTo>
                  <a:lnTo>
                    <a:pt x="94" y="416"/>
                  </a:lnTo>
                  <a:lnTo>
                    <a:pt x="94" y="417"/>
                  </a:lnTo>
                  <a:lnTo>
                    <a:pt x="94" y="417"/>
                  </a:lnTo>
                  <a:lnTo>
                    <a:pt x="94" y="417"/>
                  </a:lnTo>
                  <a:lnTo>
                    <a:pt x="94" y="420"/>
                  </a:lnTo>
                  <a:lnTo>
                    <a:pt x="92" y="420"/>
                  </a:lnTo>
                  <a:lnTo>
                    <a:pt x="92" y="420"/>
                  </a:lnTo>
                  <a:lnTo>
                    <a:pt x="91" y="421"/>
                  </a:lnTo>
                  <a:lnTo>
                    <a:pt x="91" y="421"/>
                  </a:lnTo>
                  <a:lnTo>
                    <a:pt x="92" y="423"/>
                  </a:lnTo>
                  <a:lnTo>
                    <a:pt x="91" y="424"/>
                  </a:lnTo>
                  <a:lnTo>
                    <a:pt x="90" y="431"/>
                  </a:lnTo>
                  <a:lnTo>
                    <a:pt x="90" y="431"/>
                  </a:lnTo>
                  <a:lnTo>
                    <a:pt x="90" y="431"/>
                  </a:lnTo>
                  <a:lnTo>
                    <a:pt x="88" y="433"/>
                  </a:lnTo>
                  <a:lnTo>
                    <a:pt x="87" y="437"/>
                  </a:lnTo>
                  <a:lnTo>
                    <a:pt x="87" y="437"/>
                  </a:lnTo>
                  <a:lnTo>
                    <a:pt x="87" y="439"/>
                  </a:lnTo>
                  <a:lnTo>
                    <a:pt x="87" y="440"/>
                  </a:lnTo>
                  <a:lnTo>
                    <a:pt x="84" y="446"/>
                  </a:lnTo>
                  <a:lnTo>
                    <a:pt x="84" y="446"/>
                  </a:lnTo>
                  <a:lnTo>
                    <a:pt x="84" y="444"/>
                  </a:lnTo>
                  <a:lnTo>
                    <a:pt x="84" y="444"/>
                  </a:lnTo>
                  <a:lnTo>
                    <a:pt x="82" y="443"/>
                  </a:lnTo>
                  <a:lnTo>
                    <a:pt x="82" y="443"/>
                  </a:lnTo>
                  <a:lnTo>
                    <a:pt x="82" y="447"/>
                  </a:lnTo>
                  <a:lnTo>
                    <a:pt x="81" y="453"/>
                  </a:lnTo>
                  <a:lnTo>
                    <a:pt x="80" y="458"/>
                  </a:lnTo>
                  <a:lnTo>
                    <a:pt x="80" y="460"/>
                  </a:lnTo>
                  <a:lnTo>
                    <a:pt x="81" y="460"/>
                  </a:lnTo>
                  <a:lnTo>
                    <a:pt x="81" y="460"/>
                  </a:lnTo>
                  <a:lnTo>
                    <a:pt x="80" y="463"/>
                  </a:lnTo>
                  <a:lnTo>
                    <a:pt x="80" y="466"/>
                  </a:lnTo>
                  <a:lnTo>
                    <a:pt x="78" y="468"/>
                  </a:lnTo>
                  <a:lnTo>
                    <a:pt x="78" y="471"/>
                  </a:lnTo>
                  <a:lnTo>
                    <a:pt x="78" y="471"/>
                  </a:lnTo>
                  <a:lnTo>
                    <a:pt x="77" y="471"/>
                  </a:lnTo>
                  <a:lnTo>
                    <a:pt x="77" y="470"/>
                  </a:lnTo>
                  <a:lnTo>
                    <a:pt x="77" y="464"/>
                  </a:lnTo>
                  <a:lnTo>
                    <a:pt x="77" y="464"/>
                  </a:lnTo>
                  <a:lnTo>
                    <a:pt x="74" y="476"/>
                  </a:lnTo>
                  <a:lnTo>
                    <a:pt x="74" y="476"/>
                  </a:lnTo>
                  <a:lnTo>
                    <a:pt x="75" y="477"/>
                  </a:lnTo>
                  <a:lnTo>
                    <a:pt x="75" y="480"/>
                  </a:lnTo>
                  <a:lnTo>
                    <a:pt x="74" y="486"/>
                  </a:lnTo>
                  <a:lnTo>
                    <a:pt x="71" y="497"/>
                  </a:lnTo>
                  <a:lnTo>
                    <a:pt x="71" y="497"/>
                  </a:lnTo>
                  <a:lnTo>
                    <a:pt x="71" y="493"/>
                  </a:lnTo>
                  <a:lnTo>
                    <a:pt x="71" y="488"/>
                  </a:lnTo>
                  <a:lnTo>
                    <a:pt x="71" y="488"/>
                  </a:lnTo>
                  <a:lnTo>
                    <a:pt x="72" y="487"/>
                  </a:lnTo>
                  <a:lnTo>
                    <a:pt x="72" y="488"/>
                  </a:lnTo>
                  <a:lnTo>
                    <a:pt x="72" y="488"/>
                  </a:lnTo>
                  <a:lnTo>
                    <a:pt x="72" y="484"/>
                  </a:lnTo>
                  <a:lnTo>
                    <a:pt x="74" y="480"/>
                  </a:lnTo>
                  <a:lnTo>
                    <a:pt x="74" y="480"/>
                  </a:lnTo>
                  <a:lnTo>
                    <a:pt x="71" y="487"/>
                  </a:lnTo>
                  <a:lnTo>
                    <a:pt x="67" y="494"/>
                  </a:lnTo>
                  <a:lnTo>
                    <a:pt x="67" y="494"/>
                  </a:lnTo>
                  <a:lnTo>
                    <a:pt x="67" y="496"/>
                  </a:lnTo>
                  <a:lnTo>
                    <a:pt x="68" y="496"/>
                  </a:lnTo>
                  <a:lnTo>
                    <a:pt x="68" y="496"/>
                  </a:lnTo>
                  <a:lnTo>
                    <a:pt x="68" y="496"/>
                  </a:lnTo>
                  <a:lnTo>
                    <a:pt x="68" y="496"/>
                  </a:lnTo>
                  <a:lnTo>
                    <a:pt x="67" y="503"/>
                  </a:lnTo>
                  <a:lnTo>
                    <a:pt x="67" y="503"/>
                  </a:lnTo>
                  <a:lnTo>
                    <a:pt x="64" y="514"/>
                  </a:lnTo>
                  <a:lnTo>
                    <a:pt x="64" y="514"/>
                  </a:lnTo>
                  <a:lnTo>
                    <a:pt x="61" y="526"/>
                  </a:lnTo>
                  <a:lnTo>
                    <a:pt x="61" y="526"/>
                  </a:lnTo>
                  <a:lnTo>
                    <a:pt x="60" y="536"/>
                  </a:lnTo>
                  <a:lnTo>
                    <a:pt x="60" y="536"/>
                  </a:lnTo>
                  <a:lnTo>
                    <a:pt x="60" y="540"/>
                  </a:lnTo>
                  <a:lnTo>
                    <a:pt x="61" y="541"/>
                  </a:lnTo>
                  <a:lnTo>
                    <a:pt x="61" y="541"/>
                  </a:lnTo>
                  <a:lnTo>
                    <a:pt x="61" y="541"/>
                  </a:lnTo>
                  <a:lnTo>
                    <a:pt x="61" y="546"/>
                  </a:lnTo>
                  <a:lnTo>
                    <a:pt x="61" y="548"/>
                  </a:lnTo>
                  <a:lnTo>
                    <a:pt x="60" y="551"/>
                  </a:lnTo>
                  <a:lnTo>
                    <a:pt x="61" y="553"/>
                  </a:lnTo>
                  <a:lnTo>
                    <a:pt x="61" y="553"/>
                  </a:lnTo>
                  <a:lnTo>
                    <a:pt x="60" y="553"/>
                  </a:lnTo>
                  <a:lnTo>
                    <a:pt x="60" y="553"/>
                  </a:lnTo>
                  <a:lnTo>
                    <a:pt x="58" y="551"/>
                  </a:lnTo>
                  <a:lnTo>
                    <a:pt x="58" y="551"/>
                  </a:lnTo>
                  <a:lnTo>
                    <a:pt x="60" y="548"/>
                  </a:lnTo>
                  <a:lnTo>
                    <a:pt x="60" y="546"/>
                  </a:lnTo>
                  <a:lnTo>
                    <a:pt x="60" y="546"/>
                  </a:lnTo>
                  <a:lnTo>
                    <a:pt x="60" y="546"/>
                  </a:lnTo>
                  <a:lnTo>
                    <a:pt x="58" y="546"/>
                  </a:lnTo>
                  <a:lnTo>
                    <a:pt x="58" y="544"/>
                  </a:lnTo>
                  <a:lnTo>
                    <a:pt x="58" y="541"/>
                  </a:lnTo>
                  <a:lnTo>
                    <a:pt x="58" y="541"/>
                  </a:lnTo>
                  <a:lnTo>
                    <a:pt x="58" y="547"/>
                  </a:lnTo>
                  <a:lnTo>
                    <a:pt x="58" y="547"/>
                  </a:lnTo>
                  <a:lnTo>
                    <a:pt x="58" y="554"/>
                  </a:lnTo>
                  <a:lnTo>
                    <a:pt x="58" y="554"/>
                  </a:lnTo>
                  <a:lnTo>
                    <a:pt x="57" y="557"/>
                  </a:lnTo>
                  <a:lnTo>
                    <a:pt x="57" y="557"/>
                  </a:lnTo>
                  <a:lnTo>
                    <a:pt x="57" y="557"/>
                  </a:lnTo>
                  <a:lnTo>
                    <a:pt x="58" y="557"/>
                  </a:lnTo>
                  <a:lnTo>
                    <a:pt x="58" y="556"/>
                  </a:lnTo>
                  <a:lnTo>
                    <a:pt x="60" y="556"/>
                  </a:lnTo>
                  <a:lnTo>
                    <a:pt x="60" y="556"/>
                  </a:lnTo>
                  <a:lnTo>
                    <a:pt x="58" y="561"/>
                  </a:lnTo>
                  <a:lnTo>
                    <a:pt x="60" y="566"/>
                  </a:lnTo>
                  <a:lnTo>
                    <a:pt x="60" y="566"/>
                  </a:lnTo>
                  <a:lnTo>
                    <a:pt x="61" y="554"/>
                  </a:lnTo>
                  <a:lnTo>
                    <a:pt x="61" y="554"/>
                  </a:lnTo>
                  <a:lnTo>
                    <a:pt x="64" y="541"/>
                  </a:lnTo>
                  <a:lnTo>
                    <a:pt x="64" y="541"/>
                  </a:lnTo>
                  <a:lnTo>
                    <a:pt x="68" y="518"/>
                  </a:lnTo>
                  <a:lnTo>
                    <a:pt x="68" y="518"/>
                  </a:lnTo>
                  <a:lnTo>
                    <a:pt x="70" y="517"/>
                  </a:lnTo>
                  <a:lnTo>
                    <a:pt x="70" y="517"/>
                  </a:lnTo>
                  <a:lnTo>
                    <a:pt x="70" y="518"/>
                  </a:lnTo>
                  <a:lnTo>
                    <a:pt x="71" y="517"/>
                  </a:lnTo>
                  <a:lnTo>
                    <a:pt x="71" y="517"/>
                  </a:lnTo>
                  <a:lnTo>
                    <a:pt x="71" y="513"/>
                  </a:lnTo>
                  <a:lnTo>
                    <a:pt x="71" y="511"/>
                  </a:lnTo>
                  <a:lnTo>
                    <a:pt x="71" y="511"/>
                  </a:lnTo>
                  <a:lnTo>
                    <a:pt x="71" y="510"/>
                  </a:lnTo>
                  <a:lnTo>
                    <a:pt x="72" y="511"/>
                  </a:lnTo>
                  <a:lnTo>
                    <a:pt x="72" y="518"/>
                  </a:lnTo>
                  <a:lnTo>
                    <a:pt x="72" y="518"/>
                  </a:lnTo>
                  <a:lnTo>
                    <a:pt x="71" y="526"/>
                  </a:lnTo>
                  <a:lnTo>
                    <a:pt x="71" y="526"/>
                  </a:lnTo>
                  <a:lnTo>
                    <a:pt x="68" y="531"/>
                  </a:lnTo>
                  <a:lnTo>
                    <a:pt x="68" y="531"/>
                  </a:lnTo>
                  <a:lnTo>
                    <a:pt x="67" y="540"/>
                  </a:lnTo>
                  <a:lnTo>
                    <a:pt x="67" y="548"/>
                  </a:lnTo>
                  <a:lnTo>
                    <a:pt x="67" y="548"/>
                  </a:lnTo>
                  <a:lnTo>
                    <a:pt x="65" y="553"/>
                  </a:lnTo>
                  <a:lnTo>
                    <a:pt x="65" y="553"/>
                  </a:lnTo>
                  <a:lnTo>
                    <a:pt x="64" y="557"/>
                  </a:lnTo>
                  <a:lnTo>
                    <a:pt x="64" y="557"/>
                  </a:lnTo>
                  <a:lnTo>
                    <a:pt x="65" y="556"/>
                  </a:lnTo>
                  <a:lnTo>
                    <a:pt x="64" y="561"/>
                  </a:lnTo>
                  <a:lnTo>
                    <a:pt x="64" y="561"/>
                  </a:lnTo>
                  <a:lnTo>
                    <a:pt x="65" y="563"/>
                  </a:lnTo>
                  <a:lnTo>
                    <a:pt x="65" y="564"/>
                  </a:lnTo>
                  <a:lnTo>
                    <a:pt x="65" y="564"/>
                  </a:lnTo>
                  <a:lnTo>
                    <a:pt x="65" y="564"/>
                  </a:lnTo>
                  <a:lnTo>
                    <a:pt x="65" y="564"/>
                  </a:lnTo>
                  <a:lnTo>
                    <a:pt x="64" y="568"/>
                  </a:lnTo>
                  <a:lnTo>
                    <a:pt x="64" y="573"/>
                  </a:lnTo>
                  <a:lnTo>
                    <a:pt x="64" y="581"/>
                  </a:lnTo>
                  <a:lnTo>
                    <a:pt x="64" y="581"/>
                  </a:lnTo>
                  <a:lnTo>
                    <a:pt x="63" y="583"/>
                  </a:lnTo>
                  <a:lnTo>
                    <a:pt x="61" y="584"/>
                  </a:lnTo>
                  <a:lnTo>
                    <a:pt x="61" y="584"/>
                  </a:lnTo>
                  <a:lnTo>
                    <a:pt x="63" y="586"/>
                  </a:lnTo>
                  <a:lnTo>
                    <a:pt x="63" y="587"/>
                  </a:lnTo>
                  <a:lnTo>
                    <a:pt x="63" y="593"/>
                  </a:lnTo>
                  <a:lnTo>
                    <a:pt x="63" y="593"/>
                  </a:lnTo>
                  <a:lnTo>
                    <a:pt x="63" y="593"/>
                  </a:lnTo>
                  <a:lnTo>
                    <a:pt x="61" y="591"/>
                  </a:lnTo>
                  <a:lnTo>
                    <a:pt x="61" y="590"/>
                  </a:lnTo>
                  <a:lnTo>
                    <a:pt x="61" y="593"/>
                  </a:lnTo>
                  <a:lnTo>
                    <a:pt x="61" y="593"/>
                  </a:lnTo>
                  <a:lnTo>
                    <a:pt x="61" y="594"/>
                  </a:lnTo>
                  <a:lnTo>
                    <a:pt x="60" y="597"/>
                  </a:lnTo>
                  <a:lnTo>
                    <a:pt x="60" y="597"/>
                  </a:lnTo>
                  <a:lnTo>
                    <a:pt x="61" y="600"/>
                  </a:lnTo>
                  <a:lnTo>
                    <a:pt x="61" y="600"/>
                  </a:lnTo>
                  <a:lnTo>
                    <a:pt x="61" y="606"/>
                  </a:lnTo>
                  <a:lnTo>
                    <a:pt x="61" y="606"/>
                  </a:lnTo>
                  <a:lnTo>
                    <a:pt x="60" y="611"/>
                  </a:lnTo>
                  <a:lnTo>
                    <a:pt x="60" y="611"/>
                  </a:lnTo>
                  <a:lnTo>
                    <a:pt x="58" y="621"/>
                  </a:lnTo>
                  <a:lnTo>
                    <a:pt x="58" y="621"/>
                  </a:lnTo>
                  <a:lnTo>
                    <a:pt x="60" y="623"/>
                  </a:lnTo>
                  <a:lnTo>
                    <a:pt x="60" y="625"/>
                  </a:lnTo>
                  <a:lnTo>
                    <a:pt x="58" y="628"/>
                  </a:lnTo>
                  <a:lnTo>
                    <a:pt x="60" y="633"/>
                  </a:lnTo>
                  <a:lnTo>
                    <a:pt x="60" y="633"/>
                  </a:lnTo>
                  <a:lnTo>
                    <a:pt x="58" y="633"/>
                  </a:lnTo>
                  <a:lnTo>
                    <a:pt x="58" y="631"/>
                  </a:lnTo>
                  <a:lnTo>
                    <a:pt x="58" y="627"/>
                  </a:lnTo>
                  <a:lnTo>
                    <a:pt x="58" y="627"/>
                  </a:lnTo>
                  <a:lnTo>
                    <a:pt x="58" y="633"/>
                  </a:lnTo>
                  <a:lnTo>
                    <a:pt x="58" y="633"/>
                  </a:lnTo>
                  <a:lnTo>
                    <a:pt x="57" y="638"/>
                  </a:lnTo>
                  <a:lnTo>
                    <a:pt x="57" y="638"/>
                  </a:lnTo>
                  <a:lnTo>
                    <a:pt x="58" y="641"/>
                  </a:lnTo>
                  <a:lnTo>
                    <a:pt x="58" y="645"/>
                  </a:lnTo>
                  <a:lnTo>
                    <a:pt x="58" y="645"/>
                  </a:lnTo>
                  <a:lnTo>
                    <a:pt x="60" y="644"/>
                  </a:lnTo>
                  <a:lnTo>
                    <a:pt x="60" y="645"/>
                  </a:lnTo>
                  <a:lnTo>
                    <a:pt x="61" y="651"/>
                  </a:lnTo>
                  <a:lnTo>
                    <a:pt x="61" y="651"/>
                  </a:lnTo>
                  <a:lnTo>
                    <a:pt x="63" y="641"/>
                  </a:lnTo>
                  <a:lnTo>
                    <a:pt x="63" y="637"/>
                  </a:lnTo>
                  <a:lnTo>
                    <a:pt x="61" y="633"/>
                  </a:lnTo>
                  <a:lnTo>
                    <a:pt x="61" y="633"/>
                  </a:lnTo>
                  <a:lnTo>
                    <a:pt x="63" y="631"/>
                  </a:lnTo>
                  <a:lnTo>
                    <a:pt x="63" y="633"/>
                  </a:lnTo>
                  <a:lnTo>
                    <a:pt x="64" y="633"/>
                  </a:lnTo>
                  <a:lnTo>
                    <a:pt x="64" y="633"/>
                  </a:lnTo>
                  <a:lnTo>
                    <a:pt x="64" y="633"/>
                  </a:lnTo>
                  <a:lnTo>
                    <a:pt x="63" y="628"/>
                  </a:lnTo>
                  <a:lnTo>
                    <a:pt x="61" y="628"/>
                  </a:lnTo>
                  <a:lnTo>
                    <a:pt x="61" y="628"/>
                  </a:lnTo>
                  <a:lnTo>
                    <a:pt x="61" y="628"/>
                  </a:lnTo>
                  <a:lnTo>
                    <a:pt x="60" y="621"/>
                  </a:lnTo>
                  <a:lnTo>
                    <a:pt x="60" y="621"/>
                  </a:lnTo>
                  <a:lnTo>
                    <a:pt x="61" y="620"/>
                  </a:lnTo>
                  <a:lnTo>
                    <a:pt x="61" y="617"/>
                  </a:lnTo>
                  <a:lnTo>
                    <a:pt x="61" y="610"/>
                  </a:lnTo>
                  <a:lnTo>
                    <a:pt x="61" y="610"/>
                  </a:lnTo>
                  <a:lnTo>
                    <a:pt x="63" y="610"/>
                  </a:lnTo>
                  <a:lnTo>
                    <a:pt x="63" y="611"/>
                  </a:lnTo>
                  <a:lnTo>
                    <a:pt x="63" y="614"/>
                  </a:lnTo>
                  <a:lnTo>
                    <a:pt x="64" y="615"/>
                  </a:lnTo>
                  <a:lnTo>
                    <a:pt x="64" y="615"/>
                  </a:lnTo>
                  <a:lnTo>
                    <a:pt x="64" y="613"/>
                  </a:lnTo>
                  <a:lnTo>
                    <a:pt x="63" y="610"/>
                  </a:lnTo>
                  <a:lnTo>
                    <a:pt x="63" y="610"/>
                  </a:lnTo>
                  <a:lnTo>
                    <a:pt x="64" y="607"/>
                  </a:lnTo>
                  <a:lnTo>
                    <a:pt x="64" y="607"/>
                  </a:lnTo>
                  <a:lnTo>
                    <a:pt x="65" y="600"/>
                  </a:lnTo>
                  <a:lnTo>
                    <a:pt x="65" y="600"/>
                  </a:lnTo>
                  <a:lnTo>
                    <a:pt x="64" y="597"/>
                  </a:lnTo>
                  <a:lnTo>
                    <a:pt x="63" y="593"/>
                  </a:lnTo>
                  <a:lnTo>
                    <a:pt x="63" y="593"/>
                  </a:lnTo>
                  <a:lnTo>
                    <a:pt x="65" y="593"/>
                  </a:lnTo>
                  <a:lnTo>
                    <a:pt x="67" y="588"/>
                  </a:lnTo>
                  <a:lnTo>
                    <a:pt x="67" y="588"/>
                  </a:lnTo>
                  <a:lnTo>
                    <a:pt x="67" y="584"/>
                  </a:lnTo>
                  <a:lnTo>
                    <a:pt x="67" y="581"/>
                  </a:lnTo>
                  <a:lnTo>
                    <a:pt x="67" y="581"/>
                  </a:lnTo>
                  <a:lnTo>
                    <a:pt x="68" y="581"/>
                  </a:lnTo>
                  <a:lnTo>
                    <a:pt x="68" y="581"/>
                  </a:lnTo>
                  <a:lnTo>
                    <a:pt x="70" y="580"/>
                  </a:lnTo>
                  <a:lnTo>
                    <a:pt x="70" y="580"/>
                  </a:lnTo>
                  <a:lnTo>
                    <a:pt x="71" y="564"/>
                  </a:lnTo>
                  <a:lnTo>
                    <a:pt x="71" y="564"/>
                  </a:lnTo>
                  <a:lnTo>
                    <a:pt x="74" y="547"/>
                  </a:lnTo>
                  <a:lnTo>
                    <a:pt x="74" y="547"/>
                  </a:lnTo>
                  <a:lnTo>
                    <a:pt x="74" y="543"/>
                  </a:lnTo>
                  <a:lnTo>
                    <a:pt x="75" y="538"/>
                  </a:lnTo>
                  <a:lnTo>
                    <a:pt x="77" y="533"/>
                  </a:lnTo>
                  <a:lnTo>
                    <a:pt x="77" y="528"/>
                  </a:lnTo>
                  <a:lnTo>
                    <a:pt x="77" y="528"/>
                  </a:lnTo>
                  <a:lnTo>
                    <a:pt x="80" y="520"/>
                  </a:lnTo>
                  <a:lnTo>
                    <a:pt x="81" y="511"/>
                  </a:lnTo>
                  <a:lnTo>
                    <a:pt x="81" y="511"/>
                  </a:lnTo>
                  <a:lnTo>
                    <a:pt x="82" y="501"/>
                  </a:lnTo>
                  <a:lnTo>
                    <a:pt x="82" y="501"/>
                  </a:lnTo>
                  <a:lnTo>
                    <a:pt x="84" y="498"/>
                  </a:lnTo>
                  <a:lnTo>
                    <a:pt x="87" y="496"/>
                  </a:lnTo>
                  <a:lnTo>
                    <a:pt x="87" y="496"/>
                  </a:lnTo>
                  <a:lnTo>
                    <a:pt x="87" y="493"/>
                  </a:lnTo>
                  <a:lnTo>
                    <a:pt x="87" y="488"/>
                  </a:lnTo>
                  <a:lnTo>
                    <a:pt x="87" y="488"/>
                  </a:lnTo>
                  <a:lnTo>
                    <a:pt x="88" y="486"/>
                  </a:lnTo>
                  <a:lnTo>
                    <a:pt x="91" y="481"/>
                  </a:lnTo>
                  <a:lnTo>
                    <a:pt x="91" y="481"/>
                  </a:lnTo>
                  <a:lnTo>
                    <a:pt x="90" y="487"/>
                  </a:lnTo>
                  <a:lnTo>
                    <a:pt x="90" y="490"/>
                  </a:lnTo>
                  <a:lnTo>
                    <a:pt x="90" y="491"/>
                  </a:lnTo>
                  <a:lnTo>
                    <a:pt x="90" y="491"/>
                  </a:lnTo>
                  <a:lnTo>
                    <a:pt x="88" y="491"/>
                  </a:lnTo>
                  <a:lnTo>
                    <a:pt x="88" y="493"/>
                  </a:lnTo>
                  <a:lnTo>
                    <a:pt x="87" y="497"/>
                  </a:lnTo>
                  <a:lnTo>
                    <a:pt x="87" y="497"/>
                  </a:lnTo>
                  <a:lnTo>
                    <a:pt x="87" y="498"/>
                  </a:lnTo>
                  <a:lnTo>
                    <a:pt x="88" y="497"/>
                  </a:lnTo>
                  <a:lnTo>
                    <a:pt x="90" y="494"/>
                  </a:lnTo>
                  <a:lnTo>
                    <a:pt x="90" y="494"/>
                  </a:lnTo>
                  <a:lnTo>
                    <a:pt x="88" y="501"/>
                  </a:lnTo>
                  <a:lnTo>
                    <a:pt x="88" y="501"/>
                  </a:lnTo>
                  <a:lnTo>
                    <a:pt x="87" y="508"/>
                  </a:lnTo>
                  <a:lnTo>
                    <a:pt x="87" y="508"/>
                  </a:lnTo>
                  <a:lnTo>
                    <a:pt x="85" y="507"/>
                  </a:lnTo>
                  <a:lnTo>
                    <a:pt x="85" y="506"/>
                  </a:lnTo>
                  <a:lnTo>
                    <a:pt x="87" y="501"/>
                  </a:lnTo>
                  <a:lnTo>
                    <a:pt x="87" y="501"/>
                  </a:lnTo>
                  <a:lnTo>
                    <a:pt x="85" y="504"/>
                  </a:lnTo>
                  <a:lnTo>
                    <a:pt x="85" y="508"/>
                  </a:lnTo>
                  <a:lnTo>
                    <a:pt x="82" y="518"/>
                  </a:lnTo>
                  <a:lnTo>
                    <a:pt x="82" y="518"/>
                  </a:lnTo>
                  <a:lnTo>
                    <a:pt x="84" y="516"/>
                  </a:lnTo>
                  <a:lnTo>
                    <a:pt x="85" y="511"/>
                  </a:lnTo>
                  <a:lnTo>
                    <a:pt x="85" y="511"/>
                  </a:lnTo>
                  <a:lnTo>
                    <a:pt x="84" y="523"/>
                  </a:lnTo>
                  <a:lnTo>
                    <a:pt x="84" y="523"/>
                  </a:lnTo>
                  <a:lnTo>
                    <a:pt x="82" y="528"/>
                  </a:lnTo>
                  <a:lnTo>
                    <a:pt x="82" y="528"/>
                  </a:lnTo>
                  <a:lnTo>
                    <a:pt x="82" y="534"/>
                  </a:lnTo>
                  <a:lnTo>
                    <a:pt x="82" y="534"/>
                  </a:lnTo>
                  <a:lnTo>
                    <a:pt x="82" y="534"/>
                  </a:lnTo>
                  <a:lnTo>
                    <a:pt x="82" y="534"/>
                  </a:lnTo>
                  <a:lnTo>
                    <a:pt x="81" y="531"/>
                  </a:lnTo>
                  <a:lnTo>
                    <a:pt x="81" y="530"/>
                  </a:lnTo>
                  <a:lnTo>
                    <a:pt x="81" y="531"/>
                  </a:lnTo>
                  <a:lnTo>
                    <a:pt x="81" y="531"/>
                  </a:lnTo>
                  <a:lnTo>
                    <a:pt x="81" y="537"/>
                  </a:lnTo>
                  <a:lnTo>
                    <a:pt x="81" y="537"/>
                  </a:lnTo>
                  <a:lnTo>
                    <a:pt x="78" y="550"/>
                  </a:lnTo>
                  <a:lnTo>
                    <a:pt x="78" y="550"/>
                  </a:lnTo>
                  <a:lnTo>
                    <a:pt x="78" y="554"/>
                  </a:lnTo>
                  <a:lnTo>
                    <a:pt x="78" y="554"/>
                  </a:lnTo>
                  <a:lnTo>
                    <a:pt x="78" y="557"/>
                  </a:lnTo>
                  <a:lnTo>
                    <a:pt x="78" y="557"/>
                  </a:lnTo>
                  <a:lnTo>
                    <a:pt x="78" y="563"/>
                  </a:lnTo>
                  <a:lnTo>
                    <a:pt x="78" y="563"/>
                  </a:lnTo>
                  <a:lnTo>
                    <a:pt x="77" y="560"/>
                  </a:lnTo>
                  <a:lnTo>
                    <a:pt x="77" y="563"/>
                  </a:lnTo>
                  <a:lnTo>
                    <a:pt x="75" y="571"/>
                  </a:lnTo>
                  <a:lnTo>
                    <a:pt x="75" y="571"/>
                  </a:lnTo>
                  <a:lnTo>
                    <a:pt x="77" y="573"/>
                  </a:lnTo>
                  <a:lnTo>
                    <a:pt x="77" y="570"/>
                  </a:lnTo>
                  <a:lnTo>
                    <a:pt x="77" y="570"/>
                  </a:lnTo>
                  <a:lnTo>
                    <a:pt x="78" y="576"/>
                  </a:lnTo>
                  <a:lnTo>
                    <a:pt x="77" y="578"/>
                  </a:lnTo>
                  <a:lnTo>
                    <a:pt x="77" y="581"/>
                  </a:lnTo>
                  <a:lnTo>
                    <a:pt x="77" y="586"/>
                  </a:lnTo>
                  <a:lnTo>
                    <a:pt x="77" y="586"/>
                  </a:lnTo>
                  <a:lnTo>
                    <a:pt x="75" y="587"/>
                  </a:lnTo>
                  <a:lnTo>
                    <a:pt x="75" y="587"/>
                  </a:lnTo>
                  <a:lnTo>
                    <a:pt x="74" y="586"/>
                  </a:lnTo>
                  <a:lnTo>
                    <a:pt x="74" y="586"/>
                  </a:lnTo>
                  <a:lnTo>
                    <a:pt x="74" y="590"/>
                  </a:lnTo>
                  <a:lnTo>
                    <a:pt x="75" y="593"/>
                  </a:lnTo>
                  <a:lnTo>
                    <a:pt x="75" y="593"/>
                  </a:lnTo>
                  <a:lnTo>
                    <a:pt x="74" y="601"/>
                  </a:lnTo>
                  <a:lnTo>
                    <a:pt x="74" y="604"/>
                  </a:lnTo>
                  <a:lnTo>
                    <a:pt x="75" y="607"/>
                  </a:lnTo>
                  <a:lnTo>
                    <a:pt x="75" y="607"/>
                  </a:lnTo>
                  <a:lnTo>
                    <a:pt x="74" y="611"/>
                  </a:lnTo>
                  <a:lnTo>
                    <a:pt x="74" y="614"/>
                  </a:lnTo>
                  <a:lnTo>
                    <a:pt x="72" y="614"/>
                  </a:lnTo>
                  <a:lnTo>
                    <a:pt x="72" y="614"/>
                  </a:lnTo>
                  <a:lnTo>
                    <a:pt x="74" y="624"/>
                  </a:lnTo>
                  <a:lnTo>
                    <a:pt x="74" y="624"/>
                  </a:lnTo>
                  <a:lnTo>
                    <a:pt x="74" y="631"/>
                  </a:lnTo>
                  <a:lnTo>
                    <a:pt x="74" y="631"/>
                  </a:lnTo>
                  <a:lnTo>
                    <a:pt x="74" y="638"/>
                  </a:lnTo>
                  <a:lnTo>
                    <a:pt x="74" y="638"/>
                  </a:lnTo>
                  <a:lnTo>
                    <a:pt x="71" y="628"/>
                  </a:lnTo>
                  <a:lnTo>
                    <a:pt x="71" y="628"/>
                  </a:lnTo>
                  <a:lnTo>
                    <a:pt x="70" y="638"/>
                  </a:lnTo>
                  <a:lnTo>
                    <a:pt x="70" y="638"/>
                  </a:lnTo>
                  <a:lnTo>
                    <a:pt x="70" y="640"/>
                  </a:lnTo>
                  <a:lnTo>
                    <a:pt x="71" y="640"/>
                  </a:lnTo>
                  <a:lnTo>
                    <a:pt x="71" y="638"/>
                  </a:lnTo>
                  <a:lnTo>
                    <a:pt x="71" y="640"/>
                  </a:lnTo>
                  <a:lnTo>
                    <a:pt x="71" y="640"/>
                  </a:lnTo>
                  <a:lnTo>
                    <a:pt x="71" y="640"/>
                  </a:lnTo>
                  <a:lnTo>
                    <a:pt x="71" y="638"/>
                  </a:lnTo>
                  <a:lnTo>
                    <a:pt x="71" y="634"/>
                  </a:lnTo>
                  <a:lnTo>
                    <a:pt x="71" y="634"/>
                  </a:lnTo>
                  <a:lnTo>
                    <a:pt x="72" y="635"/>
                  </a:lnTo>
                  <a:lnTo>
                    <a:pt x="72" y="640"/>
                  </a:lnTo>
                  <a:lnTo>
                    <a:pt x="74" y="645"/>
                  </a:lnTo>
                  <a:lnTo>
                    <a:pt x="72" y="651"/>
                  </a:lnTo>
                  <a:lnTo>
                    <a:pt x="72" y="651"/>
                  </a:lnTo>
                  <a:lnTo>
                    <a:pt x="72" y="655"/>
                  </a:lnTo>
                  <a:lnTo>
                    <a:pt x="72" y="655"/>
                  </a:lnTo>
                  <a:lnTo>
                    <a:pt x="74" y="661"/>
                  </a:lnTo>
                  <a:lnTo>
                    <a:pt x="74" y="661"/>
                  </a:lnTo>
                  <a:lnTo>
                    <a:pt x="75" y="667"/>
                  </a:lnTo>
                  <a:lnTo>
                    <a:pt x="75" y="671"/>
                  </a:lnTo>
                  <a:lnTo>
                    <a:pt x="75" y="671"/>
                  </a:lnTo>
                  <a:lnTo>
                    <a:pt x="77" y="675"/>
                  </a:lnTo>
                  <a:lnTo>
                    <a:pt x="77" y="675"/>
                  </a:lnTo>
                  <a:lnTo>
                    <a:pt x="77" y="677"/>
                  </a:lnTo>
                  <a:lnTo>
                    <a:pt x="77" y="677"/>
                  </a:lnTo>
                  <a:lnTo>
                    <a:pt x="75" y="675"/>
                  </a:lnTo>
                  <a:lnTo>
                    <a:pt x="75" y="675"/>
                  </a:lnTo>
                  <a:lnTo>
                    <a:pt x="77" y="683"/>
                  </a:lnTo>
                  <a:lnTo>
                    <a:pt x="77" y="683"/>
                  </a:lnTo>
                  <a:lnTo>
                    <a:pt x="77" y="685"/>
                  </a:lnTo>
                  <a:lnTo>
                    <a:pt x="77" y="685"/>
                  </a:lnTo>
                  <a:lnTo>
                    <a:pt x="77" y="688"/>
                  </a:lnTo>
                  <a:lnTo>
                    <a:pt x="77" y="688"/>
                  </a:lnTo>
                  <a:lnTo>
                    <a:pt x="77" y="688"/>
                  </a:lnTo>
                  <a:lnTo>
                    <a:pt x="75" y="687"/>
                  </a:lnTo>
                  <a:lnTo>
                    <a:pt x="75" y="683"/>
                  </a:lnTo>
                  <a:lnTo>
                    <a:pt x="75" y="683"/>
                  </a:lnTo>
                  <a:lnTo>
                    <a:pt x="77" y="691"/>
                  </a:lnTo>
                  <a:lnTo>
                    <a:pt x="77" y="691"/>
                  </a:lnTo>
                  <a:lnTo>
                    <a:pt x="78" y="700"/>
                  </a:lnTo>
                  <a:lnTo>
                    <a:pt x="78" y="700"/>
                  </a:lnTo>
                  <a:lnTo>
                    <a:pt x="78" y="707"/>
                  </a:lnTo>
                  <a:lnTo>
                    <a:pt x="78" y="713"/>
                  </a:lnTo>
                  <a:lnTo>
                    <a:pt x="78" y="713"/>
                  </a:lnTo>
                  <a:lnTo>
                    <a:pt x="80" y="718"/>
                  </a:lnTo>
                  <a:lnTo>
                    <a:pt x="81" y="723"/>
                  </a:lnTo>
                  <a:lnTo>
                    <a:pt x="81" y="723"/>
                  </a:lnTo>
                  <a:lnTo>
                    <a:pt x="81" y="721"/>
                  </a:lnTo>
                  <a:lnTo>
                    <a:pt x="82" y="723"/>
                  </a:lnTo>
                  <a:lnTo>
                    <a:pt x="82" y="723"/>
                  </a:lnTo>
                  <a:lnTo>
                    <a:pt x="82" y="727"/>
                  </a:lnTo>
                  <a:lnTo>
                    <a:pt x="84" y="733"/>
                  </a:lnTo>
                  <a:lnTo>
                    <a:pt x="84" y="733"/>
                  </a:lnTo>
                  <a:lnTo>
                    <a:pt x="85" y="738"/>
                  </a:lnTo>
                  <a:lnTo>
                    <a:pt x="85" y="738"/>
                  </a:lnTo>
                  <a:lnTo>
                    <a:pt x="85" y="744"/>
                  </a:lnTo>
                  <a:lnTo>
                    <a:pt x="85" y="744"/>
                  </a:lnTo>
                  <a:lnTo>
                    <a:pt x="84" y="741"/>
                  </a:lnTo>
                  <a:lnTo>
                    <a:pt x="82" y="737"/>
                  </a:lnTo>
                  <a:lnTo>
                    <a:pt x="82" y="737"/>
                  </a:lnTo>
                  <a:lnTo>
                    <a:pt x="84" y="745"/>
                  </a:lnTo>
                  <a:lnTo>
                    <a:pt x="85" y="755"/>
                  </a:lnTo>
                  <a:lnTo>
                    <a:pt x="85" y="755"/>
                  </a:lnTo>
                  <a:lnTo>
                    <a:pt x="87" y="757"/>
                  </a:lnTo>
                  <a:lnTo>
                    <a:pt x="87" y="755"/>
                  </a:lnTo>
                  <a:lnTo>
                    <a:pt x="87" y="753"/>
                  </a:lnTo>
                  <a:lnTo>
                    <a:pt x="87" y="751"/>
                  </a:lnTo>
                  <a:lnTo>
                    <a:pt x="87" y="751"/>
                  </a:lnTo>
                  <a:lnTo>
                    <a:pt x="88" y="755"/>
                  </a:lnTo>
                  <a:lnTo>
                    <a:pt x="90" y="761"/>
                  </a:lnTo>
                  <a:lnTo>
                    <a:pt x="90" y="761"/>
                  </a:lnTo>
                  <a:lnTo>
                    <a:pt x="91" y="760"/>
                  </a:lnTo>
                  <a:lnTo>
                    <a:pt x="92" y="761"/>
                  </a:lnTo>
                  <a:lnTo>
                    <a:pt x="92" y="761"/>
                  </a:lnTo>
                  <a:lnTo>
                    <a:pt x="91" y="758"/>
                  </a:lnTo>
                  <a:lnTo>
                    <a:pt x="92" y="757"/>
                  </a:lnTo>
                  <a:lnTo>
                    <a:pt x="92" y="757"/>
                  </a:lnTo>
                  <a:lnTo>
                    <a:pt x="94" y="761"/>
                  </a:lnTo>
                  <a:lnTo>
                    <a:pt x="94" y="761"/>
                  </a:lnTo>
                  <a:lnTo>
                    <a:pt x="94" y="767"/>
                  </a:lnTo>
                  <a:lnTo>
                    <a:pt x="94" y="774"/>
                  </a:lnTo>
                  <a:lnTo>
                    <a:pt x="94" y="774"/>
                  </a:lnTo>
                  <a:lnTo>
                    <a:pt x="92" y="772"/>
                  </a:lnTo>
                  <a:lnTo>
                    <a:pt x="92" y="770"/>
                  </a:lnTo>
                  <a:lnTo>
                    <a:pt x="92" y="767"/>
                  </a:lnTo>
                  <a:lnTo>
                    <a:pt x="91" y="764"/>
                  </a:lnTo>
                  <a:lnTo>
                    <a:pt x="91" y="764"/>
                  </a:lnTo>
                  <a:lnTo>
                    <a:pt x="91" y="768"/>
                  </a:lnTo>
                  <a:lnTo>
                    <a:pt x="91" y="772"/>
                  </a:lnTo>
                  <a:lnTo>
                    <a:pt x="91" y="772"/>
                  </a:lnTo>
                  <a:lnTo>
                    <a:pt x="91" y="771"/>
                  </a:lnTo>
                  <a:lnTo>
                    <a:pt x="92" y="772"/>
                  </a:lnTo>
                  <a:lnTo>
                    <a:pt x="94" y="775"/>
                  </a:lnTo>
                  <a:lnTo>
                    <a:pt x="97" y="782"/>
                  </a:lnTo>
                  <a:lnTo>
                    <a:pt x="97" y="782"/>
                  </a:lnTo>
                  <a:lnTo>
                    <a:pt x="95" y="782"/>
                  </a:lnTo>
                  <a:lnTo>
                    <a:pt x="95" y="781"/>
                  </a:lnTo>
                  <a:lnTo>
                    <a:pt x="95" y="781"/>
                  </a:lnTo>
                  <a:lnTo>
                    <a:pt x="95" y="785"/>
                  </a:lnTo>
                  <a:lnTo>
                    <a:pt x="95" y="790"/>
                  </a:lnTo>
                  <a:lnTo>
                    <a:pt x="95" y="790"/>
                  </a:lnTo>
                  <a:lnTo>
                    <a:pt x="97" y="790"/>
                  </a:lnTo>
                  <a:lnTo>
                    <a:pt x="97" y="788"/>
                  </a:lnTo>
                  <a:lnTo>
                    <a:pt x="97" y="787"/>
                  </a:lnTo>
                  <a:lnTo>
                    <a:pt x="97" y="787"/>
                  </a:lnTo>
                  <a:lnTo>
                    <a:pt x="101" y="797"/>
                  </a:lnTo>
                  <a:lnTo>
                    <a:pt x="101" y="797"/>
                  </a:lnTo>
                  <a:lnTo>
                    <a:pt x="104" y="807"/>
                  </a:lnTo>
                  <a:lnTo>
                    <a:pt x="104" y="807"/>
                  </a:lnTo>
                  <a:lnTo>
                    <a:pt x="104" y="807"/>
                  </a:lnTo>
                  <a:lnTo>
                    <a:pt x="104" y="804"/>
                  </a:lnTo>
                  <a:lnTo>
                    <a:pt x="102" y="800"/>
                  </a:lnTo>
                  <a:lnTo>
                    <a:pt x="102" y="800"/>
                  </a:lnTo>
                  <a:lnTo>
                    <a:pt x="102" y="798"/>
                  </a:lnTo>
                  <a:lnTo>
                    <a:pt x="102" y="798"/>
                  </a:lnTo>
                  <a:lnTo>
                    <a:pt x="105" y="804"/>
                  </a:lnTo>
                  <a:lnTo>
                    <a:pt x="108" y="810"/>
                  </a:lnTo>
                  <a:lnTo>
                    <a:pt x="108" y="810"/>
                  </a:lnTo>
                  <a:lnTo>
                    <a:pt x="108" y="808"/>
                  </a:lnTo>
                  <a:lnTo>
                    <a:pt x="108" y="807"/>
                  </a:lnTo>
                  <a:lnTo>
                    <a:pt x="105" y="802"/>
                  </a:lnTo>
                  <a:lnTo>
                    <a:pt x="105" y="802"/>
                  </a:lnTo>
                  <a:lnTo>
                    <a:pt x="105" y="801"/>
                  </a:lnTo>
                  <a:lnTo>
                    <a:pt x="107" y="802"/>
                  </a:lnTo>
                  <a:lnTo>
                    <a:pt x="107" y="802"/>
                  </a:lnTo>
                  <a:lnTo>
                    <a:pt x="107" y="801"/>
                  </a:lnTo>
                  <a:lnTo>
                    <a:pt x="107" y="801"/>
                  </a:lnTo>
                  <a:lnTo>
                    <a:pt x="110" y="805"/>
                  </a:lnTo>
                  <a:lnTo>
                    <a:pt x="111" y="807"/>
                  </a:lnTo>
                  <a:lnTo>
                    <a:pt x="111" y="805"/>
                  </a:lnTo>
                  <a:close/>
                  <a:moveTo>
                    <a:pt x="137" y="433"/>
                  </a:moveTo>
                  <a:lnTo>
                    <a:pt x="137" y="433"/>
                  </a:lnTo>
                  <a:lnTo>
                    <a:pt x="138" y="429"/>
                  </a:lnTo>
                  <a:lnTo>
                    <a:pt x="141" y="423"/>
                  </a:lnTo>
                  <a:lnTo>
                    <a:pt x="141" y="423"/>
                  </a:lnTo>
                  <a:lnTo>
                    <a:pt x="140" y="429"/>
                  </a:lnTo>
                  <a:lnTo>
                    <a:pt x="137" y="433"/>
                  </a:lnTo>
                  <a:close/>
                  <a:moveTo>
                    <a:pt x="326" y="213"/>
                  </a:moveTo>
                  <a:lnTo>
                    <a:pt x="326" y="213"/>
                  </a:lnTo>
                  <a:lnTo>
                    <a:pt x="322" y="217"/>
                  </a:lnTo>
                  <a:lnTo>
                    <a:pt x="322" y="219"/>
                  </a:lnTo>
                  <a:lnTo>
                    <a:pt x="324" y="219"/>
                  </a:lnTo>
                  <a:lnTo>
                    <a:pt x="324" y="219"/>
                  </a:lnTo>
                  <a:lnTo>
                    <a:pt x="318" y="223"/>
                  </a:lnTo>
                  <a:lnTo>
                    <a:pt x="311" y="227"/>
                  </a:lnTo>
                  <a:lnTo>
                    <a:pt x="311" y="227"/>
                  </a:lnTo>
                  <a:lnTo>
                    <a:pt x="312" y="224"/>
                  </a:lnTo>
                  <a:lnTo>
                    <a:pt x="314" y="222"/>
                  </a:lnTo>
                  <a:lnTo>
                    <a:pt x="314" y="222"/>
                  </a:lnTo>
                  <a:lnTo>
                    <a:pt x="316" y="220"/>
                  </a:lnTo>
                  <a:lnTo>
                    <a:pt x="318" y="220"/>
                  </a:lnTo>
                  <a:lnTo>
                    <a:pt x="318" y="220"/>
                  </a:lnTo>
                  <a:lnTo>
                    <a:pt x="318" y="219"/>
                  </a:lnTo>
                  <a:lnTo>
                    <a:pt x="318" y="219"/>
                  </a:lnTo>
                  <a:lnTo>
                    <a:pt x="318" y="219"/>
                  </a:lnTo>
                  <a:lnTo>
                    <a:pt x="322" y="216"/>
                  </a:lnTo>
                  <a:lnTo>
                    <a:pt x="324" y="214"/>
                  </a:lnTo>
                  <a:lnTo>
                    <a:pt x="326" y="213"/>
                  </a:lnTo>
                  <a:close/>
                  <a:moveTo>
                    <a:pt x="319" y="1121"/>
                  </a:moveTo>
                  <a:lnTo>
                    <a:pt x="319" y="1121"/>
                  </a:lnTo>
                  <a:lnTo>
                    <a:pt x="315" y="1121"/>
                  </a:lnTo>
                  <a:lnTo>
                    <a:pt x="312" y="1118"/>
                  </a:lnTo>
                  <a:lnTo>
                    <a:pt x="312" y="1118"/>
                  </a:lnTo>
                  <a:lnTo>
                    <a:pt x="315" y="1118"/>
                  </a:lnTo>
                  <a:lnTo>
                    <a:pt x="319" y="1121"/>
                  </a:lnTo>
                  <a:close/>
                  <a:moveTo>
                    <a:pt x="305" y="1152"/>
                  </a:moveTo>
                  <a:lnTo>
                    <a:pt x="305" y="1152"/>
                  </a:lnTo>
                  <a:lnTo>
                    <a:pt x="296" y="1149"/>
                  </a:lnTo>
                  <a:lnTo>
                    <a:pt x="291" y="1148"/>
                  </a:lnTo>
                  <a:lnTo>
                    <a:pt x="291" y="1148"/>
                  </a:lnTo>
                  <a:lnTo>
                    <a:pt x="288" y="1145"/>
                  </a:lnTo>
                  <a:lnTo>
                    <a:pt x="284" y="1144"/>
                  </a:lnTo>
                  <a:lnTo>
                    <a:pt x="284" y="1144"/>
                  </a:lnTo>
                  <a:lnTo>
                    <a:pt x="281" y="1141"/>
                  </a:lnTo>
                  <a:lnTo>
                    <a:pt x="279" y="1138"/>
                  </a:lnTo>
                  <a:lnTo>
                    <a:pt x="279" y="1138"/>
                  </a:lnTo>
                  <a:lnTo>
                    <a:pt x="276" y="1136"/>
                  </a:lnTo>
                  <a:lnTo>
                    <a:pt x="275" y="1136"/>
                  </a:lnTo>
                  <a:lnTo>
                    <a:pt x="276" y="1141"/>
                  </a:lnTo>
                  <a:lnTo>
                    <a:pt x="276" y="1141"/>
                  </a:lnTo>
                  <a:lnTo>
                    <a:pt x="274" y="1136"/>
                  </a:lnTo>
                  <a:lnTo>
                    <a:pt x="272" y="1134"/>
                  </a:lnTo>
                  <a:lnTo>
                    <a:pt x="274" y="1134"/>
                  </a:lnTo>
                  <a:lnTo>
                    <a:pt x="278" y="1134"/>
                  </a:lnTo>
                  <a:lnTo>
                    <a:pt x="278" y="1134"/>
                  </a:lnTo>
                  <a:lnTo>
                    <a:pt x="282" y="1138"/>
                  </a:lnTo>
                  <a:lnTo>
                    <a:pt x="288" y="1141"/>
                  </a:lnTo>
                  <a:lnTo>
                    <a:pt x="288" y="1141"/>
                  </a:lnTo>
                  <a:lnTo>
                    <a:pt x="294" y="1144"/>
                  </a:lnTo>
                  <a:lnTo>
                    <a:pt x="294" y="1144"/>
                  </a:lnTo>
                  <a:lnTo>
                    <a:pt x="299" y="1146"/>
                  </a:lnTo>
                  <a:lnTo>
                    <a:pt x="299" y="1146"/>
                  </a:lnTo>
                  <a:lnTo>
                    <a:pt x="299" y="1148"/>
                  </a:lnTo>
                  <a:lnTo>
                    <a:pt x="298" y="1148"/>
                  </a:lnTo>
                  <a:lnTo>
                    <a:pt x="296" y="1146"/>
                  </a:lnTo>
                  <a:lnTo>
                    <a:pt x="295" y="1146"/>
                  </a:lnTo>
                  <a:lnTo>
                    <a:pt x="295" y="1146"/>
                  </a:lnTo>
                  <a:lnTo>
                    <a:pt x="302" y="1151"/>
                  </a:lnTo>
                  <a:lnTo>
                    <a:pt x="304" y="1152"/>
                  </a:lnTo>
                  <a:lnTo>
                    <a:pt x="305" y="1152"/>
                  </a:lnTo>
                  <a:close/>
                  <a:moveTo>
                    <a:pt x="982" y="1109"/>
                  </a:moveTo>
                  <a:lnTo>
                    <a:pt x="982" y="1109"/>
                  </a:lnTo>
                  <a:lnTo>
                    <a:pt x="987" y="1105"/>
                  </a:lnTo>
                  <a:lnTo>
                    <a:pt x="992" y="1102"/>
                  </a:lnTo>
                  <a:lnTo>
                    <a:pt x="992" y="1102"/>
                  </a:lnTo>
                  <a:lnTo>
                    <a:pt x="987" y="1106"/>
                  </a:lnTo>
                  <a:lnTo>
                    <a:pt x="982" y="1109"/>
                  </a:lnTo>
                  <a:close/>
                  <a:moveTo>
                    <a:pt x="1191" y="821"/>
                  </a:moveTo>
                  <a:lnTo>
                    <a:pt x="1191" y="821"/>
                  </a:lnTo>
                  <a:lnTo>
                    <a:pt x="1194" y="817"/>
                  </a:lnTo>
                  <a:lnTo>
                    <a:pt x="1195" y="814"/>
                  </a:lnTo>
                  <a:lnTo>
                    <a:pt x="1195" y="815"/>
                  </a:lnTo>
                  <a:lnTo>
                    <a:pt x="1195" y="815"/>
                  </a:lnTo>
                  <a:lnTo>
                    <a:pt x="1192" y="821"/>
                  </a:lnTo>
                  <a:lnTo>
                    <a:pt x="1192" y="822"/>
                  </a:lnTo>
                  <a:lnTo>
                    <a:pt x="1191" y="821"/>
                  </a:lnTo>
                  <a:close/>
                  <a:moveTo>
                    <a:pt x="1224" y="553"/>
                  </a:moveTo>
                  <a:lnTo>
                    <a:pt x="1224" y="553"/>
                  </a:lnTo>
                  <a:lnTo>
                    <a:pt x="1225" y="557"/>
                  </a:lnTo>
                  <a:lnTo>
                    <a:pt x="1224" y="561"/>
                  </a:lnTo>
                  <a:lnTo>
                    <a:pt x="1224" y="561"/>
                  </a:lnTo>
                  <a:lnTo>
                    <a:pt x="1224" y="556"/>
                  </a:lnTo>
                  <a:lnTo>
                    <a:pt x="1224" y="553"/>
                  </a:lnTo>
                  <a:lnTo>
                    <a:pt x="1224" y="553"/>
                  </a:lnTo>
                  <a:close/>
                  <a:moveTo>
                    <a:pt x="38" y="386"/>
                  </a:moveTo>
                  <a:lnTo>
                    <a:pt x="38" y="386"/>
                  </a:lnTo>
                  <a:lnTo>
                    <a:pt x="35" y="393"/>
                  </a:lnTo>
                  <a:lnTo>
                    <a:pt x="31" y="400"/>
                  </a:lnTo>
                  <a:lnTo>
                    <a:pt x="31" y="400"/>
                  </a:lnTo>
                  <a:lnTo>
                    <a:pt x="35" y="391"/>
                  </a:lnTo>
                  <a:lnTo>
                    <a:pt x="37" y="387"/>
                  </a:lnTo>
                  <a:lnTo>
                    <a:pt x="38" y="386"/>
                  </a:lnTo>
                  <a:close/>
                  <a:moveTo>
                    <a:pt x="101" y="310"/>
                  </a:moveTo>
                  <a:lnTo>
                    <a:pt x="101" y="310"/>
                  </a:lnTo>
                  <a:lnTo>
                    <a:pt x="100" y="313"/>
                  </a:lnTo>
                  <a:lnTo>
                    <a:pt x="95" y="319"/>
                  </a:lnTo>
                  <a:lnTo>
                    <a:pt x="92" y="324"/>
                  </a:lnTo>
                  <a:lnTo>
                    <a:pt x="91" y="324"/>
                  </a:lnTo>
                  <a:lnTo>
                    <a:pt x="91" y="324"/>
                  </a:lnTo>
                  <a:lnTo>
                    <a:pt x="91" y="324"/>
                  </a:lnTo>
                  <a:lnTo>
                    <a:pt x="94" y="320"/>
                  </a:lnTo>
                  <a:lnTo>
                    <a:pt x="95" y="317"/>
                  </a:lnTo>
                  <a:lnTo>
                    <a:pt x="98" y="313"/>
                  </a:lnTo>
                  <a:lnTo>
                    <a:pt x="101" y="310"/>
                  </a:lnTo>
                  <a:close/>
                  <a:moveTo>
                    <a:pt x="8" y="698"/>
                  </a:moveTo>
                  <a:lnTo>
                    <a:pt x="8" y="698"/>
                  </a:lnTo>
                  <a:lnTo>
                    <a:pt x="8" y="697"/>
                  </a:lnTo>
                  <a:lnTo>
                    <a:pt x="7" y="695"/>
                  </a:lnTo>
                  <a:lnTo>
                    <a:pt x="7" y="695"/>
                  </a:lnTo>
                  <a:lnTo>
                    <a:pt x="7" y="688"/>
                  </a:lnTo>
                  <a:lnTo>
                    <a:pt x="7" y="688"/>
                  </a:lnTo>
                  <a:lnTo>
                    <a:pt x="8" y="694"/>
                  </a:lnTo>
                  <a:lnTo>
                    <a:pt x="8" y="694"/>
                  </a:lnTo>
                  <a:lnTo>
                    <a:pt x="8" y="698"/>
                  </a:lnTo>
                  <a:close/>
                  <a:moveTo>
                    <a:pt x="208" y="242"/>
                  </a:moveTo>
                  <a:lnTo>
                    <a:pt x="208" y="242"/>
                  </a:lnTo>
                  <a:lnTo>
                    <a:pt x="194" y="259"/>
                  </a:lnTo>
                  <a:lnTo>
                    <a:pt x="194" y="259"/>
                  </a:lnTo>
                  <a:lnTo>
                    <a:pt x="201" y="249"/>
                  </a:lnTo>
                  <a:lnTo>
                    <a:pt x="208" y="242"/>
                  </a:lnTo>
                  <a:close/>
                  <a:moveTo>
                    <a:pt x="98" y="413"/>
                  </a:moveTo>
                  <a:lnTo>
                    <a:pt x="98" y="413"/>
                  </a:lnTo>
                  <a:lnTo>
                    <a:pt x="95" y="420"/>
                  </a:lnTo>
                  <a:lnTo>
                    <a:pt x="95" y="420"/>
                  </a:lnTo>
                  <a:lnTo>
                    <a:pt x="94" y="423"/>
                  </a:lnTo>
                  <a:lnTo>
                    <a:pt x="92" y="423"/>
                  </a:lnTo>
                  <a:lnTo>
                    <a:pt x="92" y="423"/>
                  </a:lnTo>
                  <a:lnTo>
                    <a:pt x="94" y="420"/>
                  </a:lnTo>
                  <a:lnTo>
                    <a:pt x="94" y="420"/>
                  </a:lnTo>
                  <a:lnTo>
                    <a:pt x="95" y="417"/>
                  </a:lnTo>
                  <a:lnTo>
                    <a:pt x="95" y="417"/>
                  </a:lnTo>
                  <a:lnTo>
                    <a:pt x="97" y="414"/>
                  </a:lnTo>
                  <a:lnTo>
                    <a:pt x="98" y="413"/>
                  </a:lnTo>
                  <a:close/>
                  <a:moveTo>
                    <a:pt x="65" y="513"/>
                  </a:moveTo>
                  <a:lnTo>
                    <a:pt x="65" y="513"/>
                  </a:lnTo>
                  <a:lnTo>
                    <a:pt x="65" y="516"/>
                  </a:lnTo>
                  <a:lnTo>
                    <a:pt x="65" y="518"/>
                  </a:lnTo>
                  <a:lnTo>
                    <a:pt x="64" y="520"/>
                  </a:lnTo>
                  <a:lnTo>
                    <a:pt x="64" y="520"/>
                  </a:lnTo>
                  <a:lnTo>
                    <a:pt x="64" y="520"/>
                  </a:lnTo>
                  <a:lnTo>
                    <a:pt x="64" y="517"/>
                  </a:lnTo>
                  <a:lnTo>
                    <a:pt x="65" y="513"/>
                  </a:lnTo>
                  <a:close/>
                  <a:moveTo>
                    <a:pt x="95" y="772"/>
                  </a:moveTo>
                  <a:lnTo>
                    <a:pt x="95" y="772"/>
                  </a:lnTo>
                  <a:lnTo>
                    <a:pt x="97" y="774"/>
                  </a:lnTo>
                  <a:lnTo>
                    <a:pt x="98" y="775"/>
                  </a:lnTo>
                  <a:lnTo>
                    <a:pt x="98" y="775"/>
                  </a:lnTo>
                  <a:lnTo>
                    <a:pt x="97" y="777"/>
                  </a:lnTo>
                  <a:lnTo>
                    <a:pt x="98" y="780"/>
                  </a:lnTo>
                  <a:lnTo>
                    <a:pt x="100" y="782"/>
                  </a:lnTo>
                  <a:lnTo>
                    <a:pt x="100" y="784"/>
                  </a:lnTo>
                  <a:lnTo>
                    <a:pt x="100" y="784"/>
                  </a:lnTo>
                  <a:lnTo>
                    <a:pt x="97" y="781"/>
                  </a:lnTo>
                  <a:lnTo>
                    <a:pt x="95" y="777"/>
                  </a:lnTo>
                  <a:lnTo>
                    <a:pt x="95" y="772"/>
                  </a:lnTo>
                  <a:close/>
                  <a:moveTo>
                    <a:pt x="85" y="630"/>
                  </a:moveTo>
                  <a:lnTo>
                    <a:pt x="85" y="630"/>
                  </a:lnTo>
                  <a:lnTo>
                    <a:pt x="85" y="634"/>
                  </a:lnTo>
                  <a:lnTo>
                    <a:pt x="85" y="638"/>
                  </a:lnTo>
                  <a:lnTo>
                    <a:pt x="85" y="638"/>
                  </a:lnTo>
                  <a:lnTo>
                    <a:pt x="84" y="633"/>
                  </a:lnTo>
                  <a:lnTo>
                    <a:pt x="84" y="633"/>
                  </a:lnTo>
                  <a:lnTo>
                    <a:pt x="85" y="630"/>
                  </a:lnTo>
                  <a:close/>
                  <a:moveTo>
                    <a:pt x="112" y="496"/>
                  </a:moveTo>
                  <a:lnTo>
                    <a:pt x="112" y="496"/>
                  </a:lnTo>
                  <a:lnTo>
                    <a:pt x="112" y="500"/>
                  </a:lnTo>
                  <a:lnTo>
                    <a:pt x="110" y="506"/>
                  </a:lnTo>
                  <a:lnTo>
                    <a:pt x="110" y="506"/>
                  </a:lnTo>
                  <a:lnTo>
                    <a:pt x="111" y="500"/>
                  </a:lnTo>
                  <a:lnTo>
                    <a:pt x="112" y="496"/>
                  </a:lnTo>
                  <a:close/>
                  <a:moveTo>
                    <a:pt x="121" y="468"/>
                  </a:moveTo>
                  <a:lnTo>
                    <a:pt x="121" y="468"/>
                  </a:lnTo>
                  <a:lnTo>
                    <a:pt x="120" y="476"/>
                  </a:lnTo>
                  <a:lnTo>
                    <a:pt x="118" y="478"/>
                  </a:lnTo>
                  <a:lnTo>
                    <a:pt x="117" y="478"/>
                  </a:lnTo>
                  <a:lnTo>
                    <a:pt x="117" y="478"/>
                  </a:lnTo>
                  <a:lnTo>
                    <a:pt x="118" y="474"/>
                  </a:lnTo>
                  <a:lnTo>
                    <a:pt x="121" y="468"/>
                  </a:lnTo>
                  <a:close/>
                  <a:moveTo>
                    <a:pt x="30" y="665"/>
                  </a:moveTo>
                  <a:lnTo>
                    <a:pt x="30" y="665"/>
                  </a:lnTo>
                  <a:lnTo>
                    <a:pt x="30" y="654"/>
                  </a:lnTo>
                  <a:lnTo>
                    <a:pt x="30" y="654"/>
                  </a:lnTo>
                  <a:lnTo>
                    <a:pt x="30" y="644"/>
                  </a:lnTo>
                  <a:lnTo>
                    <a:pt x="30" y="644"/>
                  </a:lnTo>
                  <a:lnTo>
                    <a:pt x="31" y="655"/>
                  </a:lnTo>
                  <a:lnTo>
                    <a:pt x="31" y="655"/>
                  </a:lnTo>
                  <a:lnTo>
                    <a:pt x="30" y="663"/>
                  </a:lnTo>
                  <a:lnTo>
                    <a:pt x="30" y="663"/>
                  </a:lnTo>
                  <a:lnTo>
                    <a:pt x="30" y="665"/>
                  </a:lnTo>
                  <a:close/>
                  <a:moveTo>
                    <a:pt x="172" y="400"/>
                  </a:moveTo>
                  <a:lnTo>
                    <a:pt x="172" y="400"/>
                  </a:lnTo>
                  <a:lnTo>
                    <a:pt x="172" y="403"/>
                  </a:lnTo>
                  <a:lnTo>
                    <a:pt x="172" y="406"/>
                  </a:lnTo>
                  <a:lnTo>
                    <a:pt x="168" y="410"/>
                  </a:lnTo>
                  <a:lnTo>
                    <a:pt x="168" y="410"/>
                  </a:lnTo>
                  <a:lnTo>
                    <a:pt x="169" y="404"/>
                  </a:lnTo>
                  <a:lnTo>
                    <a:pt x="172" y="400"/>
                  </a:lnTo>
                  <a:close/>
                  <a:moveTo>
                    <a:pt x="88" y="506"/>
                  </a:moveTo>
                  <a:lnTo>
                    <a:pt x="88" y="506"/>
                  </a:lnTo>
                  <a:lnTo>
                    <a:pt x="88" y="510"/>
                  </a:lnTo>
                  <a:lnTo>
                    <a:pt x="87" y="516"/>
                  </a:lnTo>
                  <a:lnTo>
                    <a:pt x="87" y="516"/>
                  </a:lnTo>
                  <a:lnTo>
                    <a:pt x="87" y="508"/>
                  </a:lnTo>
                  <a:lnTo>
                    <a:pt x="87" y="506"/>
                  </a:lnTo>
                  <a:lnTo>
                    <a:pt x="88" y="506"/>
                  </a:lnTo>
                  <a:close/>
                  <a:moveTo>
                    <a:pt x="24" y="665"/>
                  </a:moveTo>
                  <a:lnTo>
                    <a:pt x="24" y="665"/>
                  </a:lnTo>
                  <a:lnTo>
                    <a:pt x="24" y="670"/>
                  </a:lnTo>
                  <a:lnTo>
                    <a:pt x="24" y="673"/>
                  </a:lnTo>
                  <a:lnTo>
                    <a:pt x="24" y="673"/>
                  </a:lnTo>
                  <a:lnTo>
                    <a:pt x="24" y="673"/>
                  </a:lnTo>
                  <a:lnTo>
                    <a:pt x="23" y="667"/>
                  </a:lnTo>
                  <a:lnTo>
                    <a:pt x="23" y="664"/>
                  </a:lnTo>
                  <a:lnTo>
                    <a:pt x="24" y="665"/>
                  </a:lnTo>
                  <a:close/>
                  <a:moveTo>
                    <a:pt x="23" y="657"/>
                  </a:moveTo>
                  <a:lnTo>
                    <a:pt x="23" y="657"/>
                  </a:lnTo>
                  <a:lnTo>
                    <a:pt x="24" y="655"/>
                  </a:lnTo>
                  <a:lnTo>
                    <a:pt x="24" y="654"/>
                  </a:lnTo>
                  <a:lnTo>
                    <a:pt x="24" y="650"/>
                  </a:lnTo>
                  <a:lnTo>
                    <a:pt x="24" y="650"/>
                  </a:lnTo>
                  <a:lnTo>
                    <a:pt x="24" y="650"/>
                  </a:lnTo>
                  <a:lnTo>
                    <a:pt x="24" y="650"/>
                  </a:lnTo>
                  <a:lnTo>
                    <a:pt x="24" y="648"/>
                  </a:lnTo>
                  <a:lnTo>
                    <a:pt x="25" y="648"/>
                  </a:lnTo>
                  <a:lnTo>
                    <a:pt x="25" y="648"/>
                  </a:lnTo>
                  <a:lnTo>
                    <a:pt x="24" y="653"/>
                  </a:lnTo>
                  <a:lnTo>
                    <a:pt x="25" y="657"/>
                  </a:lnTo>
                  <a:lnTo>
                    <a:pt x="25" y="657"/>
                  </a:lnTo>
                  <a:lnTo>
                    <a:pt x="24" y="661"/>
                  </a:lnTo>
                  <a:lnTo>
                    <a:pt x="24" y="661"/>
                  </a:lnTo>
                  <a:lnTo>
                    <a:pt x="24" y="660"/>
                  </a:lnTo>
                  <a:lnTo>
                    <a:pt x="23" y="657"/>
                  </a:lnTo>
                  <a:close/>
                  <a:moveTo>
                    <a:pt x="27" y="637"/>
                  </a:moveTo>
                  <a:lnTo>
                    <a:pt x="27" y="637"/>
                  </a:lnTo>
                  <a:lnTo>
                    <a:pt x="27" y="643"/>
                  </a:lnTo>
                  <a:lnTo>
                    <a:pt x="27" y="648"/>
                  </a:lnTo>
                  <a:lnTo>
                    <a:pt x="27" y="648"/>
                  </a:lnTo>
                  <a:lnTo>
                    <a:pt x="25" y="641"/>
                  </a:lnTo>
                  <a:lnTo>
                    <a:pt x="27" y="637"/>
                  </a:lnTo>
                  <a:close/>
                  <a:moveTo>
                    <a:pt x="72" y="506"/>
                  </a:moveTo>
                  <a:lnTo>
                    <a:pt x="72" y="506"/>
                  </a:lnTo>
                  <a:lnTo>
                    <a:pt x="72" y="500"/>
                  </a:lnTo>
                  <a:lnTo>
                    <a:pt x="72" y="500"/>
                  </a:lnTo>
                  <a:lnTo>
                    <a:pt x="74" y="503"/>
                  </a:lnTo>
                  <a:lnTo>
                    <a:pt x="75" y="504"/>
                  </a:lnTo>
                  <a:lnTo>
                    <a:pt x="75" y="506"/>
                  </a:lnTo>
                  <a:lnTo>
                    <a:pt x="74" y="508"/>
                  </a:lnTo>
                  <a:lnTo>
                    <a:pt x="74" y="508"/>
                  </a:lnTo>
                  <a:lnTo>
                    <a:pt x="74" y="508"/>
                  </a:lnTo>
                  <a:lnTo>
                    <a:pt x="74" y="507"/>
                  </a:lnTo>
                  <a:lnTo>
                    <a:pt x="74" y="506"/>
                  </a:lnTo>
                  <a:lnTo>
                    <a:pt x="72" y="506"/>
                  </a:lnTo>
                  <a:close/>
                  <a:moveTo>
                    <a:pt x="25" y="601"/>
                  </a:moveTo>
                  <a:lnTo>
                    <a:pt x="25" y="601"/>
                  </a:lnTo>
                  <a:lnTo>
                    <a:pt x="27" y="606"/>
                  </a:lnTo>
                  <a:lnTo>
                    <a:pt x="27" y="606"/>
                  </a:lnTo>
                  <a:lnTo>
                    <a:pt x="25" y="610"/>
                  </a:lnTo>
                  <a:lnTo>
                    <a:pt x="25" y="610"/>
                  </a:lnTo>
                  <a:lnTo>
                    <a:pt x="25" y="606"/>
                  </a:lnTo>
                  <a:lnTo>
                    <a:pt x="25" y="601"/>
                  </a:lnTo>
                  <a:close/>
                  <a:moveTo>
                    <a:pt x="7" y="668"/>
                  </a:moveTo>
                  <a:lnTo>
                    <a:pt x="7" y="668"/>
                  </a:lnTo>
                  <a:lnTo>
                    <a:pt x="5" y="670"/>
                  </a:lnTo>
                  <a:lnTo>
                    <a:pt x="7" y="671"/>
                  </a:lnTo>
                  <a:lnTo>
                    <a:pt x="7" y="677"/>
                  </a:lnTo>
                  <a:lnTo>
                    <a:pt x="7" y="677"/>
                  </a:lnTo>
                  <a:lnTo>
                    <a:pt x="5" y="675"/>
                  </a:lnTo>
                  <a:lnTo>
                    <a:pt x="5" y="670"/>
                  </a:lnTo>
                  <a:lnTo>
                    <a:pt x="5" y="667"/>
                  </a:lnTo>
                  <a:lnTo>
                    <a:pt x="5" y="667"/>
                  </a:lnTo>
                  <a:lnTo>
                    <a:pt x="7" y="668"/>
                  </a:lnTo>
                  <a:close/>
                  <a:moveTo>
                    <a:pt x="78" y="483"/>
                  </a:moveTo>
                  <a:lnTo>
                    <a:pt x="78" y="483"/>
                  </a:lnTo>
                  <a:lnTo>
                    <a:pt x="80" y="478"/>
                  </a:lnTo>
                  <a:lnTo>
                    <a:pt x="80" y="473"/>
                  </a:lnTo>
                  <a:lnTo>
                    <a:pt x="80" y="473"/>
                  </a:lnTo>
                  <a:lnTo>
                    <a:pt x="81" y="468"/>
                  </a:lnTo>
                  <a:lnTo>
                    <a:pt x="84" y="466"/>
                  </a:lnTo>
                  <a:lnTo>
                    <a:pt x="84" y="466"/>
                  </a:lnTo>
                  <a:lnTo>
                    <a:pt x="84" y="463"/>
                  </a:lnTo>
                  <a:lnTo>
                    <a:pt x="84" y="460"/>
                  </a:lnTo>
                  <a:lnTo>
                    <a:pt x="87" y="454"/>
                  </a:lnTo>
                  <a:lnTo>
                    <a:pt x="87" y="454"/>
                  </a:lnTo>
                  <a:lnTo>
                    <a:pt x="85" y="460"/>
                  </a:lnTo>
                  <a:lnTo>
                    <a:pt x="85" y="463"/>
                  </a:lnTo>
                  <a:lnTo>
                    <a:pt x="85" y="467"/>
                  </a:lnTo>
                  <a:lnTo>
                    <a:pt x="85" y="473"/>
                  </a:lnTo>
                  <a:lnTo>
                    <a:pt x="85" y="473"/>
                  </a:lnTo>
                  <a:lnTo>
                    <a:pt x="84" y="474"/>
                  </a:lnTo>
                  <a:lnTo>
                    <a:pt x="82" y="476"/>
                  </a:lnTo>
                  <a:lnTo>
                    <a:pt x="82" y="477"/>
                  </a:lnTo>
                  <a:lnTo>
                    <a:pt x="81" y="478"/>
                  </a:lnTo>
                  <a:lnTo>
                    <a:pt x="81" y="478"/>
                  </a:lnTo>
                  <a:lnTo>
                    <a:pt x="80" y="488"/>
                  </a:lnTo>
                  <a:lnTo>
                    <a:pt x="78" y="493"/>
                  </a:lnTo>
                  <a:lnTo>
                    <a:pt x="77" y="496"/>
                  </a:lnTo>
                  <a:lnTo>
                    <a:pt x="77" y="496"/>
                  </a:lnTo>
                  <a:lnTo>
                    <a:pt x="78" y="493"/>
                  </a:lnTo>
                  <a:lnTo>
                    <a:pt x="78" y="491"/>
                  </a:lnTo>
                  <a:lnTo>
                    <a:pt x="78" y="491"/>
                  </a:lnTo>
                  <a:lnTo>
                    <a:pt x="78" y="491"/>
                  </a:lnTo>
                  <a:lnTo>
                    <a:pt x="77" y="496"/>
                  </a:lnTo>
                  <a:lnTo>
                    <a:pt x="74" y="501"/>
                  </a:lnTo>
                  <a:lnTo>
                    <a:pt x="74" y="501"/>
                  </a:lnTo>
                  <a:lnTo>
                    <a:pt x="75" y="497"/>
                  </a:lnTo>
                  <a:lnTo>
                    <a:pt x="77" y="493"/>
                  </a:lnTo>
                  <a:lnTo>
                    <a:pt x="77" y="493"/>
                  </a:lnTo>
                  <a:lnTo>
                    <a:pt x="78" y="487"/>
                  </a:lnTo>
                  <a:lnTo>
                    <a:pt x="78" y="484"/>
                  </a:lnTo>
                  <a:lnTo>
                    <a:pt x="78" y="483"/>
                  </a:lnTo>
                  <a:close/>
                  <a:moveTo>
                    <a:pt x="151" y="397"/>
                  </a:moveTo>
                  <a:lnTo>
                    <a:pt x="151" y="397"/>
                  </a:lnTo>
                  <a:lnTo>
                    <a:pt x="151" y="399"/>
                  </a:lnTo>
                  <a:lnTo>
                    <a:pt x="151" y="400"/>
                  </a:lnTo>
                  <a:lnTo>
                    <a:pt x="148" y="406"/>
                  </a:lnTo>
                  <a:lnTo>
                    <a:pt x="148" y="406"/>
                  </a:lnTo>
                  <a:lnTo>
                    <a:pt x="148" y="401"/>
                  </a:lnTo>
                  <a:lnTo>
                    <a:pt x="151" y="397"/>
                  </a:lnTo>
                  <a:close/>
                  <a:moveTo>
                    <a:pt x="68" y="504"/>
                  </a:moveTo>
                  <a:lnTo>
                    <a:pt x="68" y="504"/>
                  </a:lnTo>
                  <a:lnTo>
                    <a:pt x="70" y="500"/>
                  </a:lnTo>
                  <a:lnTo>
                    <a:pt x="70" y="500"/>
                  </a:lnTo>
                  <a:lnTo>
                    <a:pt x="70" y="504"/>
                  </a:lnTo>
                  <a:lnTo>
                    <a:pt x="70" y="507"/>
                  </a:lnTo>
                  <a:lnTo>
                    <a:pt x="70" y="507"/>
                  </a:lnTo>
                  <a:lnTo>
                    <a:pt x="68" y="506"/>
                  </a:lnTo>
                  <a:lnTo>
                    <a:pt x="68" y="506"/>
                  </a:lnTo>
                  <a:lnTo>
                    <a:pt x="68" y="506"/>
                  </a:lnTo>
                  <a:lnTo>
                    <a:pt x="68" y="504"/>
                  </a:lnTo>
                  <a:close/>
                  <a:moveTo>
                    <a:pt x="8" y="628"/>
                  </a:moveTo>
                  <a:lnTo>
                    <a:pt x="8" y="628"/>
                  </a:lnTo>
                  <a:lnTo>
                    <a:pt x="10" y="631"/>
                  </a:lnTo>
                  <a:lnTo>
                    <a:pt x="8" y="633"/>
                  </a:lnTo>
                  <a:lnTo>
                    <a:pt x="8" y="633"/>
                  </a:lnTo>
                  <a:lnTo>
                    <a:pt x="8" y="635"/>
                  </a:lnTo>
                  <a:lnTo>
                    <a:pt x="10" y="638"/>
                  </a:lnTo>
                  <a:lnTo>
                    <a:pt x="10" y="638"/>
                  </a:lnTo>
                  <a:lnTo>
                    <a:pt x="8" y="640"/>
                  </a:lnTo>
                  <a:lnTo>
                    <a:pt x="8" y="640"/>
                  </a:lnTo>
                  <a:lnTo>
                    <a:pt x="7" y="641"/>
                  </a:lnTo>
                  <a:lnTo>
                    <a:pt x="7" y="644"/>
                  </a:lnTo>
                  <a:lnTo>
                    <a:pt x="7" y="644"/>
                  </a:lnTo>
                  <a:lnTo>
                    <a:pt x="5" y="638"/>
                  </a:lnTo>
                  <a:lnTo>
                    <a:pt x="7" y="635"/>
                  </a:lnTo>
                  <a:lnTo>
                    <a:pt x="8" y="633"/>
                  </a:lnTo>
                  <a:lnTo>
                    <a:pt x="8" y="628"/>
                  </a:lnTo>
                  <a:close/>
                  <a:moveTo>
                    <a:pt x="31" y="564"/>
                  </a:moveTo>
                  <a:lnTo>
                    <a:pt x="31" y="564"/>
                  </a:lnTo>
                  <a:lnTo>
                    <a:pt x="31" y="570"/>
                  </a:lnTo>
                  <a:lnTo>
                    <a:pt x="31" y="576"/>
                  </a:lnTo>
                  <a:lnTo>
                    <a:pt x="31" y="576"/>
                  </a:lnTo>
                  <a:lnTo>
                    <a:pt x="30" y="570"/>
                  </a:lnTo>
                  <a:lnTo>
                    <a:pt x="30" y="567"/>
                  </a:lnTo>
                  <a:lnTo>
                    <a:pt x="31" y="564"/>
                  </a:lnTo>
                  <a:close/>
                  <a:moveTo>
                    <a:pt x="15" y="607"/>
                  </a:moveTo>
                  <a:lnTo>
                    <a:pt x="15" y="607"/>
                  </a:lnTo>
                  <a:lnTo>
                    <a:pt x="14" y="608"/>
                  </a:lnTo>
                  <a:lnTo>
                    <a:pt x="14" y="607"/>
                  </a:lnTo>
                  <a:lnTo>
                    <a:pt x="13" y="604"/>
                  </a:lnTo>
                  <a:lnTo>
                    <a:pt x="13" y="604"/>
                  </a:lnTo>
                  <a:lnTo>
                    <a:pt x="13" y="598"/>
                  </a:lnTo>
                  <a:lnTo>
                    <a:pt x="13" y="594"/>
                  </a:lnTo>
                  <a:lnTo>
                    <a:pt x="13" y="594"/>
                  </a:lnTo>
                  <a:lnTo>
                    <a:pt x="14" y="596"/>
                  </a:lnTo>
                  <a:lnTo>
                    <a:pt x="15" y="600"/>
                  </a:lnTo>
                  <a:lnTo>
                    <a:pt x="15" y="600"/>
                  </a:lnTo>
                  <a:lnTo>
                    <a:pt x="14" y="601"/>
                  </a:lnTo>
                  <a:lnTo>
                    <a:pt x="14" y="603"/>
                  </a:lnTo>
                  <a:lnTo>
                    <a:pt x="15" y="607"/>
                  </a:lnTo>
                  <a:close/>
                  <a:moveTo>
                    <a:pt x="102" y="423"/>
                  </a:moveTo>
                  <a:lnTo>
                    <a:pt x="102" y="423"/>
                  </a:lnTo>
                  <a:lnTo>
                    <a:pt x="101" y="424"/>
                  </a:lnTo>
                  <a:lnTo>
                    <a:pt x="101" y="426"/>
                  </a:lnTo>
                  <a:lnTo>
                    <a:pt x="101" y="430"/>
                  </a:lnTo>
                  <a:lnTo>
                    <a:pt x="101" y="430"/>
                  </a:lnTo>
                  <a:lnTo>
                    <a:pt x="100" y="433"/>
                  </a:lnTo>
                  <a:lnTo>
                    <a:pt x="98" y="433"/>
                  </a:lnTo>
                  <a:lnTo>
                    <a:pt x="98" y="433"/>
                  </a:lnTo>
                  <a:lnTo>
                    <a:pt x="97" y="439"/>
                  </a:lnTo>
                  <a:lnTo>
                    <a:pt x="95" y="443"/>
                  </a:lnTo>
                  <a:lnTo>
                    <a:pt x="95" y="443"/>
                  </a:lnTo>
                  <a:lnTo>
                    <a:pt x="92" y="449"/>
                  </a:lnTo>
                  <a:lnTo>
                    <a:pt x="92" y="449"/>
                  </a:lnTo>
                  <a:lnTo>
                    <a:pt x="92" y="454"/>
                  </a:lnTo>
                  <a:lnTo>
                    <a:pt x="92" y="454"/>
                  </a:lnTo>
                  <a:lnTo>
                    <a:pt x="91" y="456"/>
                  </a:lnTo>
                  <a:lnTo>
                    <a:pt x="90" y="456"/>
                  </a:lnTo>
                  <a:lnTo>
                    <a:pt x="90" y="458"/>
                  </a:lnTo>
                  <a:lnTo>
                    <a:pt x="90" y="458"/>
                  </a:lnTo>
                  <a:lnTo>
                    <a:pt x="88" y="460"/>
                  </a:lnTo>
                  <a:lnTo>
                    <a:pt x="87" y="460"/>
                  </a:lnTo>
                  <a:lnTo>
                    <a:pt x="87" y="458"/>
                  </a:lnTo>
                  <a:lnTo>
                    <a:pt x="88" y="456"/>
                  </a:lnTo>
                  <a:lnTo>
                    <a:pt x="88" y="456"/>
                  </a:lnTo>
                  <a:lnTo>
                    <a:pt x="88" y="457"/>
                  </a:lnTo>
                  <a:lnTo>
                    <a:pt x="88" y="456"/>
                  </a:lnTo>
                  <a:lnTo>
                    <a:pt x="88" y="456"/>
                  </a:lnTo>
                  <a:lnTo>
                    <a:pt x="88" y="453"/>
                  </a:lnTo>
                  <a:lnTo>
                    <a:pt x="88" y="447"/>
                  </a:lnTo>
                  <a:lnTo>
                    <a:pt x="88" y="447"/>
                  </a:lnTo>
                  <a:lnTo>
                    <a:pt x="92" y="436"/>
                  </a:lnTo>
                  <a:lnTo>
                    <a:pt x="92" y="436"/>
                  </a:lnTo>
                  <a:lnTo>
                    <a:pt x="95" y="431"/>
                  </a:lnTo>
                  <a:lnTo>
                    <a:pt x="95" y="431"/>
                  </a:lnTo>
                  <a:lnTo>
                    <a:pt x="97" y="424"/>
                  </a:lnTo>
                  <a:lnTo>
                    <a:pt x="98" y="421"/>
                  </a:lnTo>
                  <a:lnTo>
                    <a:pt x="100" y="419"/>
                  </a:lnTo>
                  <a:lnTo>
                    <a:pt x="100" y="419"/>
                  </a:lnTo>
                  <a:lnTo>
                    <a:pt x="100" y="423"/>
                  </a:lnTo>
                  <a:lnTo>
                    <a:pt x="98" y="427"/>
                  </a:lnTo>
                  <a:lnTo>
                    <a:pt x="95" y="436"/>
                  </a:lnTo>
                  <a:lnTo>
                    <a:pt x="95" y="436"/>
                  </a:lnTo>
                  <a:lnTo>
                    <a:pt x="95" y="436"/>
                  </a:lnTo>
                  <a:lnTo>
                    <a:pt x="95" y="439"/>
                  </a:lnTo>
                  <a:lnTo>
                    <a:pt x="95" y="439"/>
                  </a:lnTo>
                  <a:lnTo>
                    <a:pt x="98" y="433"/>
                  </a:lnTo>
                  <a:lnTo>
                    <a:pt x="100" y="429"/>
                  </a:lnTo>
                  <a:lnTo>
                    <a:pt x="100" y="429"/>
                  </a:lnTo>
                  <a:lnTo>
                    <a:pt x="101" y="420"/>
                  </a:lnTo>
                  <a:lnTo>
                    <a:pt x="102" y="417"/>
                  </a:lnTo>
                  <a:lnTo>
                    <a:pt x="104" y="413"/>
                  </a:lnTo>
                  <a:lnTo>
                    <a:pt x="104" y="413"/>
                  </a:lnTo>
                  <a:lnTo>
                    <a:pt x="102" y="420"/>
                  </a:lnTo>
                  <a:lnTo>
                    <a:pt x="102" y="423"/>
                  </a:lnTo>
                  <a:close/>
                  <a:moveTo>
                    <a:pt x="31" y="557"/>
                  </a:moveTo>
                  <a:lnTo>
                    <a:pt x="31" y="557"/>
                  </a:lnTo>
                  <a:lnTo>
                    <a:pt x="30" y="556"/>
                  </a:lnTo>
                  <a:lnTo>
                    <a:pt x="30" y="557"/>
                  </a:lnTo>
                  <a:lnTo>
                    <a:pt x="30" y="557"/>
                  </a:lnTo>
                  <a:lnTo>
                    <a:pt x="28" y="556"/>
                  </a:lnTo>
                  <a:lnTo>
                    <a:pt x="28" y="556"/>
                  </a:lnTo>
                  <a:lnTo>
                    <a:pt x="30" y="554"/>
                  </a:lnTo>
                  <a:lnTo>
                    <a:pt x="30" y="553"/>
                  </a:lnTo>
                  <a:lnTo>
                    <a:pt x="30" y="551"/>
                  </a:lnTo>
                  <a:lnTo>
                    <a:pt x="30" y="550"/>
                  </a:lnTo>
                  <a:lnTo>
                    <a:pt x="30" y="550"/>
                  </a:lnTo>
                  <a:lnTo>
                    <a:pt x="31" y="553"/>
                  </a:lnTo>
                  <a:lnTo>
                    <a:pt x="33" y="557"/>
                  </a:lnTo>
                  <a:lnTo>
                    <a:pt x="33" y="557"/>
                  </a:lnTo>
                  <a:lnTo>
                    <a:pt x="31" y="560"/>
                  </a:lnTo>
                  <a:lnTo>
                    <a:pt x="31" y="560"/>
                  </a:lnTo>
                  <a:lnTo>
                    <a:pt x="31" y="557"/>
                  </a:lnTo>
                  <a:close/>
                  <a:moveTo>
                    <a:pt x="225" y="323"/>
                  </a:moveTo>
                  <a:lnTo>
                    <a:pt x="225" y="323"/>
                  </a:lnTo>
                  <a:lnTo>
                    <a:pt x="227" y="323"/>
                  </a:lnTo>
                  <a:lnTo>
                    <a:pt x="225" y="324"/>
                  </a:lnTo>
                  <a:lnTo>
                    <a:pt x="224" y="327"/>
                  </a:lnTo>
                  <a:lnTo>
                    <a:pt x="222" y="329"/>
                  </a:lnTo>
                  <a:lnTo>
                    <a:pt x="222" y="329"/>
                  </a:lnTo>
                  <a:lnTo>
                    <a:pt x="224" y="324"/>
                  </a:lnTo>
                  <a:lnTo>
                    <a:pt x="224" y="323"/>
                  </a:lnTo>
                  <a:lnTo>
                    <a:pt x="225" y="323"/>
                  </a:lnTo>
                  <a:close/>
                  <a:moveTo>
                    <a:pt x="184" y="344"/>
                  </a:moveTo>
                  <a:lnTo>
                    <a:pt x="184" y="344"/>
                  </a:lnTo>
                  <a:lnTo>
                    <a:pt x="182" y="349"/>
                  </a:lnTo>
                  <a:lnTo>
                    <a:pt x="182" y="349"/>
                  </a:lnTo>
                  <a:lnTo>
                    <a:pt x="179" y="351"/>
                  </a:lnTo>
                  <a:lnTo>
                    <a:pt x="179" y="351"/>
                  </a:lnTo>
                  <a:lnTo>
                    <a:pt x="178" y="353"/>
                  </a:lnTo>
                  <a:lnTo>
                    <a:pt x="178" y="353"/>
                  </a:lnTo>
                  <a:lnTo>
                    <a:pt x="178" y="353"/>
                  </a:lnTo>
                  <a:lnTo>
                    <a:pt x="181" y="349"/>
                  </a:lnTo>
                  <a:lnTo>
                    <a:pt x="184" y="344"/>
                  </a:lnTo>
                  <a:close/>
                  <a:moveTo>
                    <a:pt x="18" y="566"/>
                  </a:moveTo>
                  <a:lnTo>
                    <a:pt x="18" y="566"/>
                  </a:lnTo>
                  <a:lnTo>
                    <a:pt x="18" y="571"/>
                  </a:lnTo>
                  <a:lnTo>
                    <a:pt x="18" y="571"/>
                  </a:lnTo>
                  <a:lnTo>
                    <a:pt x="17" y="573"/>
                  </a:lnTo>
                  <a:lnTo>
                    <a:pt x="17" y="573"/>
                  </a:lnTo>
                  <a:lnTo>
                    <a:pt x="17" y="573"/>
                  </a:lnTo>
                  <a:lnTo>
                    <a:pt x="17" y="573"/>
                  </a:lnTo>
                  <a:lnTo>
                    <a:pt x="17" y="570"/>
                  </a:lnTo>
                  <a:lnTo>
                    <a:pt x="18" y="566"/>
                  </a:lnTo>
                  <a:close/>
                  <a:moveTo>
                    <a:pt x="31" y="526"/>
                  </a:moveTo>
                  <a:lnTo>
                    <a:pt x="31" y="526"/>
                  </a:lnTo>
                  <a:lnTo>
                    <a:pt x="31" y="527"/>
                  </a:lnTo>
                  <a:lnTo>
                    <a:pt x="33" y="524"/>
                  </a:lnTo>
                  <a:lnTo>
                    <a:pt x="33" y="524"/>
                  </a:lnTo>
                  <a:lnTo>
                    <a:pt x="33" y="531"/>
                  </a:lnTo>
                  <a:lnTo>
                    <a:pt x="33" y="531"/>
                  </a:lnTo>
                  <a:lnTo>
                    <a:pt x="30" y="540"/>
                  </a:lnTo>
                  <a:lnTo>
                    <a:pt x="30" y="540"/>
                  </a:lnTo>
                  <a:lnTo>
                    <a:pt x="31" y="526"/>
                  </a:lnTo>
                  <a:close/>
                  <a:moveTo>
                    <a:pt x="17" y="564"/>
                  </a:moveTo>
                  <a:lnTo>
                    <a:pt x="17" y="564"/>
                  </a:lnTo>
                  <a:lnTo>
                    <a:pt x="15" y="561"/>
                  </a:lnTo>
                  <a:lnTo>
                    <a:pt x="14" y="561"/>
                  </a:lnTo>
                  <a:lnTo>
                    <a:pt x="14" y="561"/>
                  </a:lnTo>
                  <a:lnTo>
                    <a:pt x="15" y="558"/>
                  </a:lnTo>
                  <a:lnTo>
                    <a:pt x="15" y="556"/>
                  </a:lnTo>
                  <a:lnTo>
                    <a:pt x="15" y="556"/>
                  </a:lnTo>
                  <a:lnTo>
                    <a:pt x="17" y="558"/>
                  </a:lnTo>
                  <a:lnTo>
                    <a:pt x="18" y="556"/>
                  </a:lnTo>
                  <a:lnTo>
                    <a:pt x="18" y="551"/>
                  </a:lnTo>
                  <a:lnTo>
                    <a:pt x="18" y="550"/>
                  </a:lnTo>
                  <a:lnTo>
                    <a:pt x="20" y="550"/>
                  </a:lnTo>
                  <a:lnTo>
                    <a:pt x="20" y="550"/>
                  </a:lnTo>
                  <a:lnTo>
                    <a:pt x="18" y="560"/>
                  </a:lnTo>
                  <a:lnTo>
                    <a:pt x="18" y="564"/>
                  </a:lnTo>
                  <a:lnTo>
                    <a:pt x="17" y="566"/>
                  </a:lnTo>
                  <a:lnTo>
                    <a:pt x="17" y="566"/>
                  </a:lnTo>
                  <a:lnTo>
                    <a:pt x="17" y="564"/>
                  </a:lnTo>
                  <a:close/>
                  <a:moveTo>
                    <a:pt x="38" y="507"/>
                  </a:moveTo>
                  <a:lnTo>
                    <a:pt x="38" y="507"/>
                  </a:lnTo>
                  <a:lnTo>
                    <a:pt x="37" y="508"/>
                  </a:lnTo>
                  <a:lnTo>
                    <a:pt x="37" y="511"/>
                  </a:lnTo>
                  <a:lnTo>
                    <a:pt x="35" y="518"/>
                  </a:lnTo>
                  <a:lnTo>
                    <a:pt x="35" y="518"/>
                  </a:lnTo>
                  <a:lnTo>
                    <a:pt x="34" y="514"/>
                  </a:lnTo>
                  <a:lnTo>
                    <a:pt x="35" y="510"/>
                  </a:lnTo>
                  <a:lnTo>
                    <a:pt x="37" y="507"/>
                  </a:lnTo>
                  <a:lnTo>
                    <a:pt x="38" y="506"/>
                  </a:lnTo>
                  <a:lnTo>
                    <a:pt x="38" y="507"/>
                  </a:lnTo>
                  <a:close/>
                  <a:moveTo>
                    <a:pt x="41" y="498"/>
                  </a:moveTo>
                  <a:lnTo>
                    <a:pt x="41" y="498"/>
                  </a:lnTo>
                  <a:lnTo>
                    <a:pt x="43" y="497"/>
                  </a:lnTo>
                  <a:lnTo>
                    <a:pt x="43" y="496"/>
                  </a:lnTo>
                  <a:lnTo>
                    <a:pt x="43" y="496"/>
                  </a:lnTo>
                  <a:lnTo>
                    <a:pt x="44" y="494"/>
                  </a:lnTo>
                  <a:lnTo>
                    <a:pt x="44" y="494"/>
                  </a:lnTo>
                  <a:lnTo>
                    <a:pt x="43" y="494"/>
                  </a:lnTo>
                  <a:lnTo>
                    <a:pt x="43" y="493"/>
                  </a:lnTo>
                  <a:lnTo>
                    <a:pt x="43" y="493"/>
                  </a:lnTo>
                  <a:lnTo>
                    <a:pt x="41" y="493"/>
                  </a:lnTo>
                  <a:lnTo>
                    <a:pt x="41" y="493"/>
                  </a:lnTo>
                  <a:lnTo>
                    <a:pt x="44" y="488"/>
                  </a:lnTo>
                  <a:lnTo>
                    <a:pt x="44" y="488"/>
                  </a:lnTo>
                  <a:lnTo>
                    <a:pt x="44" y="491"/>
                  </a:lnTo>
                  <a:lnTo>
                    <a:pt x="44" y="491"/>
                  </a:lnTo>
                  <a:lnTo>
                    <a:pt x="45" y="490"/>
                  </a:lnTo>
                  <a:lnTo>
                    <a:pt x="45" y="490"/>
                  </a:lnTo>
                  <a:lnTo>
                    <a:pt x="45" y="494"/>
                  </a:lnTo>
                  <a:lnTo>
                    <a:pt x="44" y="498"/>
                  </a:lnTo>
                  <a:lnTo>
                    <a:pt x="44" y="498"/>
                  </a:lnTo>
                  <a:lnTo>
                    <a:pt x="44" y="497"/>
                  </a:lnTo>
                  <a:lnTo>
                    <a:pt x="43" y="498"/>
                  </a:lnTo>
                  <a:lnTo>
                    <a:pt x="43" y="498"/>
                  </a:lnTo>
                  <a:lnTo>
                    <a:pt x="44" y="501"/>
                  </a:lnTo>
                  <a:lnTo>
                    <a:pt x="44" y="503"/>
                  </a:lnTo>
                  <a:lnTo>
                    <a:pt x="44" y="503"/>
                  </a:lnTo>
                  <a:lnTo>
                    <a:pt x="43" y="504"/>
                  </a:lnTo>
                  <a:lnTo>
                    <a:pt x="43" y="503"/>
                  </a:lnTo>
                  <a:lnTo>
                    <a:pt x="41" y="498"/>
                  </a:lnTo>
                  <a:close/>
                  <a:moveTo>
                    <a:pt x="57" y="471"/>
                  </a:moveTo>
                  <a:lnTo>
                    <a:pt x="57" y="471"/>
                  </a:lnTo>
                  <a:lnTo>
                    <a:pt x="55" y="478"/>
                  </a:lnTo>
                  <a:lnTo>
                    <a:pt x="53" y="486"/>
                  </a:lnTo>
                  <a:lnTo>
                    <a:pt x="53" y="486"/>
                  </a:lnTo>
                  <a:lnTo>
                    <a:pt x="54" y="478"/>
                  </a:lnTo>
                  <a:lnTo>
                    <a:pt x="57" y="471"/>
                  </a:lnTo>
                  <a:close/>
                  <a:moveTo>
                    <a:pt x="18" y="546"/>
                  </a:moveTo>
                  <a:lnTo>
                    <a:pt x="18" y="546"/>
                  </a:lnTo>
                  <a:lnTo>
                    <a:pt x="21" y="538"/>
                  </a:lnTo>
                  <a:lnTo>
                    <a:pt x="23" y="530"/>
                  </a:lnTo>
                  <a:lnTo>
                    <a:pt x="23" y="530"/>
                  </a:lnTo>
                  <a:lnTo>
                    <a:pt x="23" y="536"/>
                  </a:lnTo>
                  <a:lnTo>
                    <a:pt x="21" y="544"/>
                  </a:lnTo>
                  <a:lnTo>
                    <a:pt x="21" y="544"/>
                  </a:lnTo>
                  <a:lnTo>
                    <a:pt x="20" y="544"/>
                  </a:lnTo>
                  <a:lnTo>
                    <a:pt x="20" y="544"/>
                  </a:lnTo>
                  <a:lnTo>
                    <a:pt x="18" y="546"/>
                  </a:lnTo>
                  <a:close/>
                  <a:moveTo>
                    <a:pt x="110" y="397"/>
                  </a:moveTo>
                  <a:lnTo>
                    <a:pt x="110" y="397"/>
                  </a:lnTo>
                  <a:lnTo>
                    <a:pt x="110" y="401"/>
                  </a:lnTo>
                  <a:lnTo>
                    <a:pt x="110" y="401"/>
                  </a:lnTo>
                  <a:lnTo>
                    <a:pt x="107" y="406"/>
                  </a:lnTo>
                  <a:lnTo>
                    <a:pt x="107" y="410"/>
                  </a:lnTo>
                  <a:lnTo>
                    <a:pt x="107" y="410"/>
                  </a:lnTo>
                  <a:lnTo>
                    <a:pt x="104" y="411"/>
                  </a:lnTo>
                  <a:lnTo>
                    <a:pt x="104" y="411"/>
                  </a:lnTo>
                  <a:lnTo>
                    <a:pt x="107" y="404"/>
                  </a:lnTo>
                  <a:lnTo>
                    <a:pt x="110" y="397"/>
                  </a:lnTo>
                  <a:close/>
                  <a:moveTo>
                    <a:pt x="25" y="523"/>
                  </a:moveTo>
                  <a:lnTo>
                    <a:pt x="25" y="523"/>
                  </a:lnTo>
                  <a:lnTo>
                    <a:pt x="24" y="527"/>
                  </a:lnTo>
                  <a:lnTo>
                    <a:pt x="23" y="533"/>
                  </a:lnTo>
                  <a:lnTo>
                    <a:pt x="23" y="533"/>
                  </a:lnTo>
                  <a:lnTo>
                    <a:pt x="24" y="526"/>
                  </a:lnTo>
                  <a:lnTo>
                    <a:pt x="24" y="523"/>
                  </a:lnTo>
                  <a:lnTo>
                    <a:pt x="25" y="523"/>
                  </a:lnTo>
                  <a:close/>
                  <a:moveTo>
                    <a:pt x="214" y="307"/>
                  </a:moveTo>
                  <a:lnTo>
                    <a:pt x="214" y="307"/>
                  </a:lnTo>
                  <a:lnTo>
                    <a:pt x="208" y="313"/>
                  </a:lnTo>
                  <a:lnTo>
                    <a:pt x="204" y="319"/>
                  </a:lnTo>
                  <a:lnTo>
                    <a:pt x="204" y="319"/>
                  </a:lnTo>
                  <a:lnTo>
                    <a:pt x="204" y="317"/>
                  </a:lnTo>
                  <a:lnTo>
                    <a:pt x="207" y="313"/>
                  </a:lnTo>
                  <a:lnTo>
                    <a:pt x="214" y="307"/>
                  </a:lnTo>
                  <a:close/>
                  <a:moveTo>
                    <a:pt x="13" y="544"/>
                  </a:moveTo>
                  <a:lnTo>
                    <a:pt x="13" y="544"/>
                  </a:lnTo>
                  <a:lnTo>
                    <a:pt x="11" y="543"/>
                  </a:lnTo>
                  <a:lnTo>
                    <a:pt x="11" y="540"/>
                  </a:lnTo>
                  <a:lnTo>
                    <a:pt x="11" y="540"/>
                  </a:lnTo>
                  <a:lnTo>
                    <a:pt x="13" y="531"/>
                  </a:lnTo>
                  <a:lnTo>
                    <a:pt x="13" y="531"/>
                  </a:lnTo>
                  <a:lnTo>
                    <a:pt x="14" y="531"/>
                  </a:lnTo>
                  <a:lnTo>
                    <a:pt x="14" y="531"/>
                  </a:lnTo>
                  <a:lnTo>
                    <a:pt x="15" y="533"/>
                  </a:lnTo>
                  <a:lnTo>
                    <a:pt x="15" y="533"/>
                  </a:lnTo>
                  <a:lnTo>
                    <a:pt x="15" y="524"/>
                  </a:lnTo>
                  <a:lnTo>
                    <a:pt x="15" y="517"/>
                  </a:lnTo>
                  <a:lnTo>
                    <a:pt x="15" y="517"/>
                  </a:lnTo>
                  <a:lnTo>
                    <a:pt x="20" y="510"/>
                  </a:lnTo>
                  <a:lnTo>
                    <a:pt x="23" y="500"/>
                  </a:lnTo>
                  <a:lnTo>
                    <a:pt x="23" y="500"/>
                  </a:lnTo>
                  <a:lnTo>
                    <a:pt x="23" y="504"/>
                  </a:lnTo>
                  <a:lnTo>
                    <a:pt x="21" y="511"/>
                  </a:lnTo>
                  <a:lnTo>
                    <a:pt x="21" y="511"/>
                  </a:lnTo>
                  <a:lnTo>
                    <a:pt x="20" y="517"/>
                  </a:lnTo>
                  <a:lnTo>
                    <a:pt x="20" y="517"/>
                  </a:lnTo>
                  <a:lnTo>
                    <a:pt x="18" y="523"/>
                  </a:lnTo>
                  <a:lnTo>
                    <a:pt x="18" y="523"/>
                  </a:lnTo>
                  <a:lnTo>
                    <a:pt x="18" y="521"/>
                  </a:lnTo>
                  <a:lnTo>
                    <a:pt x="20" y="523"/>
                  </a:lnTo>
                  <a:lnTo>
                    <a:pt x="20" y="523"/>
                  </a:lnTo>
                  <a:lnTo>
                    <a:pt x="18" y="528"/>
                  </a:lnTo>
                  <a:lnTo>
                    <a:pt x="17" y="530"/>
                  </a:lnTo>
                  <a:lnTo>
                    <a:pt x="17" y="527"/>
                  </a:lnTo>
                  <a:lnTo>
                    <a:pt x="17" y="527"/>
                  </a:lnTo>
                  <a:lnTo>
                    <a:pt x="15" y="541"/>
                  </a:lnTo>
                  <a:lnTo>
                    <a:pt x="15" y="541"/>
                  </a:lnTo>
                  <a:lnTo>
                    <a:pt x="14" y="548"/>
                  </a:lnTo>
                  <a:lnTo>
                    <a:pt x="11" y="554"/>
                  </a:lnTo>
                  <a:lnTo>
                    <a:pt x="11" y="554"/>
                  </a:lnTo>
                  <a:lnTo>
                    <a:pt x="13" y="548"/>
                  </a:lnTo>
                  <a:lnTo>
                    <a:pt x="13" y="544"/>
                  </a:lnTo>
                  <a:close/>
                  <a:moveTo>
                    <a:pt x="38" y="490"/>
                  </a:moveTo>
                  <a:lnTo>
                    <a:pt x="38" y="490"/>
                  </a:lnTo>
                  <a:lnTo>
                    <a:pt x="40" y="494"/>
                  </a:lnTo>
                  <a:lnTo>
                    <a:pt x="38" y="500"/>
                  </a:lnTo>
                  <a:lnTo>
                    <a:pt x="38" y="500"/>
                  </a:lnTo>
                  <a:lnTo>
                    <a:pt x="38" y="497"/>
                  </a:lnTo>
                  <a:lnTo>
                    <a:pt x="38" y="496"/>
                  </a:lnTo>
                  <a:lnTo>
                    <a:pt x="38" y="494"/>
                  </a:lnTo>
                  <a:lnTo>
                    <a:pt x="38" y="490"/>
                  </a:lnTo>
                  <a:close/>
                  <a:moveTo>
                    <a:pt x="20" y="530"/>
                  </a:moveTo>
                  <a:lnTo>
                    <a:pt x="20" y="530"/>
                  </a:lnTo>
                  <a:lnTo>
                    <a:pt x="21" y="521"/>
                  </a:lnTo>
                  <a:lnTo>
                    <a:pt x="21" y="521"/>
                  </a:lnTo>
                  <a:lnTo>
                    <a:pt x="21" y="528"/>
                  </a:lnTo>
                  <a:lnTo>
                    <a:pt x="20" y="530"/>
                  </a:lnTo>
                  <a:lnTo>
                    <a:pt x="20" y="530"/>
                  </a:lnTo>
                  <a:close/>
                  <a:moveTo>
                    <a:pt x="117" y="384"/>
                  </a:moveTo>
                  <a:lnTo>
                    <a:pt x="117" y="384"/>
                  </a:lnTo>
                  <a:lnTo>
                    <a:pt x="118" y="379"/>
                  </a:lnTo>
                  <a:lnTo>
                    <a:pt x="118" y="379"/>
                  </a:lnTo>
                  <a:lnTo>
                    <a:pt x="122" y="376"/>
                  </a:lnTo>
                  <a:lnTo>
                    <a:pt x="122" y="376"/>
                  </a:lnTo>
                  <a:lnTo>
                    <a:pt x="125" y="367"/>
                  </a:lnTo>
                  <a:lnTo>
                    <a:pt x="130" y="360"/>
                  </a:lnTo>
                  <a:lnTo>
                    <a:pt x="130" y="360"/>
                  </a:lnTo>
                  <a:lnTo>
                    <a:pt x="130" y="360"/>
                  </a:lnTo>
                  <a:lnTo>
                    <a:pt x="130" y="360"/>
                  </a:lnTo>
                  <a:lnTo>
                    <a:pt x="130" y="361"/>
                  </a:lnTo>
                  <a:lnTo>
                    <a:pt x="130" y="363"/>
                  </a:lnTo>
                  <a:lnTo>
                    <a:pt x="130" y="363"/>
                  </a:lnTo>
                  <a:lnTo>
                    <a:pt x="127" y="367"/>
                  </a:lnTo>
                  <a:lnTo>
                    <a:pt x="124" y="374"/>
                  </a:lnTo>
                  <a:lnTo>
                    <a:pt x="124" y="374"/>
                  </a:lnTo>
                  <a:lnTo>
                    <a:pt x="125" y="374"/>
                  </a:lnTo>
                  <a:lnTo>
                    <a:pt x="125" y="377"/>
                  </a:lnTo>
                  <a:lnTo>
                    <a:pt x="125" y="377"/>
                  </a:lnTo>
                  <a:lnTo>
                    <a:pt x="120" y="384"/>
                  </a:lnTo>
                  <a:lnTo>
                    <a:pt x="120" y="384"/>
                  </a:lnTo>
                  <a:lnTo>
                    <a:pt x="121" y="380"/>
                  </a:lnTo>
                  <a:lnTo>
                    <a:pt x="122" y="376"/>
                  </a:lnTo>
                  <a:lnTo>
                    <a:pt x="122" y="376"/>
                  </a:lnTo>
                  <a:lnTo>
                    <a:pt x="120" y="380"/>
                  </a:lnTo>
                  <a:lnTo>
                    <a:pt x="118" y="383"/>
                  </a:lnTo>
                  <a:lnTo>
                    <a:pt x="117" y="384"/>
                  </a:lnTo>
                  <a:close/>
                  <a:moveTo>
                    <a:pt x="120" y="381"/>
                  </a:moveTo>
                  <a:lnTo>
                    <a:pt x="120" y="381"/>
                  </a:lnTo>
                  <a:lnTo>
                    <a:pt x="117" y="387"/>
                  </a:lnTo>
                  <a:lnTo>
                    <a:pt x="114" y="391"/>
                  </a:lnTo>
                  <a:lnTo>
                    <a:pt x="114" y="391"/>
                  </a:lnTo>
                  <a:lnTo>
                    <a:pt x="117" y="386"/>
                  </a:lnTo>
                  <a:lnTo>
                    <a:pt x="120" y="381"/>
                  </a:lnTo>
                  <a:close/>
                  <a:moveTo>
                    <a:pt x="27" y="501"/>
                  </a:moveTo>
                  <a:lnTo>
                    <a:pt x="27" y="501"/>
                  </a:lnTo>
                  <a:lnTo>
                    <a:pt x="28" y="500"/>
                  </a:lnTo>
                  <a:lnTo>
                    <a:pt x="28" y="500"/>
                  </a:lnTo>
                  <a:lnTo>
                    <a:pt x="28" y="501"/>
                  </a:lnTo>
                  <a:lnTo>
                    <a:pt x="30" y="500"/>
                  </a:lnTo>
                  <a:lnTo>
                    <a:pt x="30" y="500"/>
                  </a:lnTo>
                  <a:lnTo>
                    <a:pt x="30" y="504"/>
                  </a:lnTo>
                  <a:lnTo>
                    <a:pt x="27" y="508"/>
                  </a:lnTo>
                  <a:lnTo>
                    <a:pt x="27" y="508"/>
                  </a:lnTo>
                  <a:lnTo>
                    <a:pt x="27" y="506"/>
                  </a:lnTo>
                  <a:lnTo>
                    <a:pt x="27" y="501"/>
                  </a:lnTo>
                  <a:close/>
                  <a:moveTo>
                    <a:pt x="247" y="282"/>
                  </a:moveTo>
                  <a:lnTo>
                    <a:pt x="247" y="282"/>
                  </a:lnTo>
                  <a:lnTo>
                    <a:pt x="244" y="286"/>
                  </a:lnTo>
                  <a:lnTo>
                    <a:pt x="241" y="289"/>
                  </a:lnTo>
                  <a:lnTo>
                    <a:pt x="241" y="289"/>
                  </a:lnTo>
                  <a:lnTo>
                    <a:pt x="244" y="284"/>
                  </a:lnTo>
                  <a:lnTo>
                    <a:pt x="247" y="282"/>
                  </a:lnTo>
                  <a:close/>
                  <a:moveTo>
                    <a:pt x="23" y="507"/>
                  </a:moveTo>
                  <a:lnTo>
                    <a:pt x="23" y="507"/>
                  </a:lnTo>
                  <a:lnTo>
                    <a:pt x="24" y="506"/>
                  </a:lnTo>
                  <a:lnTo>
                    <a:pt x="25" y="504"/>
                  </a:lnTo>
                  <a:lnTo>
                    <a:pt x="25" y="504"/>
                  </a:lnTo>
                  <a:lnTo>
                    <a:pt x="25" y="508"/>
                  </a:lnTo>
                  <a:lnTo>
                    <a:pt x="24" y="511"/>
                  </a:lnTo>
                  <a:lnTo>
                    <a:pt x="24" y="511"/>
                  </a:lnTo>
                  <a:lnTo>
                    <a:pt x="23" y="507"/>
                  </a:lnTo>
                  <a:close/>
                  <a:moveTo>
                    <a:pt x="74" y="421"/>
                  </a:moveTo>
                  <a:lnTo>
                    <a:pt x="74" y="421"/>
                  </a:lnTo>
                  <a:lnTo>
                    <a:pt x="75" y="419"/>
                  </a:lnTo>
                  <a:lnTo>
                    <a:pt x="75" y="419"/>
                  </a:lnTo>
                  <a:lnTo>
                    <a:pt x="74" y="426"/>
                  </a:lnTo>
                  <a:lnTo>
                    <a:pt x="71" y="431"/>
                  </a:lnTo>
                  <a:lnTo>
                    <a:pt x="71" y="431"/>
                  </a:lnTo>
                  <a:lnTo>
                    <a:pt x="72" y="427"/>
                  </a:lnTo>
                  <a:lnTo>
                    <a:pt x="74" y="421"/>
                  </a:lnTo>
                  <a:close/>
                  <a:moveTo>
                    <a:pt x="30" y="488"/>
                  </a:moveTo>
                  <a:lnTo>
                    <a:pt x="30" y="488"/>
                  </a:lnTo>
                  <a:lnTo>
                    <a:pt x="33" y="480"/>
                  </a:lnTo>
                  <a:lnTo>
                    <a:pt x="35" y="471"/>
                  </a:lnTo>
                  <a:lnTo>
                    <a:pt x="35" y="471"/>
                  </a:lnTo>
                  <a:lnTo>
                    <a:pt x="34" y="481"/>
                  </a:lnTo>
                  <a:lnTo>
                    <a:pt x="33" y="486"/>
                  </a:lnTo>
                  <a:lnTo>
                    <a:pt x="31" y="490"/>
                  </a:lnTo>
                  <a:lnTo>
                    <a:pt x="31" y="490"/>
                  </a:lnTo>
                  <a:lnTo>
                    <a:pt x="31" y="488"/>
                  </a:lnTo>
                  <a:lnTo>
                    <a:pt x="31" y="488"/>
                  </a:lnTo>
                  <a:lnTo>
                    <a:pt x="30" y="488"/>
                  </a:lnTo>
                  <a:close/>
                  <a:moveTo>
                    <a:pt x="44" y="466"/>
                  </a:moveTo>
                  <a:lnTo>
                    <a:pt x="44" y="466"/>
                  </a:lnTo>
                  <a:lnTo>
                    <a:pt x="44" y="460"/>
                  </a:lnTo>
                  <a:lnTo>
                    <a:pt x="44" y="460"/>
                  </a:lnTo>
                  <a:lnTo>
                    <a:pt x="45" y="458"/>
                  </a:lnTo>
                  <a:lnTo>
                    <a:pt x="47" y="458"/>
                  </a:lnTo>
                  <a:lnTo>
                    <a:pt x="47" y="458"/>
                  </a:lnTo>
                  <a:lnTo>
                    <a:pt x="45" y="461"/>
                  </a:lnTo>
                  <a:lnTo>
                    <a:pt x="44" y="466"/>
                  </a:lnTo>
                  <a:close/>
                  <a:moveTo>
                    <a:pt x="25" y="493"/>
                  </a:moveTo>
                  <a:lnTo>
                    <a:pt x="25" y="493"/>
                  </a:lnTo>
                  <a:lnTo>
                    <a:pt x="25" y="493"/>
                  </a:lnTo>
                  <a:lnTo>
                    <a:pt x="24" y="496"/>
                  </a:lnTo>
                  <a:lnTo>
                    <a:pt x="23" y="497"/>
                  </a:lnTo>
                  <a:lnTo>
                    <a:pt x="23" y="494"/>
                  </a:lnTo>
                  <a:lnTo>
                    <a:pt x="23" y="494"/>
                  </a:lnTo>
                  <a:lnTo>
                    <a:pt x="24" y="493"/>
                  </a:lnTo>
                  <a:lnTo>
                    <a:pt x="24" y="491"/>
                  </a:lnTo>
                  <a:lnTo>
                    <a:pt x="25" y="491"/>
                  </a:lnTo>
                  <a:lnTo>
                    <a:pt x="25" y="490"/>
                  </a:lnTo>
                  <a:lnTo>
                    <a:pt x="25" y="490"/>
                  </a:lnTo>
                  <a:lnTo>
                    <a:pt x="27" y="496"/>
                  </a:lnTo>
                  <a:lnTo>
                    <a:pt x="27" y="496"/>
                  </a:lnTo>
                  <a:lnTo>
                    <a:pt x="25" y="500"/>
                  </a:lnTo>
                  <a:lnTo>
                    <a:pt x="24" y="501"/>
                  </a:lnTo>
                  <a:lnTo>
                    <a:pt x="24" y="501"/>
                  </a:lnTo>
                  <a:lnTo>
                    <a:pt x="24" y="501"/>
                  </a:lnTo>
                  <a:lnTo>
                    <a:pt x="25" y="493"/>
                  </a:lnTo>
                  <a:close/>
                  <a:moveTo>
                    <a:pt x="135" y="350"/>
                  </a:moveTo>
                  <a:lnTo>
                    <a:pt x="135" y="350"/>
                  </a:lnTo>
                  <a:lnTo>
                    <a:pt x="134" y="354"/>
                  </a:lnTo>
                  <a:lnTo>
                    <a:pt x="131" y="359"/>
                  </a:lnTo>
                  <a:lnTo>
                    <a:pt x="131" y="359"/>
                  </a:lnTo>
                  <a:lnTo>
                    <a:pt x="134" y="353"/>
                  </a:lnTo>
                  <a:lnTo>
                    <a:pt x="135" y="350"/>
                  </a:lnTo>
                  <a:lnTo>
                    <a:pt x="135" y="350"/>
                  </a:lnTo>
                  <a:close/>
                  <a:moveTo>
                    <a:pt x="54" y="437"/>
                  </a:moveTo>
                  <a:lnTo>
                    <a:pt x="54" y="437"/>
                  </a:lnTo>
                  <a:lnTo>
                    <a:pt x="50" y="449"/>
                  </a:lnTo>
                  <a:lnTo>
                    <a:pt x="50" y="449"/>
                  </a:lnTo>
                  <a:lnTo>
                    <a:pt x="51" y="443"/>
                  </a:lnTo>
                  <a:lnTo>
                    <a:pt x="54" y="437"/>
                  </a:lnTo>
                  <a:close/>
                  <a:moveTo>
                    <a:pt x="276" y="254"/>
                  </a:moveTo>
                  <a:lnTo>
                    <a:pt x="276" y="254"/>
                  </a:lnTo>
                  <a:lnTo>
                    <a:pt x="274" y="257"/>
                  </a:lnTo>
                  <a:lnTo>
                    <a:pt x="271" y="259"/>
                  </a:lnTo>
                  <a:lnTo>
                    <a:pt x="271" y="259"/>
                  </a:lnTo>
                  <a:lnTo>
                    <a:pt x="272" y="257"/>
                  </a:lnTo>
                  <a:lnTo>
                    <a:pt x="276" y="254"/>
                  </a:lnTo>
                  <a:close/>
                  <a:moveTo>
                    <a:pt x="71" y="409"/>
                  </a:moveTo>
                  <a:lnTo>
                    <a:pt x="71" y="409"/>
                  </a:lnTo>
                  <a:lnTo>
                    <a:pt x="68" y="414"/>
                  </a:lnTo>
                  <a:lnTo>
                    <a:pt x="65" y="420"/>
                  </a:lnTo>
                  <a:lnTo>
                    <a:pt x="65" y="420"/>
                  </a:lnTo>
                  <a:lnTo>
                    <a:pt x="68" y="411"/>
                  </a:lnTo>
                  <a:lnTo>
                    <a:pt x="68" y="411"/>
                  </a:lnTo>
                  <a:lnTo>
                    <a:pt x="70" y="409"/>
                  </a:lnTo>
                  <a:lnTo>
                    <a:pt x="71" y="409"/>
                  </a:lnTo>
                  <a:close/>
                  <a:moveTo>
                    <a:pt x="148" y="330"/>
                  </a:moveTo>
                  <a:lnTo>
                    <a:pt x="148" y="330"/>
                  </a:lnTo>
                  <a:lnTo>
                    <a:pt x="152" y="324"/>
                  </a:lnTo>
                  <a:lnTo>
                    <a:pt x="152" y="324"/>
                  </a:lnTo>
                  <a:lnTo>
                    <a:pt x="157" y="319"/>
                  </a:lnTo>
                  <a:lnTo>
                    <a:pt x="157" y="319"/>
                  </a:lnTo>
                  <a:lnTo>
                    <a:pt x="152" y="327"/>
                  </a:lnTo>
                  <a:lnTo>
                    <a:pt x="152" y="327"/>
                  </a:lnTo>
                  <a:lnTo>
                    <a:pt x="150" y="331"/>
                  </a:lnTo>
                  <a:lnTo>
                    <a:pt x="148" y="331"/>
                  </a:lnTo>
                  <a:lnTo>
                    <a:pt x="148" y="330"/>
                  </a:lnTo>
                  <a:close/>
                  <a:moveTo>
                    <a:pt x="30" y="446"/>
                  </a:moveTo>
                  <a:lnTo>
                    <a:pt x="30" y="446"/>
                  </a:lnTo>
                  <a:lnTo>
                    <a:pt x="30" y="449"/>
                  </a:lnTo>
                  <a:lnTo>
                    <a:pt x="30" y="449"/>
                  </a:lnTo>
                  <a:lnTo>
                    <a:pt x="31" y="444"/>
                  </a:lnTo>
                  <a:lnTo>
                    <a:pt x="31" y="444"/>
                  </a:lnTo>
                  <a:lnTo>
                    <a:pt x="31" y="449"/>
                  </a:lnTo>
                  <a:lnTo>
                    <a:pt x="30" y="453"/>
                  </a:lnTo>
                  <a:lnTo>
                    <a:pt x="30" y="453"/>
                  </a:lnTo>
                  <a:lnTo>
                    <a:pt x="33" y="447"/>
                  </a:lnTo>
                  <a:lnTo>
                    <a:pt x="35" y="443"/>
                  </a:lnTo>
                  <a:lnTo>
                    <a:pt x="35" y="443"/>
                  </a:lnTo>
                  <a:lnTo>
                    <a:pt x="37" y="441"/>
                  </a:lnTo>
                  <a:lnTo>
                    <a:pt x="37" y="441"/>
                  </a:lnTo>
                  <a:lnTo>
                    <a:pt x="37" y="444"/>
                  </a:lnTo>
                  <a:lnTo>
                    <a:pt x="37" y="444"/>
                  </a:lnTo>
                  <a:lnTo>
                    <a:pt x="37" y="444"/>
                  </a:lnTo>
                  <a:lnTo>
                    <a:pt x="35" y="446"/>
                  </a:lnTo>
                  <a:lnTo>
                    <a:pt x="34" y="450"/>
                  </a:lnTo>
                  <a:lnTo>
                    <a:pt x="34" y="450"/>
                  </a:lnTo>
                  <a:lnTo>
                    <a:pt x="33" y="453"/>
                  </a:lnTo>
                  <a:lnTo>
                    <a:pt x="33" y="456"/>
                  </a:lnTo>
                  <a:lnTo>
                    <a:pt x="33" y="456"/>
                  </a:lnTo>
                  <a:lnTo>
                    <a:pt x="31" y="460"/>
                  </a:lnTo>
                  <a:lnTo>
                    <a:pt x="31" y="460"/>
                  </a:lnTo>
                  <a:lnTo>
                    <a:pt x="30" y="463"/>
                  </a:lnTo>
                  <a:lnTo>
                    <a:pt x="30" y="463"/>
                  </a:lnTo>
                  <a:lnTo>
                    <a:pt x="27" y="467"/>
                  </a:lnTo>
                  <a:lnTo>
                    <a:pt x="25" y="473"/>
                  </a:lnTo>
                  <a:lnTo>
                    <a:pt x="25" y="473"/>
                  </a:lnTo>
                  <a:lnTo>
                    <a:pt x="25" y="474"/>
                  </a:lnTo>
                  <a:lnTo>
                    <a:pt x="25" y="473"/>
                  </a:lnTo>
                  <a:lnTo>
                    <a:pt x="27" y="473"/>
                  </a:lnTo>
                  <a:lnTo>
                    <a:pt x="27" y="473"/>
                  </a:lnTo>
                  <a:lnTo>
                    <a:pt x="27" y="473"/>
                  </a:lnTo>
                  <a:lnTo>
                    <a:pt x="24" y="477"/>
                  </a:lnTo>
                  <a:lnTo>
                    <a:pt x="24" y="477"/>
                  </a:lnTo>
                  <a:lnTo>
                    <a:pt x="23" y="477"/>
                  </a:lnTo>
                  <a:lnTo>
                    <a:pt x="21" y="470"/>
                  </a:lnTo>
                  <a:lnTo>
                    <a:pt x="21" y="470"/>
                  </a:lnTo>
                  <a:lnTo>
                    <a:pt x="23" y="470"/>
                  </a:lnTo>
                  <a:lnTo>
                    <a:pt x="24" y="470"/>
                  </a:lnTo>
                  <a:lnTo>
                    <a:pt x="24" y="470"/>
                  </a:lnTo>
                  <a:lnTo>
                    <a:pt x="24" y="467"/>
                  </a:lnTo>
                  <a:lnTo>
                    <a:pt x="25" y="464"/>
                  </a:lnTo>
                  <a:lnTo>
                    <a:pt x="25" y="464"/>
                  </a:lnTo>
                  <a:lnTo>
                    <a:pt x="23" y="467"/>
                  </a:lnTo>
                  <a:lnTo>
                    <a:pt x="23" y="467"/>
                  </a:lnTo>
                  <a:lnTo>
                    <a:pt x="24" y="461"/>
                  </a:lnTo>
                  <a:lnTo>
                    <a:pt x="24" y="461"/>
                  </a:lnTo>
                  <a:lnTo>
                    <a:pt x="23" y="461"/>
                  </a:lnTo>
                  <a:lnTo>
                    <a:pt x="23" y="461"/>
                  </a:lnTo>
                  <a:lnTo>
                    <a:pt x="24" y="457"/>
                  </a:lnTo>
                  <a:lnTo>
                    <a:pt x="25" y="453"/>
                  </a:lnTo>
                  <a:lnTo>
                    <a:pt x="25" y="453"/>
                  </a:lnTo>
                  <a:lnTo>
                    <a:pt x="25" y="456"/>
                  </a:lnTo>
                  <a:lnTo>
                    <a:pt x="25" y="457"/>
                  </a:lnTo>
                  <a:lnTo>
                    <a:pt x="25" y="457"/>
                  </a:lnTo>
                  <a:lnTo>
                    <a:pt x="30" y="446"/>
                  </a:lnTo>
                  <a:close/>
                  <a:moveTo>
                    <a:pt x="51" y="419"/>
                  </a:moveTo>
                  <a:lnTo>
                    <a:pt x="51" y="419"/>
                  </a:lnTo>
                  <a:lnTo>
                    <a:pt x="51" y="416"/>
                  </a:lnTo>
                  <a:lnTo>
                    <a:pt x="53" y="411"/>
                  </a:lnTo>
                  <a:lnTo>
                    <a:pt x="53" y="411"/>
                  </a:lnTo>
                  <a:lnTo>
                    <a:pt x="54" y="410"/>
                  </a:lnTo>
                  <a:lnTo>
                    <a:pt x="55" y="407"/>
                  </a:lnTo>
                  <a:lnTo>
                    <a:pt x="55" y="407"/>
                  </a:lnTo>
                  <a:lnTo>
                    <a:pt x="58" y="400"/>
                  </a:lnTo>
                  <a:lnTo>
                    <a:pt x="58" y="400"/>
                  </a:lnTo>
                  <a:lnTo>
                    <a:pt x="58" y="401"/>
                  </a:lnTo>
                  <a:lnTo>
                    <a:pt x="60" y="400"/>
                  </a:lnTo>
                  <a:lnTo>
                    <a:pt x="61" y="396"/>
                  </a:lnTo>
                  <a:lnTo>
                    <a:pt x="63" y="394"/>
                  </a:lnTo>
                  <a:lnTo>
                    <a:pt x="63" y="394"/>
                  </a:lnTo>
                  <a:lnTo>
                    <a:pt x="60" y="401"/>
                  </a:lnTo>
                  <a:lnTo>
                    <a:pt x="57" y="407"/>
                  </a:lnTo>
                  <a:lnTo>
                    <a:pt x="57" y="407"/>
                  </a:lnTo>
                  <a:lnTo>
                    <a:pt x="57" y="413"/>
                  </a:lnTo>
                  <a:lnTo>
                    <a:pt x="57" y="417"/>
                  </a:lnTo>
                  <a:lnTo>
                    <a:pt x="57" y="420"/>
                  </a:lnTo>
                  <a:lnTo>
                    <a:pt x="55" y="424"/>
                  </a:lnTo>
                  <a:lnTo>
                    <a:pt x="55" y="424"/>
                  </a:lnTo>
                  <a:lnTo>
                    <a:pt x="55" y="420"/>
                  </a:lnTo>
                  <a:lnTo>
                    <a:pt x="55" y="416"/>
                  </a:lnTo>
                  <a:lnTo>
                    <a:pt x="54" y="414"/>
                  </a:lnTo>
                  <a:lnTo>
                    <a:pt x="54" y="414"/>
                  </a:lnTo>
                  <a:lnTo>
                    <a:pt x="51" y="419"/>
                  </a:lnTo>
                  <a:close/>
                  <a:moveTo>
                    <a:pt x="299" y="232"/>
                  </a:moveTo>
                  <a:lnTo>
                    <a:pt x="299" y="232"/>
                  </a:lnTo>
                  <a:lnTo>
                    <a:pt x="299" y="234"/>
                  </a:lnTo>
                  <a:lnTo>
                    <a:pt x="299" y="234"/>
                  </a:lnTo>
                  <a:lnTo>
                    <a:pt x="301" y="234"/>
                  </a:lnTo>
                  <a:lnTo>
                    <a:pt x="301" y="234"/>
                  </a:lnTo>
                  <a:lnTo>
                    <a:pt x="302" y="232"/>
                  </a:lnTo>
                  <a:lnTo>
                    <a:pt x="302" y="229"/>
                  </a:lnTo>
                  <a:lnTo>
                    <a:pt x="302" y="229"/>
                  </a:lnTo>
                  <a:lnTo>
                    <a:pt x="306" y="227"/>
                  </a:lnTo>
                  <a:lnTo>
                    <a:pt x="306" y="227"/>
                  </a:lnTo>
                  <a:lnTo>
                    <a:pt x="305" y="232"/>
                  </a:lnTo>
                  <a:lnTo>
                    <a:pt x="302" y="237"/>
                  </a:lnTo>
                  <a:lnTo>
                    <a:pt x="302" y="237"/>
                  </a:lnTo>
                  <a:lnTo>
                    <a:pt x="295" y="240"/>
                  </a:lnTo>
                  <a:lnTo>
                    <a:pt x="288" y="244"/>
                  </a:lnTo>
                  <a:lnTo>
                    <a:pt x="288" y="244"/>
                  </a:lnTo>
                  <a:lnTo>
                    <a:pt x="294" y="239"/>
                  </a:lnTo>
                  <a:lnTo>
                    <a:pt x="299" y="232"/>
                  </a:lnTo>
                  <a:close/>
                  <a:moveTo>
                    <a:pt x="162" y="310"/>
                  </a:moveTo>
                  <a:lnTo>
                    <a:pt x="162" y="310"/>
                  </a:lnTo>
                  <a:lnTo>
                    <a:pt x="161" y="314"/>
                  </a:lnTo>
                  <a:lnTo>
                    <a:pt x="157" y="319"/>
                  </a:lnTo>
                  <a:lnTo>
                    <a:pt x="157" y="319"/>
                  </a:lnTo>
                  <a:lnTo>
                    <a:pt x="162" y="310"/>
                  </a:lnTo>
                  <a:close/>
                  <a:moveTo>
                    <a:pt x="20" y="470"/>
                  </a:moveTo>
                  <a:lnTo>
                    <a:pt x="20" y="470"/>
                  </a:lnTo>
                  <a:lnTo>
                    <a:pt x="20" y="471"/>
                  </a:lnTo>
                  <a:lnTo>
                    <a:pt x="20" y="470"/>
                  </a:lnTo>
                  <a:lnTo>
                    <a:pt x="21" y="470"/>
                  </a:lnTo>
                  <a:lnTo>
                    <a:pt x="21" y="471"/>
                  </a:lnTo>
                  <a:lnTo>
                    <a:pt x="21" y="471"/>
                  </a:lnTo>
                  <a:lnTo>
                    <a:pt x="20" y="474"/>
                  </a:lnTo>
                  <a:lnTo>
                    <a:pt x="20" y="476"/>
                  </a:lnTo>
                  <a:lnTo>
                    <a:pt x="18" y="474"/>
                  </a:lnTo>
                  <a:lnTo>
                    <a:pt x="20" y="470"/>
                  </a:lnTo>
                  <a:close/>
                  <a:moveTo>
                    <a:pt x="63" y="400"/>
                  </a:moveTo>
                  <a:lnTo>
                    <a:pt x="63" y="400"/>
                  </a:lnTo>
                  <a:lnTo>
                    <a:pt x="61" y="410"/>
                  </a:lnTo>
                  <a:lnTo>
                    <a:pt x="61" y="410"/>
                  </a:lnTo>
                  <a:lnTo>
                    <a:pt x="60" y="414"/>
                  </a:lnTo>
                  <a:lnTo>
                    <a:pt x="60" y="414"/>
                  </a:lnTo>
                  <a:lnTo>
                    <a:pt x="58" y="413"/>
                  </a:lnTo>
                  <a:lnTo>
                    <a:pt x="58" y="409"/>
                  </a:lnTo>
                  <a:lnTo>
                    <a:pt x="58" y="409"/>
                  </a:lnTo>
                  <a:lnTo>
                    <a:pt x="63" y="400"/>
                  </a:lnTo>
                  <a:close/>
                  <a:moveTo>
                    <a:pt x="167" y="303"/>
                  </a:moveTo>
                  <a:lnTo>
                    <a:pt x="167" y="303"/>
                  </a:lnTo>
                  <a:lnTo>
                    <a:pt x="169" y="301"/>
                  </a:lnTo>
                  <a:lnTo>
                    <a:pt x="171" y="301"/>
                  </a:lnTo>
                  <a:lnTo>
                    <a:pt x="171" y="301"/>
                  </a:lnTo>
                  <a:lnTo>
                    <a:pt x="171" y="301"/>
                  </a:lnTo>
                  <a:lnTo>
                    <a:pt x="168" y="304"/>
                  </a:lnTo>
                  <a:lnTo>
                    <a:pt x="167" y="307"/>
                  </a:lnTo>
                  <a:lnTo>
                    <a:pt x="167" y="307"/>
                  </a:lnTo>
                  <a:lnTo>
                    <a:pt x="167" y="303"/>
                  </a:lnTo>
                  <a:close/>
                  <a:moveTo>
                    <a:pt x="108" y="349"/>
                  </a:moveTo>
                  <a:lnTo>
                    <a:pt x="108" y="349"/>
                  </a:lnTo>
                  <a:lnTo>
                    <a:pt x="110" y="347"/>
                  </a:lnTo>
                  <a:lnTo>
                    <a:pt x="110" y="350"/>
                  </a:lnTo>
                  <a:lnTo>
                    <a:pt x="105" y="357"/>
                  </a:lnTo>
                  <a:lnTo>
                    <a:pt x="105" y="357"/>
                  </a:lnTo>
                  <a:lnTo>
                    <a:pt x="107" y="353"/>
                  </a:lnTo>
                  <a:lnTo>
                    <a:pt x="108" y="349"/>
                  </a:lnTo>
                  <a:close/>
                  <a:moveTo>
                    <a:pt x="35" y="439"/>
                  </a:moveTo>
                  <a:lnTo>
                    <a:pt x="35" y="439"/>
                  </a:lnTo>
                  <a:lnTo>
                    <a:pt x="37" y="436"/>
                  </a:lnTo>
                  <a:lnTo>
                    <a:pt x="38" y="434"/>
                  </a:lnTo>
                  <a:lnTo>
                    <a:pt x="38" y="436"/>
                  </a:lnTo>
                  <a:lnTo>
                    <a:pt x="38" y="436"/>
                  </a:lnTo>
                  <a:lnTo>
                    <a:pt x="35" y="440"/>
                  </a:lnTo>
                  <a:lnTo>
                    <a:pt x="35" y="440"/>
                  </a:lnTo>
                  <a:lnTo>
                    <a:pt x="35" y="439"/>
                  </a:lnTo>
                  <a:close/>
                  <a:moveTo>
                    <a:pt x="169" y="297"/>
                  </a:moveTo>
                  <a:lnTo>
                    <a:pt x="169" y="297"/>
                  </a:lnTo>
                  <a:lnTo>
                    <a:pt x="169" y="297"/>
                  </a:lnTo>
                  <a:lnTo>
                    <a:pt x="169" y="297"/>
                  </a:lnTo>
                  <a:lnTo>
                    <a:pt x="169" y="297"/>
                  </a:lnTo>
                  <a:lnTo>
                    <a:pt x="172" y="293"/>
                  </a:lnTo>
                  <a:lnTo>
                    <a:pt x="172" y="293"/>
                  </a:lnTo>
                  <a:lnTo>
                    <a:pt x="171" y="297"/>
                  </a:lnTo>
                  <a:lnTo>
                    <a:pt x="167" y="301"/>
                  </a:lnTo>
                  <a:lnTo>
                    <a:pt x="167" y="301"/>
                  </a:lnTo>
                  <a:lnTo>
                    <a:pt x="168" y="299"/>
                  </a:lnTo>
                  <a:lnTo>
                    <a:pt x="169" y="297"/>
                  </a:lnTo>
                  <a:close/>
                  <a:moveTo>
                    <a:pt x="164" y="296"/>
                  </a:moveTo>
                  <a:lnTo>
                    <a:pt x="164" y="296"/>
                  </a:lnTo>
                  <a:lnTo>
                    <a:pt x="159" y="300"/>
                  </a:lnTo>
                  <a:lnTo>
                    <a:pt x="157" y="304"/>
                  </a:lnTo>
                  <a:lnTo>
                    <a:pt x="157" y="304"/>
                  </a:lnTo>
                  <a:lnTo>
                    <a:pt x="158" y="301"/>
                  </a:lnTo>
                  <a:lnTo>
                    <a:pt x="158" y="301"/>
                  </a:lnTo>
                  <a:lnTo>
                    <a:pt x="159" y="297"/>
                  </a:lnTo>
                  <a:lnTo>
                    <a:pt x="159" y="297"/>
                  </a:lnTo>
                  <a:lnTo>
                    <a:pt x="162" y="296"/>
                  </a:lnTo>
                  <a:lnTo>
                    <a:pt x="164" y="296"/>
                  </a:lnTo>
                  <a:close/>
                  <a:moveTo>
                    <a:pt x="7" y="467"/>
                  </a:moveTo>
                  <a:lnTo>
                    <a:pt x="7" y="467"/>
                  </a:lnTo>
                  <a:lnTo>
                    <a:pt x="7" y="467"/>
                  </a:lnTo>
                  <a:lnTo>
                    <a:pt x="7" y="466"/>
                  </a:lnTo>
                  <a:lnTo>
                    <a:pt x="7" y="464"/>
                  </a:lnTo>
                  <a:lnTo>
                    <a:pt x="7" y="464"/>
                  </a:lnTo>
                  <a:lnTo>
                    <a:pt x="7" y="464"/>
                  </a:lnTo>
                  <a:lnTo>
                    <a:pt x="8" y="463"/>
                  </a:lnTo>
                  <a:lnTo>
                    <a:pt x="10" y="463"/>
                  </a:lnTo>
                  <a:lnTo>
                    <a:pt x="10" y="463"/>
                  </a:lnTo>
                  <a:lnTo>
                    <a:pt x="5" y="476"/>
                  </a:lnTo>
                  <a:lnTo>
                    <a:pt x="5" y="476"/>
                  </a:lnTo>
                  <a:lnTo>
                    <a:pt x="5" y="471"/>
                  </a:lnTo>
                  <a:lnTo>
                    <a:pt x="7" y="467"/>
                  </a:lnTo>
                  <a:close/>
                  <a:moveTo>
                    <a:pt x="353" y="197"/>
                  </a:moveTo>
                  <a:lnTo>
                    <a:pt x="353" y="197"/>
                  </a:lnTo>
                  <a:lnTo>
                    <a:pt x="351" y="199"/>
                  </a:lnTo>
                  <a:lnTo>
                    <a:pt x="348" y="200"/>
                  </a:lnTo>
                  <a:lnTo>
                    <a:pt x="348" y="200"/>
                  </a:lnTo>
                  <a:lnTo>
                    <a:pt x="351" y="197"/>
                  </a:lnTo>
                  <a:lnTo>
                    <a:pt x="353" y="197"/>
                  </a:lnTo>
                  <a:close/>
                  <a:moveTo>
                    <a:pt x="144" y="292"/>
                  </a:moveTo>
                  <a:lnTo>
                    <a:pt x="144" y="292"/>
                  </a:lnTo>
                  <a:lnTo>
                    <a:pt x="142" y="296"/>
                  </a:lnTo>
                  <a:lnTo>
                    <a:pt x="140" y="297"/>
                  </a:lnTo>
                  <a:lnTo>
                    <a:pt x="140" y="297"/>
                  </a:lnTo>
                  <a:lnTo>
                    <a:pt x="141" y="294"/>
                  </a:lnTo>
                  <a:lnTo>
                    <a:pt x="144" y="292"/>
                  </a:lnTo>
                  <a:close/>
                  <a:moveTo>
                    <a:pt x="224" y="240"/>
                  </a:moveTo>
                  <a:lnTo>
                    <a:pt x="224" y="240"/>
                  </a:lnTo>
                  <a:lnTo>
                    <a:pt x="227" y="240"/>
                  </a:lnTo>
                  <a:lnTo>
                    <a:pt x="227" y="240"/>
                  </a:lnTo>
                  <a:lnTo>
                    <a:pt x="225" y="243"/>
                  </a:lnTo>
                  <a:lnTo>
                    <a:pt x="222" y="244"/>
                  </a:lnTo>
                  <a:lnTo>
                    <a:pt x="222" y="244"/>
                  </a:lnTo>
                  <a:lnTo>
                    <a:pt x="222" y="242"/>
                  </a:lnTo>
                  <a:lnTo>
                    <a:pt x="224" y="240"/>
                  </a:lnTo>
                  <a:close/>
                  <a:moveTo>
                    <a:pt x="157" y="277"/>
                  </a:moveTo>
                  <a:lnTo>
                    <a:pt x="157" y="277"/>
                  </a:lnTo>
                  <a:lnTo>
                    <a:pt x="162" y="270"/>
                  </a:lnTo>
                  <a:lnTo>
                    <a:pt x="162" y="270"/>
                  </a:lnTo>
                  <a:lnTo>
                    <a:pt x="165" y="267"/>
                  </a:lnTo>
                  <a:lnTo>
                    <a:pt x="168" y="266"/>
                  </a:lnTo>
                  <a:lnTo>
                    <a:pt x="168" y="266"/>
                  </a:lnTo>
                  <a:lnTo>
                    <a:pt x="165" y="267"/>
                  </a:lnTo>
                  <a:lnTo>
                    <a:pt x="162" y="270"/>
                  </a:lnTo>
                  <a:lnTo>
                    <a:pt x="162" y="270"/>
                  </a:lnTo>
                  <a:lnTo>
                    <a:pt x="159" y="277"/>
                  </a:lnTo>
                  <a:lnTo>
                    <a:pt x="159" y="277"/>
                  </a:lnTo>
                  <a:lnTo>
                    <a:pt x="158" y="276"/>
                  </a:lnTo>
                  <a:lnTo>
                    <a:pt x="158" y="277"/>
                  </a:lnTo>
                  <a:lnTo>
                    <a:pt x="157" y="279"/>
                  </a:lnTo>
                  <a:lnTo>
                    <a:pt x="157" y="277"/>
                  </a:lnTo>
                  <a:close/>
                  <a:moveTo>
                    <a:pt x="396" y="174"/>
                  </a:moveTo>
                  <a:lnTo>
                    <a:pt x="396" y="174"/>
                  </a:lnTo>
                  <a:lnTo>
                    <a:pt x="392" y="179"/>
                  </a:lnTo>
                  <a:lnTo>
                    <a:pt x="386" y="180"/>
                  </a:lnTo>
                  <a:lnTo>
                    <a:pt x="386" y="180"/>
                  </a:lnTo>
                  <a:lnTo>
                    <a:pt x="392" y="176"/>
                  </a:lnTo>
                  <a:lnTo>
                    <a:pt x="395" y="174"/>
                  </a:lnTo>
                  <a:lnTo>
                    <a:pt x="396" y="174"/>
                  </a:lnTo>
                  <a:close/>
                  <a:moveTo>
                    <a:pt x="47" y="370"/>
                  </a:moveTo>
                  <a:lnTo>
                    <a:pt x="47" y="370"/>
                  </a:lnTo>
                  <a:lnTo>
                    <a:pt x="44" y="376"/>
                  </a:lnTo>
                  <a:lnTo>
                    <a:pt x="43" y="377"/>
                  </a:lnTo>
                  <a:lnTo>
                    <a:pt x="41" y="377"/>
                  </a:lnTo>
                  <a:lnTo>
                    <a:pt x="41" y="377"/>
                  </a:lnTo>
                  <a:lnTo>
                    <a:pt x="44" y="373"/>
                  </a:lnTo>
                  <a:lnTo>
                    <a:pt x="45" y="370"/>
                  </a:lnTo>
                  <a:lnTo>
                    <a:pt x="47" y="370"/>
                  </a:lnTo>
                  <a:close/>
                  <a:moveTo>
                    <a:pt x="108" y="296"/>
                  </a:moveTo>
                  <a:lnTo>
                    <a:pt x="108" y="296"/>
                  </a:lnTo>
                  <a:lnTo>
                    <a:pt x="112" y="292"/>
                  </a:lnTo>
                  <a:lnTo>
                    <a:pt x="115" y="287"/>
                  </a:lnTo>
                  <a:lnTo>
                    <a:pt x="115" y="287"/>
                  </a:lnTo>
                  <a:lnTo>
                    <a:pt x="112" y="293"/>
                  </a:lnTo>
                  <a:lnTo>
                    <a:pt x="111" y="296"/>
                  </a:lnTo>
                  <a:lnTo>
                    <a:pt x="110" y="299"/>
                  </a:lnTo>
                  <a:lnTo>
                    <a:pt x="110" y="299"/>
                  </a:lnTo>
                  <a:lnTo>
                    <a:pt x="108" y="301"/>
                  </a:lnTo>
                  <a:lnTo>
                    <a:pt x="105" y="303"/>
                  </a:lnTo>
                  <a:lnTo>
                    <a:pt x="105" y="303"/>
                  </a:lnTo>
                  <a:lnTo>
                    <a:pt x="107" y="299"/>
                  </a:lnTo>
                  <a:lnTo>
                    <a:pt x="107" y="299"/>
                  </a:lnTo>
                  <a:lnTo>
                    <a:pt x="108" y="296"/>
                  </a:lnTo>
                  <a:close/>
                  <a:moveTo>
                    <a:pt x="241" y="209"/>
                  </a:moveTo>
                  <a:lnTo>
                    <a:pt x="241" y="209"/>
                  </a:lnTo>
                  <a:lnTo>
                    <a:pt x="245" y="207"/>
                  </a:lnTo>
                  <a:lnTo>
                    <a:pt x="245" y="209"/>
                  </a:lnTo>
                  <a:lnTo>
                    <a:pt x="244" y="210"/>
                  </a:lnTo>
                  <a:lnTo>
                    <a:pt x="244" y="210"/>
                  </a:lnTo>
                  <a:lnTo>
                    <a:pt x="241" y="212"/>
                  </a:lnTo>
                  <a:lnTo>
                    <a:pt x="237" y="216"/>
                  </a:lnTo>
                  <a:lnTo>
                    <a:pt x="237" y="216"/>
                  </a:lnTo>
                  <a:lnTo>
                    <a:pt x="238" y="212"/>
                  </a:lnTo>
                  <a:lnTo>
                    <a:pt x="241" y="209"/>
                  </a:lnTo>
                  <a:close/>
                  <a:moveTo>
                    <a:pt x="88" y="297"/>
                  </a:moveTo>
                  <a:lnTo>
                    <a:pt x="88" y="297"/>
                  </a:lnTo>
                  <a:lnTo>
                    <a:pt x="87" y="303"/>
                  </a:lnTo>
                  <a:lnTo>
                    <a:pt x="84" y="309"/>
                  </a:lnTo>
                  <a:lnTo>
                    <a:pt x="84" y="309"/>
                  </a:lnTo>
                  <a:lnTo>
                    <a:pt x="85" y="301"/>
                  </a:lnTo>
                  <a:lnTo>
                    <a:pt x="87" y="299"/>
                  </a:lnTo>
                  <a:lnTo>
                    <a:pt x="88" y="297"/>
                  </a:lnTo>
                  <a:close/>
                  <a:moveTo>
                    <a:pt x="168" y="239"/>
                  </a:moveTo>
                  <a:lnTo>
                    <a:pt x="168" y="239"/>
                  </a:lnTo>
                  <a:lnTo>
                    <a:pt x="167" y="242"/>
                  </a:lnTo>
                  <a:lnTo>
                    <a:pt x="164" y="244"/>
                  </a:lnTo>
                  <a:lnTo>
                    <a:pt x="164" y="244"/>
                  </a:lnTo>
                  <a:lnTo>
                    <a:pt x="165" y="242"/>
                  </a:lnTo>
                  <a:lnTo>
                    <a:pt x="168" y="239"/>
                  </a:lnTo>
                  <a:close/>
                  <a:moveTo>
                    <a:pt x="138" y="256"/>
                  </a:moveTo>
                  <a:lnTo>
                    <a:pt x="138" y="256"/>
                  </a:lnTo>
                  <a:lnTo>
                    <a:pt x="135" y="262"/>
                  </a:lnTo>
                  <a:lnTo>
                    <a:pt x="131" y="266"/>
                  </a:lnTo>
                  <a:lnTo>
                    <a:pt x="131" y="266"/>
                  </a:lnTo>
                  <a:lnTo>
                    <a:pt x="135" y="260"/>
                  </a:lnTo>
                  <a:lnTo>
                    <a:pt x="138" y="256"/>
                  </a:lnTo>
                  <a:close/>
                  <a:moveTo>
                    <a:pt x="161" y="237"/>
                  </a:moveTo>
                  <a:lnTo>
                    <a:pt x="161" y="237"/>
                  </a:lnTo>
                  <a:lnTo>
                    <a:pt x="165" y="234"/>
                  </a:lnTo>
                  <a:lnTo>
                    <a:pt x="165" y="234"/>
                  </a:lnTo>
                  <a:lnTo>
                    <a:pt x="168" y="230"/>
                  </a:lnTo>
                  <a:lnTo>
                    <a:pt x="168" y="230"/>
                  </a:lnTo>
                  <a:lnTo>
                    <a:pt x="174" y="223"/>
                  </a:lnTo>
                  <a:lnTo>
                    <a:pt x="174" y="223"/>
                  </a:lnTo>
                  <a:lnTo>
                    <a:pt x="172" y="227"/>
                  </a:lnTo>
                  <a:lnTo>
                    <a:pt x="169" y="230"/>
                  </a:lnTo>
                  <a:lnTo>
                    <a:pt x="169" y="230"/>
                  </a:lnTo>
                  <a:lnTo>
                    <a:pt x="165" y="234"/>
                  </a:lnTo>
                  <a:lnTo>
                    <a:pt x="165" y="234"/>
                  </a:lnTo>
                  <a:lnTo>
                    <a:pt x="162" y="239"/>
                  </a:lnTo>
                  <a:lnTo>
                    <a:pt x="162" y="239"/>
                  </a:lnTo>
                  <a:lnTo>
                    <a:pt x="161" y="240"/>
                  </a:lnTo>
                  <a:lnTo>
                    <a:pt x="159" y="242"/>
                  </a:lnTo>
                  <a:lnTo>
                    <a:pt x="159" y="242"/>
                  </a:lnTo>
                  <a:lnTo>
                    <a:pt x="161" y="237"/>
                  </a:lnTo>
                  <a:close/>
                  <a:moveTo>
                    <a:pt x="242" y="189"/>
                  </a:moveTo>
                  <a:lnTo>
                    <a:pt x="242" y="189"/>
                  </a:lnTo>
                  <a:lnTo>
                    <a:pt x="238" y="196"/>
                  </a:lnTo>
                  <a:lnTo>
                    <a:pt x="231" y="200"/>
                  </a:lnTo>
                  <a:lnTo>
                    <a:pt x="231" y="200"/>
                  </a:lnTo>
                  <a:lnTo>
                    <a:pt x="237" y="194"/>
                  </a:lnTo>
                  <a:lnTo>
                    <a:pt x="242" y="189"/>
                  </a:lnTo>
                  <a:close/>
                  <a:moveTo>
                    <a:pt x="101" y="272"/>
                  </a:moveTo>
                  <a:lnTo>
                    <a:pt x="101" y="272"/>
                  </a:lnTo>
                  <a:lnTo>
                    <a:pt x="97" y="280"/>
                  </a:lnTo>
                  <a:lnTo>
                    <a:pt x="97" y="280"/>
                  </a:lnTo>
                  <a:lnTo>
                    <a:pt x="97" y="279"/>
                  </a:lnTo>
                  <a:lnTo>
                    <a:pt x="97" y="279"/>
                  </a:lnTo>
                  <a:lnTo>
                    <a:pt x="95" y="277"/>
                  </a:lnTo>
                  <a:lnTo>
                    <a:pt x="95" y="276"/>
                  </a:lnTo>
                  <a:lnTo>
                    <a:pt x="95" y="276"/>
                  </a:lnTo>
                  <a:lnTo>
                    <a:pt x="98" y="274"/>
                  </a:lnTo>
                  <a:lnTo>
                    <a:pt x="101" y="272"/>
                  </a:lnTo>
                  <a:close/>
                  <a:moveTo>
                    <a:pt x="92" y="289"/>
                  </a:moveTo>
                  <a:lnTo>
                    <a:pt x="92" y="289"/>
                  </a:lnTo>
                  <a:lnTo>
                    <a:pt x="90" y="292"/>
                  </a:lnTo>
                  <a:lnTo>
                    <a:pt x="90" y="292"/>
                  </a:lnTo>
                  <a:lnTo>
                    <a:pt x="85" y="296"/>
                  </a:lnTo>
                  <a:lnTo>
                    <a:pt x="85" y="296"/>
                  </a:lnTo>
                  <a:lnTo>
                    <a:pt x="88" y="290"/>
                  </a:lnTo>
                  <a:lnTo>
                    <a:pt x="88" y="290"/>
                  </a:lnTo>
                  <a:lnTo>
                    <a:pt x="90" y="284"/>
                  </a:lnTo>
                  <a:lnTo>
                    <a:pt x="90" y="284"/>
                  </a:lnTo>
                  <a:lnTo>
                    <a:pt x="92" y="282"/>
                  </a:lnTo>
                  <a:lnTo>
                    <a:pt x="95" y="279"/>
                  </a:lnTo>
                  <a:lnTo>
                    <a:pt x="95" y="279"/>
                  </a:lnTo>
                  <a:lnTo>
                    <a:pt x="92" y="284"/>
                  </a:lnTo>
                  <a:lnTo>
                    <a:pt x="92" y="289"/>
                  </a:lnTo>
                  <a:close/>
                  <a:moveTo>
                    <a:pt x="104" y="273"/>
                  </a:moveTo>
                  <a:lnTo>
                    <a:pt x="104" y="273"/>
                  </a:lnTo>
                  <a:lnTo>
                    <a:pt x="101" y="277"/>
                  </a:lnTo>
                  <a:lnTo>
                    <a:pt x="100" y="280"/>
                  </a:lnTo>
                  <a:lnTo>
                    <a:pt x="98" y="280"/>
                  </a:lnTo>
                  <a:lnTo>
                    <a:pt x="98" y="280"/>
                  </a:lnTo>
                  <a:lnTo>
                    <a:pt x="98" y="280"/>
                  </a:lnTo>
                  <a:lnTo>
                    <a:pt x="102" y="274"/>
                  </a:lnTo>
                  <a:lnTo>
                    <a:pt x="107" y="270"/>
                  </a:lnTo>
                  <a:lnTo>
                    <a:pt x="107" y="270"/>
                  </a:lnTo>
                  <a:lnTo>
                    <a:pt x="107" y="272"/>
                  </a:lnTo>
                  <a:lnTo>
                    <a:pt x="108" y="270"/>
                  </a:lnTo>
                  <a:lnTo>
                    <a:pt x="108" y="270"/>
                  </a:lnTo>
                  <a:lnTo>
                    <a:pt x="105" y="276"/>
                  </a:lnTo>
                  <a:lnTo>
                    <a:pt x="102" y="280"/>
                  </a:lnTo>
                  <a:lnTo>
                    <a:pt x="102" y="280"/>
                  </a:lnTo>
                  <a:lnTo>
                    <a:pt x="104" y="276"/>
                  </a:lnTo>
                  <a:lnTo>
                    <a:pt x="105" y="273"/>
                  </a:lnTo>
                  <a:lnTo>
                    <a:pt x="104" y="273"/>
                  </a:lnTo>
                  <a:close/>
                  <a:moveTo>
                    <a:pt x="168" y="223"/>
                  </a:moveTo>
                  <a:lnTo>
                    <a:pt x="168" y="223"/>
                  </a:lnTo>
                  <a:lnTo>
                    <a:pt x="164" y="227"/>
                  </a:lnTo>
                  <a:lnTo>
                    <a:pt x="161" y="230"/>
                  </a:lnTo>
                  <a:lnTo>
                    <a:pt x="161" y="230"/>
                  </a:lnTo>
                  <a:lnTo>
                    <a:pt x="165" y="224"/>
                  </a:lnTo>
                  <a:lnTo>
                    <a:pt x="167" y="223"/>
                  </a:lnTo>
                  <a:lnTo>
                    <a:pt x="168" y="223"/>
                  </a:lnTo>
                  <a:close/>
                  <a:moveTo>
                    <a:pt x="158" y="233"/>
                  </a:moveTo>
                  <a:lnTo>
                    <a:pt x="158" y="233"/>
                  </a:lnTo>
                  <a:lnTo>
                    <a:pt x="158" y="233"/>
                  </a:lnTo>
                  <a:lnTo>
                    <a:pt x="158" y="233"/>
                  </a:lnTo>
                  <a:lnTo>
                    <a:pt x="157" y="233"/>
                  </a:lnTo>
                  <a:lnTo>
                    <a:pt x="158" y="232"/>
                  </a:lnTo>
                  <a:lnTo>
                    <a:pt x="158" y="232"/>
                  </a:lnTo>
                  <a:lnTo>
                    <a:pt x="159" y="230"/>
                  </a:lnTo>
                  <a:lnTo>
                    <a:pt x="161" y="230"/>
                  </a:lnTo>
                  <a:lnTo>
                    <a:pt x="161" y="230"/>
                  </a:lnTo>
                  <a:lnTo>
                    <a:pt x="159" y="232"/>
                  </a:lnTo>
                  <a:lnTo>
                    <a:pt x="158" y="233"/>
                  </a:lnTo>
                  <a:close/>
                  <a:moveTo>
                    <a:pt x="179" y="219"/>
                  </a:moveTo>
                  <a:lnTo>
                    <a:pt x="179" y="219"/>
                  </a:lnTo>
                  <a:lnTo>
                    <a:pt x="182" y="214"/>
                  </a:lnTo>
                  <a:lnTo>
                    <a:pt x="185" y="212"/>
                  </a:lnTo>
                  <a:lnTo>
                    <a:pt x="185" y="212"/>
                  </a:lnTo>
                  <a:lnTo>
                    <a:pt x="189" y="209"/>
                  </a:lnTo>
                  <a:lnTo>
                    <a:pt x="192" y="206"/>
                  </a:lnTo>
                  <a:lnTo>
                    <a:pt x="192" y="206"/>
                  </a:lnTo>
                  <a:lnTo>
                    <a:pt x="191" y="209"/>
                  </a:lnTo>
                  <a:lnTo>
                    <a:pt x="189" y="213"/>
                  </a:lnTo>
                  <a:lnTo>
                    <a:pt x="189" y="213"/>
                  </a:lnTo>
                  <a:lnTo>
                    <a:pt x="187" y="213"/>
                  </a:lnTo>
                  <a:lnTo>
                    <a:pt x="187" y="213"/>
                  </a:lnTo>
                  <a:lnTo>
                    <a:pt x="184" y="217"/>
                  </a:lnTo>
                  <a:lnTo>
                    <a:pt x="184" y="217"/>
                  </a:lnTo>
                  <a:lnTo>
                    <a:pt x="179" y="219"/>
                  </a:lnTo>
                  <a:close/>
                  <a:moveTo>
                    <a:pt x="338" y="153"/>
                  </a:moveTo>
                  <a:lnTo>
                    <a:pt x="338" y="153"/>
                  </a:lnTo>
                  <a:lnTo>
                    <a:pt x="335" y="156"/>
                  </a:lnTo>
                  <a:lnTo>
                    <a:pt x="334" y="157"/>
                  </a:lnTo>
                  <a:lnTo>
                    <a:pt x="334" y="159"/>
                  </a:lnTo>
                  <a:lnTo>
                    <a:pt x="334" y="159"/>
                  </a:lnTo>
                  <a:lnTo>
                    <a:pt x="331" y="159"/>
                  </a:lnTo>
                  <a:lnTo>
                    <a:pt x="331" y="159"/>
                  </a:lnTo>
                  <a:lnTo>
                    <a:pt x="329" y="160"/>
                  </a:lnTo>
                  <a:lnTo>
                    <a:pt x="329" y="160"/>
                  </a:lnTo>
                  <a:lnTo>
                    <a:pt x="332" y="156"/>
                  </a:lnTo>
                  <a:lnTo>
                    <a:pt x="338" y="153"/>
                  </a:lnTo>
                  <a:close/>
                  <a:moveTo>
                    <a:pt x="469" y="146"/>
                  </a:moveTo>
                  <a:lnTo>
                    <a:pt x="469" y="146"/>
                  </a:lnTo>
                  <a:lnTo>
                    <a:pt x="472" y="144"/>
                  </a:lnTo>
                  <a:lnTo>
                    <a:pt x="473" y="144"/>
                  </a:lnTo>
                  <a:lnTo>
                    <a:pt x="473" y="144"/>
                  </a:lnTo>
                  <a:lnTo>
                    <a:pt x="473" y="144"/>
                  </a:lnTo>
                  <a:lnTo>
                    <a:pt x="469" y="146"/>
                  </a:lnTo>
                  <a:lnTo>
                    <a:pt x="468" y="146"/>
                  </a:lnTo>
                  <a:lnTo>
                    <a:pt x="469" y="146"/>
                  </a:lnTo>
                  <a:close/>
                  <a:moveTo>
                    <a:pt x="110" y="263"/>
                  </a:moveTo>
                  <a:lnTo>
                    <a:pt x="110" y="263"/>
                  </a:lnTo>
                  <a:lnTo>
                    <a:pt x="102" y="272"/>
                  </a:lnTo>
                  <a:lnTo>
                    <a:pt x="102" y="272"/>
                  </a:lnTo>
                  <a:lnTo>
                    <a:pt x="104" y="269"/>
                  </a:lnTo>
                  <a:lnTo>
                    <a:pt x="107" y="266"/>
                  </a:lnTo>
                  <a:lnTo>
                    <a:pt x="107" y="266"/>
                  </a:lnTo>
                  <a:lnTo>
                    <a:pt x="110" y="263"/>
                  </a:lnTo>
                  <a:close/>
                  <a:moveTo>
                    <a:pt x="315" y="154"/>
                  </a:moveTo>
                  <a:lnTo>
                    <a:pt x="315" y="154"/>
                  </a:lnTo>
                  <a:lnTo>
                    <a:pt x="309" y="159"/>
                  </a:lnTo>
                  <a:lnTo>
                    <a:pt x="304" y="162"/>
                  </a:lnTo>
                  <a:lnTo>
                    <a:pt x="304" y="162"/>
                  </a:lnTo>
                  <a:lnTo>
                    <a:pt x="309" y="157"/>
                  </a:lnTo>
                  <a:lnTo>
                    <a:pt x="315" y="154"/>
                  </a:lnTo>
                  <a:close/>
                  <a:moveTo>
                    <a:pt x="140" y="229"/>
                  </a:moveTo>
                  <a:lnTo>
                    <a:pt x="140" y="229"/>
                  </a:lnTo>
                  <a:lnTo>
                    <a:pt x="138" y="230"/>
                  </a:lnTo>
                  <a:lnTo>
                    <a:pt x="138" y="232"/>
                  </a:lnTo>
                  <a:lnTo>
                    <a:pt x="138" y="232"/>
                  </a:lnTo>
                  <a:lnTo>
                    <a:pt x="134" y="236"/>
                  </a:lnTo>
                  <a:lnTo>
                    <a:pt x="132" y="237"/>
                  </a:lnTo>
                  <a:lnTo>
                    <a:pt x="130" y="240"/>
                  </a:lnTo>
                  <a:lnTo>
                    <a:pt x="130" y="240"/>
                  </a:lnTo>
                  <a:lnTo>
                    <a:pt x="131" y="240"/>
                  </a:lnTo>
                  <a:lnTo>
                    <a:pt x="132" y="239"/>
                  </a:lnTo>
                  <a:lnTo>
                    <a:pt x="134" y="239"/>
                  </a:lnTo>
                  <a:lnTo>
                    <a:pt x="134" y="240"/>
                  </a:lnTo>
                  <a:lnTo>
                    <a:pt x="134" y="240"/>
                  </a:lnTo>
                  <a:lnTo>
                    <a:pt x="130" y="244"/>
                  </a:lnTo>
                  <a:lnTo>
                    <a:pt x="130" y="244"/>
                  </a:lnTo>
                  <a:lnTo>
                    <a:pt x="127" y="246"/>
                  </a:lnTo>
                  <a:lnTo>
                    <a:pt x="127" y="246"/>
                  </a:lnTo>
                  <a:lnTo>
                    <a:pt x="130" y="240"/>
                  </a:lnTo>
                  <a:lnTo>
                    <a:pt x="132" y="234"/>
                  </a:lnTo>
                  <a:lnTo>
                    <a:pt x="132" y="234"/>
                  </a:lnTo>
                  <a:lnTo>
                    <a:pt x="137" y="230"/>
                  </a:lnTo>
                  <a:lnTo>
                    <a:pt x="140" y="229"/>
                  </a:lnTo>
                  <a:close/>
                  <a:moveTo>
                    <a:pt x="282" y="162"/>
                  </a:moveTo>
                  <a:lnTo>
                    <a:pt x="282" y="162"/>
                  </a:lnTo>
                  <a:lnTo>
                    <a:pt x="288" y="157"/>
                  </a:lnTo>
                  <a:lnTo>
                    <a:pt x="291" y="154"/>
                  </a:lnTo>
                  <a:lnTo>
                    <a:pt x="295" y="154"/>
                  </a:lnTo>
                  <a:lnTo>
                    <a:pt x="295" y="154"/>
                  </a:lnTo>
                  <a:lnTo>
                    <a:pt x="285" y="162"/>
                  </a:lnTo>
                  <a:lnTo>
                    <a:pt x="285" y="162"/>
                  </a:lnTo>
                  <a:lnTo>
                    <a:pt x="282" y="163"/>
                  </a:lnTo>
                  <a:lnTo>
                    <a:pt x="282" y="162"/>
                  </a:lnTo>
                  <a:close/>
                  <a:moveTo>
                    <a:pt x="201" y="193"/>
                  </a:moveTo>
                  <a:lnTo>
                    <a:pt x="201" y="193"/>
                  </a:lnTo>
                  <a:lnTo>
                    <a:pt x="207" y="189"/>
                  </a:lnTo>
                  <a:lnTo>
                    <a:pt x="207" y="189"/>
                  </a:lnTo>
                  <a:lnTo>
                    <a:pt x="204" y="192"/>
                  </a:lnTo>
                  <a:lnTo>
                    <a:pt x="202" y="193"/>
                  </a:lnTo>
                  <a:lnTo>
                    <a:pt x="202" y="193"/>
                  </a:lnTo>
                  <a:lnTo>
                    <a:pt x="201" y="193"/>
                  </a:lnTo>
                  <a:lnTo>
                    <a:pt x="201" y="193"/>
                  </a:lnTo>
                  <a:close/>
                  <a:moveTo>
                    <a:pt x="151" y="216"/>
                  </a:moveTo>
                  <a:lnTo>
                    <a:pt x="151" y="216"/>
                  </a:lnTo>
                  <a:lnTo>
                    <a:pt x="150" y="219"/>
                  </a:lnTo>
                  <a:lnTo>
                    <a:pt x="150" y="219"/>
                  </a:lnTo>
                  <a:lnTo>
                    <a:pt x="145" y="223"/>
                  </a:lnTo>
                  <a:lnTo>
                    <a:pt x="145" y="223"/>
                  </a:lnTo>
                  <a:lnTo>
                    <a:pt x="147" y="219"/>
                  </a:lnTo>
                  <a:lnTo>
                    <a:pt x="151" y="216"/>
                  </a:lnTo>
                  <a:close/>
                  <a:moveTo>
                    <a:pt x="218" y="177"/>
                  </a:moveTo>
                  <a:lnTo>
                    <a:pt x="218" y="177"/>
                  </a:lnTo>
                  <a:lnTo>
                    <a:pt x="214" y="182"/>
                  </a:lnTo>
                  <a:lnTo>
                    <a:pt x="212" y="184"/>
                  </a:lnTo>
                  <a:lnTo>
                    <a:pt x="211" y="186"/>
                  </a:lnTo>
                  <a:lnTo>
                    <a:pt x="211" y="186"/>
                  </a:lnTo>
                  <a:lnTo>
                    <a:pt x="214" y="182"/>
                  </a:lnTo>
                  <a:lnTo>
                    <a:pt x="218" y="177"/>
                  </a:lnTo>
                  <a:close/>
                  <a:moveTo>
                    <a:pt x="245" y="162"/>
                  </a:moveTo>
                  <a:lnTo>
                    <a:pt x="245" y="162"/>
                  </a:lnTo>
                  <a:lnTo>
                    <a:pt x="242" y="164"/>
                  </a:lnTo>
                  <a:lnTo>
                    <a:pt x="241" y="166"/>
                  </a:lnTo>
                  <a:lnTo>
                    <a:pt x="241" y="167"/>
                  </a:lnTo>
                  <a:lnTo>
                    <a:pt x="241" y="167"/>
                  </a:lnTo>
                  <a:lnTo>
                    <a:pt x="237" y="169"/>
                  </a:lnTo>
                  <a:lnTo>
                    <a:pt x="237" y="169"/>
                  </a:lnTo>
                  <a:lnTo>
                    <a:pt x="241" y="164"/>
                  </a:lnTo>
                  <a:lnTo>
                    <a:pt x="245" y="162"/>
                  </a:lnTo>
                  <a:close/>
                  <a:moveTo>
                    <a:pt x="227" y="176"/>
                  </a:moveTo>
                  <a:lnTo>
                    <a:pt x="227" y="176"/>
                  </a:lnTo>
                  <a:lnTo>
                    <a:pt x="231" y="172"/>
                  </a:lnTo>
                  <a:lnTo>
                    <a:pt x="234" y="170"/>
                  </a:lnTo>
                  <a:lnTo>
                    <a:pt x="237" y="169"/>
                  </a:lnTo>
                  <a:lnTo>
                    <a:pt x="237" y="169"/>
                  </a:lnTo>
                  <a:lnTo>
                    <a:pt x="235" y="172"/>
                  </a:lnTo>
                  <a:lnTo>
                    <a:pt x="231" y="174"/>
                  </a:lnTo>
                  <a:lnTo>
                    <a:pt x="231" y="174"/>
                  </a:lnTo>
                  <a:lnTo>
                    <a:pt x="228" y="176"/>
                  </a:lnTo>
                  <a:lnTo>
                    <a:pt x="227" y="176"/>
                  </a:lnTo>
                  <a:close/>
                  <a:moveTo>
                    <a:pt x="164" y="206"/>
                  </a:moveTo>
                  <a:lnTo>
                    <a:pt x="164" y="206"/>
                  </a:lnTo>
                  <a:lnTo>
                    <a:pt x="164" y="209"/>
                  </a:lnTo>
                  <a:lnTo>
                    <a:pt x="161" y="210"/>
                  </a:lnTo>
                  <a:lnTo>
                    <a:pt x="158" y="213"/>
                  </a:lnTo>
                  <a:lnTo>
                    <a:pt x="158" y="213"/>
                  </a:lnTo>
                  <a:lnTo>
                    <a:pt x="161" y="209"/>
                  </a:lnTo>
                  <a:lnTo>
                    <a:pt x="164" y="206"/>
                  </a:lnTo>
                  <a:close/>
                  <a:moveTo>
                    <a:pt x="231" y="169"/>
                  </a:moveTo>
                  <a:lnTo>
                    <a:pt x="231" y="169"/>
                  </a:lnTo>
                  <a:lnTo>
                    <a:pt x="227" y="172"/>
                  </a:lnTo>
                  <a:lnTo>
                    <a:pt x="227" y="172"/>
                  </a:lnTo>
                  <a:lnTo>
                    <a:pt x="224" y="174"/>
                  </a:lnTo>
                  <a:lnTo>
                    <a:pt x="224" y="174"/>
                  </a:lnTo>
                  <a:lnTo>
                    <a:pt x="224" y="173"/>
                  </a:lnTo>
                  <a:lnTo>
                    <a:pt x="225" y="172"/>
                  </a:lnTo>
                  <a:lnTo>
                    <a:pt x="231" y="169"/>
                  </a:lnTo>
                  <a:close/>
                  <a:moveTo>
                    <a:pt x="239" y="157"/>
                  </a:moveTo>
                  <a:lnTo>
                    <a:pt x="239" y="157"/>
                  </a:lnTo>
                  <a:lnTo>
                    <a:pt x="235" y="163"/>
                  </a:lnTo>
                  <a:lnTo>
                    <a:pt x="234" y="166"/>
                  </a:lnTo>
                  <a:lnTo>
                    <a:pt x="234" y="166"/>
                  </a:lnTo>
                  <a:lnTo>
                    <a:pt x="231" y="167"/>
                  </a:lnTo>
                  <a:lnTo>
                    <a:pt x="229" y="167"/>
                  </a:lnTo>
                  <a:lnTo>
                    <a:pt x="229" y="167"/>
                  </a:lnTo>
                  <a:lnTo>
                    <a:pt x="232" y="163"/>
                  </a:lnTo>
                  <a:lnTo>
                    <a:pt x="237" y="160"/>
                  </a:lnTo>
                  <a:lnTo>
                    <a:pt x="237" y="160"/>
                  </a:lnTo>
                  <a:lnTo>
                    <a:pt x="234" y="162"/>
                  </a:lnTo>
                  <a:lnTo>
                    <a:pt x="234" y="162"/>
                  </a:lnTo>
                  <a:lnTo>
                    <a:pt x="232" y="162"/>
                  </a:lnTo>
                  <a:lnTo>
                    <a:pt x="232" y="162"/>
                  </a:lnTo>
                  <a:lnTo>
                    <a:pt x="239" y="157"/>
                  </a:lnTo>
                  <a:lnTo>
                    <a:pt x="245" y="154"/>
                  </a:lnTo>
                  <a:lnTo>
                    <a:pt x="245" y="154"/>
                  </a:lnTo>
                  <a:lnTo>
                    <a:pt x="245" y="156"/>
                  </a:lnTo>
                  <a:lnTo>
                    <a:pt x="244" y="157"/>
                  </a:lnTo>
                  <a:lnTo>
                    <a:pt x="244" y="157"/>
                  </a:lnTo>
                  <a:lnTo>
                    <a:pt x="241" y="159"/>
                  </a:lnTo>
                  <a:lnTo>
                    <a:pt x="241" y="157"/>
                  </a:lnTo>
                  <a:lnTo>
                    <a:pt x="239" y="157"/>
                  </a:lnTo>
                  <a:close/>
                  <a:moveTo>
                    <a:pt x="255" y="150"/>
                  </a:moveTo>
                  <a:lnTo>
                    <a:pt x="255" y="150"/>
                  </a:lnTo>
                  <a:lnTo>
                    <a:pt x="247" y="157"/>
                  </a:lnTo>
                  <a:lnTo>
                    <a:pt x="247" y="157"/>
                  </a:lnTo>
                  <a:lnTo>
                    <a:pt x="238" y="164"/>
                  </a:lnTo>
                  <a:lnTo>
                    <a:pt x="238" y="164"/>
                  </a:lnTo>
                  <a:lnTo>
                    <a:pt x="239" y="162"/>
                  </a:lnTo>
                  <a:lnTo>
                    <a:pt x="244" y="157"/>
                  </a:lnTo>
                  <a:lnTo>
                    <a:pt x="244" y="157"/>
                  </a:lnTo>
                  <a:lnTo>
                    <a:pt x="255" y="150"/>
                  </a:lnTo>
                  <a:close/>
                  <a:moveTo>
                    <a:pt x="155" y="202"/>
                  </a:moveTo>
                  <a:lnTo>
                    <a:pt x="155" y="202"/>
                  </a:lnTo>
                  <a:lnTo>
                    <a:pt x="150" y="207"/>
                  </a:lnTo>
                  <a:lnTo>
                    <a:pt x="144" y="214"/>
                  </a:lnTo>
                  <a:lnTo>
                    <a:pt x="144" y="214"/>
                  </a:lnTo>
                  <a:lnTo>
                    <a:pt x="150" y="207"/>
                  </a:lnTo>
                  <a:lnTo>
                    <a:pt x="155" y="202"/>
                  </a:lnTo>
                  <a:close/>
                  <a:moveTo>
                    <a:pt x="187" y="184"/>
                  </a:moveTo>
                  <a:lnTo>
                    <a:pt x="187" y="184"/>
                  </a:lnTo>
                  <a:lnTo>
                    <a:pt x="187" y="186"/>
                  </a:lnTo>
                  <a:lnTo>
                    <a:pt x="184" y="189"/>
                  </a:lnTo>
                  <a:lnTo>
                    <a:pt x="184" y="189"/>
                  </a:lnTo>
                  <a:lnTo>
                    <a:pt x="184" y="187"/>
                  </a:lnTo>
                  <a:lnTo>
                    <a:pt x="187" y="184"/>
                  </a:lnTo>
                  <a:close/>
                  <a:moveTo>
                    <a:pt x="177" y="183"/>
                  </a:moveTo>
                  <a:lnTo>
                    <a:pt x="177" y="183"/>
                  </a:lnTo>
                  <a:lnTo>
                    <a:pt x="178" y="183"/>
                  </a:lnTo>
                  <a:lnTo>
                    <a:pt x="177" y="184"/>
                  </a:lnTo>
                  <a:lnTo>
                    <a:pt x="177" y="186"/>
                  </a:lnTo>
                  <a:lnTo>
                    <a:pt x="177" y="186"/>
                  </a:lnTo>
                  <a:lnTo>
                    <a:pt x="177" y="186"/>
                  </a:lnTo>
                  <a:lnTo>
                    <a:pt x="177" y="186"/>
                  </a:lnTo>
                  <a:lnTo>
                    <a:pt x="179" y="183"/>
                  </a:lnTo>
                  <a:lnTo>
                    <a:pt x="181" y="180"/>
                  </a:lnTo>
                  <a:lnTo>
                    <a:pt x="184" y="180"/>
                  </a:lnTo>
                  <a:lnTo>
                    <a:pt x="184" y="180"/>
                  </a:lnTo>
                  <a:lnTo>
                    <a:pt x="177" y="187"/>
                  </a:lnTo>
                  <a:lnTo>
                    <a:pt x="171" y="193"/>
                  </a:lnTo>
                  <a:lnTo>
                    <a:pt x="171" y="193"/>
                  </a:lnTo>
                  <a:lnTo>
                    <a:pt x="172" y="189"/>
                  </a:lnTo>
                  <a:lnTo>
                    <a:pt x="175" y="186"/>
                  </a:lnTo>
                  <a:lnTo>
                    <a:pt x="177" y="183"/>
                  </a:lnTo>
                  <a:close/>
                  <a:moveTo>
                    <a:pt x="264" y="149"/>
                  </a:moveTo>
                  <a:lnTo>
                    <a:pt x="264" y="149"/>
                  </a:lnTo>
                  <a:lnTo>
                    <a:pt x="268" y="144"/>
                  </a:lnTo>
                  <a:lnTo>
                    <a:pt x="272" y="143"/>
                  </a:lnTo>
                  <a:lnTo>
                    <a:pt x="275" y="142"/>
                  </a:lnTo>
                  <a:lnTo>
                    <a:pt x="275" y="143"/>
                  </a:lnTo>
                  <a:lnTo>
                    <a:pt x="275" y="144"/>
                  </a:lnTo>
                  <a:lnTo>
                    <a:pt x="275" y="144"/>
                  </a:lnTo>
                  <a:lnTo>
                    <a:pt x="271" y="144"/>
                  </a:lnTo>
                  <a:lnTo>
                    <a:pt x="264" y="149"/>
                  </a:lnTo>
                  <a:close/>
                  <a:moveTo>
                    <a:pt x="262" y="144"/>
                  </a:moveTo>
                  <a:lnTo>
                    <a:pt x="262" y="144"/>
                  </a:lnTo>
                  <a:lnTo>
                    <a:pt x="259" y="149"/>
                  </a:lnTo>
                  <a:lnTo>
                    <a:pt x="259" y="149"/>
                  </a:lnTo>
                  <a:lnTo>
                    <a:pt x="256" y="149"/>
                  </a:lnTo>
                  <a:lnTo>
                    <a:pt x="256" y="149"/>
                  </a:lnTo>
                  <a:lnTo>
                    <a:pt x="256" y="149"/>
                  </a:lnTo>
                  <a:lnTo>
                    <a:pt x="256" y="149"/>
                  </a:lnTo>
                  <a:lnTo>
                    <a:pt x="258" y="147"/>
                  </a:lnTo>
                  <a:lnTo>
                    <a:pt x="259" y="146"/>
                  </a:lnTo>
                  <a:lnTo>
                    <a:pt x="261" y="144"/>
                  </a:lnTo>
                  <a:lnTo>
                    <a:pt x="262" y="144"/>
                  </a:lnTo>
                  <a:close/>
                  <a:moveTo>
                    <a:pt x="219" y="159"/>
                  </a:moveTo>
                  <a:lnTo>
                    <a:pt x="219" y="159"/>
                  </a:lnTo>
                  <a:lnTo>
                    <a:pt x="221" y="157"/>
                  </a:lnTo>
                  <a:lnTo>
                    <a:pt x="221" y="159"/>
                  </a:lnTo>
                  <a:lnTo>
                    <a:pt x="219" y="162"/>
                  </a:lnTo>
                  <a:lnTo>
                    <a:pt x="219" y="162"/>
                  </a:lnTo>
                  <a:lnTo>
                    <a:pt x="215" y="163"/>
                  </a:lnTo>
                  <a:lnTo>
                    <a:pt x="215" y="163"/>
                  </a:lnTo>
                  <a:lnTo>
                    <a:pt x="219" y="159"/>
                  </a:lnTo>
                  <a:close/>
                  <a:moveTo>
                    <a:pt x="201" y="164"/>
                  </a:moveTo>
                  <a:lnTo>
                    <a:pt x="201" y="164"/>
                  </a:lnTo>
                  <a:lnTo>
                    <a:pt x="202" y="164"/>
                  </a:lnTo>
                  <a:lnTo>
                    <a:pt x="202" y="166"/>
                  </a:lnTo>
                  <a:lnTo>
                    <a:pt x="201" y="169"/>
                  </a:lnTo>
                  <a:lnTo>
                    <a:pt x="201" y="169"/>
                  </a:lnTo>
                  <a:lnTo>
                    <a:pt x="198" y="170"/>
                  </a:lnTo>
                  <a:lnTo>
                    <a:pt x="198" y="169"/>
                  </a:lnTo>
                  <a:lnTo>
                    <a:pt x="198" y="167"/>
                  </a:lnTo>
                  <a:lnTo>
                    <a:pt x="201" y="164"/>
                  </a:lnTo>
                  <a:close/>
                  <a:moveTo>
                    <a:pt x="256" y="144"/>
                  </a:moveTo>
                  <a:lnTo>
                    <a:pt x="256" y="144"/>
                  </a:lnTo>
                  <a:lnTo>
                    <a:pt x="258" y="142"/>
                  </a:lnTo>
                  <a:lnTo>
                    <a:pt x="261" y="140"/>
                  </a:lnTo>
                  <a:lnTo>
                    <a:pt x="265" y="140"/>
                  </a:lnTo>
                  <a:lnTo>
                    <a:pt x="265" y="140"/>
                  </a:lnTo>
                  <a:lnTo>
                    <a:pt x="262" y="142"/>
                  </a:lnTo>
                  <a:lnTo>
                    <a:pt x="261" y="143"/>
                  </a:lnTo>
                  <a:lnTo>
                    <a:pt x="256" y="144"/>
                  </a:lnTo>
                  <a:close/>
                  <a:moveTo>
                    <a:pt x="215" y="152"/>
                  </a:moveTo>
                  <a:lnTo>
                    <a:pt x="215" y="152"/>
                  </a:lnTo>
                  <a:lnTo>
                    <a:pt x="221" y="149"/>
                  </a:lnTo>
                  <a:lnTo>
                    <a:pt x="221" y="149"/>
                  </a:lnTo>
                  <a:lnTo>
                    <a:pt x="215" y="153"/>
                  </a:lnTo>
                  <a:lnTo>
                    <a:pt x="212" y="157"/>
                  </a:lnTo>
                  <a:lnTo>
                    <a:pt x="212" y="157"/>
                  </a:lnTo>
                  <a:lnTo>
                    <a:pt x="211" y="157"/>
                  </a:lnTo>
                  <a:lnTo>
                    <a:pt x="209" y="159"/>
                  </a:lnTo>
                  <a:lnTo>
                    <a:pt x="204" y="163"/>
                  </a:lnTo>
                  <a:lnTo>
                    <a:pt x="204" y="163"/>
                  </a:lnTo>
                  <a:lnTo>
                    <a:pt x="209" y="157"/>
                  </a:lnTo>
                  <a:lnTo>
                    <a:pt x="209" y="157"/>
                  </a:lnTo>
                  <a:lnTo>
                    <a:pt x="212" y="154"/>
                  </a:lnTo>
                  <a:lnTo>
                    <a:pt x="212" y="154"/>
                  </a:lnTo>
                  <a:lnTo>
                    <a:pt x="215" y="152"/>
                  </a:lnTo>
                  <a:close/>
                  <a:moveTo>
                    <a:pt x="242" y="135"/>
                  </a:moveTo>
                  <a:lnTo>
                    <a:pt x="242" y="135"/>
                  </a:lnTo>
                  <a:lnTo>
                    <a:pt x="237" y="137"/>
                  </a:lnTo>
                  <a:lnTo>
                    <a:pt x="231" y="142"/>
                  </a:lnTo>
                  <a:lnTo>
                    <a:pt x="231" y="142"/>
                  </a:lnTo>
                  <a:lnTo>
                    <a:pt x="227" y="146"/>
                  </a:lnTo>
                  <a:lnTo>
                    <a:pt x="222" y="147"/>
                  </a:lnTo>
                  <a:lnTo>
                    <a:pt x="222" y="147"/>
                  </a:lnTo>
                  <a:lnTo>
                    <a:pt x="234" y="137"/>
                  </a:lnTo>
                  <a:lnTo>
                    <a:pt x="234" y="137"/>
                  </a:lnTo>
                  <a:lnTo>
                    <a:pt x="239" y="135"/>
                  </a:lnTo>
                  <a:lnTo>
                    <a:pt x="241" y="133"/>
                  </a:lnTo>
                  <a:lnTo>
                    <a:pt x="242" y="135"/>
                  </a:lnTo>
                  <a:close/>
                  <a:moveTo>
                    <a:pt x="237" y="139"/>
                  </a:moveTo>
                  <a:lnTo>
                    <a:pt x="237" y="139"/>
                  </a:lnTo>
                  <a:lnTo>
                    <a:pt x="237" y="139"/>
                  </a:lnTo>
                  <a:lnTo>
                    <a:pt x="237" y="140"/>
                  </a:lnTo>
                  <a:lnTo>
                    <a:pt x="237" y="140"/>
                  </a:lnTo>
                  <a:lnTo>
                    <a:pt x="237" y="142"/>
                  </a:lnTo>
                  <a:lnTo>
                    <a:pt x="237" y="142"/>
                  </a:lnTo>
                  <a:lnTo>
                    <a:pt x="231" y="144"/>
                  </a:lnTo>
                  <a:lnTo>
                    <a:pt x="231" y="144"/>
                  </a:lnTo>
                  <a:lnTo>
                    <a:pt x="234" y="142"/>
                  </a:lnTo>
                  <a:lnTo>
                    <a:pt x="237" y="139"/>
                  </a:lnTo>
                  <a:close/>
                  <a:moveTo>
                    <a:pt x="269" y="113"/>
                  </a:moveTo>
                  <a:lnTo>
                    <a:pt x="269" y="113"/>
                  </a:lnTo>
                  <a:lnTo>
                    <a:pt x="274" y="112"/>
                  </a:lnTo>
                  <a:lnTo>
                    <a:pt x="276" y="110"/>
                  </a:lnTo>
                  <a:lnTo>
                    <a:pt x="276" y="110"/>
                  </a:lnTo>
                  <a:lnTo>
                    <a:pt x="274" y="113"/>
                  </a:lnTo>
                  <a:lnTo>
                    <a:pt x="269" y="116"/>
                  </a:lnTo>
                  <a:lnTo>
                    <a:pt x="269" y="116"/>
                  </a:lnTo>
                  <a:lnTo>
                    <a:pt x="269" y="115"/>
                  </a:lnTo>
                  <a:lnTo>
                    <a:pt x="269" y="113"/>
                  </a:lnTo>
                  <a:close/>
                  <a:moveTo>
                    <a:pt x="366" y="83"/>
                  </a:moveTo>
                  <a:lnTo>
                    <a:pt x="366" y="83"/>
                  </a:lnTo>
                  <a:lnTo>
                    <a:pt x="359" y="87"/>
                  </a:lnTo>
                  <a:lnTo>
                    <a:pt x="356" y="89"/>
                  </a:lnTo>
                  <a:lnTo>
                    <a:pt x="355" y="89"/>
                  </a:lnTo>
                  <a:lnTo>
                    <a:pt x="355" y="87"/>
                  </a:lnTo>
                  <a:lnTo>
                    <a:pt x="355" y="87"/>
                  </a:lnTo>
                  <a:lnTo>
                    <a:pt x="358" y="87"/>
                  </a:lnTo>
                  <a:lnTo>
                    <a:pt x="362" y="85"/>
                  </a:lnTo>
                  <a:lnTo>
                    <a:pt x="365" y="83"/>
                  </a:lnTo>
                  <a:lnTo>
                    <a:pt x="366" y="83"/>
                  </a:lnTo>
                  <a:close/>
                  <a:moveTo>
                    <a:pt x="478" y="80"/>
                  </a:moveTo>
                  <a:lnTo>
                    <a:pt x="478" y="80"/>
                  </a:lnTo>
                  <a:lnTo>
                    <a:pt x="480" y="80"/>
                  </a:lnTo>
                  <a:lnTo>
                    <a:pt x="479" y="82"/>
                  </a:lnTo>
                  <a:lnTo>
                    <a:pt x="475" y="83"/>
                  </a:lnTo>
                  <a:lnTo>
                    <a:pt x="475" y="83"/>
                  </a:lnTo>
                  <a:lnTo>
                    <a:pt x="476" y="82"/>
                  </a:lnTo>
                  <a:lnTo>
                    <a:pt x="478" y="80"/>
                  </a:lnTo>
                  <a:close/>
                  <a:moveTo>
                    <a:pt x="363" y="83"/>
                  </a:moveTo>
                  <a:lnTo>
                    <a:pt x="363" y="83"/>
                  </a:lnTo>
                  <a:lnTo>
                    <a:pt x="359" y="86"/>
                  </a:lnTo>
                  <a:lnTo>
                    <a:pt x="356" y="86"/>
                  </a:lnTo>
                  <a:lnTo>
                    <a:pt x="356" y="86"/>
                  </a:lnTo>
                  <a:lnTo>
                    <a:pt x="358" y="83"/>
                  </a:lnTo>
                  <a:lnTo>
                    <a:pt x="359" y="83"/>
                  </a:lnTo>
                  <a:lnTo>
                    <a:pt x="361" y="82"/>
                  </a:lnTo>
                  <a:lnTo>
                    <a:pt x="361" y="82"/>
                  </a:lnTo>
                  <a:lnTo>
                    <a:pt x="361" y="83"/>
                  </a:lnTo>
                  <a:lnTo>
                    <a:pt x="362" y="83"/>
                  </a:lnTo>
                  <a:lnTo>
                    <a:pt x="363" y="83"/>
                  </a:lnTo>
                  <a:close/>
                  <a:moveTo>
                    <a:pt x="365" y="79"/>
                  </a:moveTo>
                  <a:lnTo>
                    <a:pt x="365" y="79"/>
                  </a:lnTo>
                  <a:lnTo>
                    <a:pt x="368" y="79"/>
                  </a:lnTo>
                  <a:lnTo>
                    <a:pt x="368" y="80"/>
                  </a:lnTo>
                  <a:lnTo>
                    <a:pt x="366" y="82"/>
                  </a:lnTo>
                  <a:lnTo>
                    <a:pt x="363" y="83"/>
                  </a:lnTo>
                  <a:lnTo>
                    <a:pt x="363" y="83"/>
                  </a:lnTo>
                  <a:lnTo>
                    <a:pt x="362" y="82"/>
                  </a:lnTo>
                  <a:lnTo>
                    <a:pt x="365" y="79"/>
                  </a:lnTo>
                  <a:close/>
                  <a:moveTo>
                    <a:pt x="319" y="86"/>
                  </a:moveTo>
                  <a:lnTo>
                    <a:pt x="319" y="86"/>
                  </a:lnTo>
                  <a:lnTo>
                    <a:pt x="321" y="85"/>
                  </a:lnTo>
                  <a:lnTo>
                    <a:pt x="324" y="83"/>
                  </a:lnTo>
                  <a:lnTo>
                    <a:pt x="326" y="82"/>
                  </a:lnTo>
                  <a:lnTo>
                    <a:pt x="328" y="82"/>
                  </a:lnTo>
                  <a:lnTo>
                    <a:pt x="328" y="82"/>
                  </a:lnTo>
                  <a:lnTo>
                    <a:pt x="321" y="86"/>
                  </a:lnTo>
                  <a:lnTo>
                    <a:pt x="321" y="86"/>
                  </a:lnTo>
                  <a:lnTo>
                    <a:pt x="314" y="90"/>
                  </a:lnTo>
                  <a:lnTo>
                    <a:pt x="314" y="90"/>
                  </a:lnTo>
                  <a:lnTo>
                    <a:pt x="319" y="86"/>
                  </a:lnTo>
                  <a:close/>
                  <a:moveTo>
                    <a:pt x="365" y="77"/>
                  </a:moveTo>
                  <a:lnTo>
                    <a:pt x="361" y="80"/>
                  </a:lnTo>
                  <a:lnTo>
                    <a:pt x="358" y="80"/>
                  </a:lnTo>
                  <a:lnTo>
                    <a:pt x="358" y="80"/>
                  </a:lnTo>
                  <a:lnTo>
                    <a:pt x="361" y="77"/>
                  </a:lnTo>
                  <a:lnTo>
                    <a:pt x="365" y="77"/>
                  </a:lnTo>
                  <a:close/>
                  <a:moveTo>
                    <a:pt x="385" y="75"/>
                  </a:moveTo>
                  <a:lnTo>
                    <a:pt x="385" y="75"/>
                  </a:lnTo>
                  <a:lnTo>
                    <a:pt x="388" y="73"/>
                  </a:lnTo>
                  <a:lnTo>
                    <a:pt x="391" y="73"/>
                  </a:lnTo>
                  <a:lnTo>
                    <a:pt x="392" y="73"/>
                  </a:lnTo>
                  <a:lnTo>
                    <a:pt x="396" y="72"/>
                  </a:lnTo>
                  <a:lnTo>
                    <a:pt x="396" y="72"/>
                  </a:lnTo>
                  <a:lnTo>
                    <a:pt x="389" y="75"/>
                  </a:lnTo>
                  <a:lnTo>
                    <a:pt x="386" y="75"/>
                  </a:lnTo>
                  <a:lnTo>
                    <a:pt x="385" y="75"/>
                  </a:lnTo>
                  <a:close/>
                  <a:moveTo>
                    <a:pt x="399" y="72"/>
                  </a:moveTo>
                  <a:lnTo>
                    <a:pt x="403" y="70"/>
                  </a:lnTo>
                  <a:lnTo>
                    <a:pt x="403" y="70"/>
                  </a:lnTo>
                  <a:lnTo>
                    <a:pt x="398" y="75"/>
                  </a:lnTo>
                  <a:lnTo>
                    <a:pt x="396" y="75"/>
                  </a:lnTo>
                  <a:lnTo>
                    <a:pt x="395" y="75"/>
                  </a:lnTo>
                  <a:lnTo>
                    <a:pt x="395" y="75"/>
                  </a:lnTo>
                  <a:lnTo>
                    <a:pt x="398" y="73"/>
                  </a:lnTo>
                  <a:lnTo>
                    <a:pt x="399" y="72"/>
                  </a:lnTo>
                  <a:close/>
                  <a:moveTo>
                    <a:pt x="510" y="72"/>
                  </a:moveTo>
                  <a:lnTo>
                    <a:pt x="510" y="72"/>
                  </a:lnTo>
                  <a:lnTo>
                    <a:pt x="503" y="73"/>
                  </a:lnTo>
                  <a:lnTo>
                    <a:pt x="503" y="73"/>
                  </a:lnTo>
                  <a:lnTo>
                    <a:pt x="526" y="69"/>
                  </a:lnTo>
                  <a:lnTo>
                    <a:pt x="526" y="69"/>
                  </a:lnTo>
                  <a:lnTo>
                    <a:pt x="547" y="66"/>
                  </a:lnTo>
                  <a:lnTo>
                    <a:pt x="547" y="66"/>
                  </a:lnTo>
                  <a:lnTo>
                    <a:pt x="545" y="67"/>
                  </a:lnTo>
                  <a:lnTo>
                    <a:pt x="542" y="67"/>
                  </a:lnTo>
                  <a:lnTo>
                    <a:pt x="539" y="67"/>
                  </a:lnTo>
                  <a:lnTo>
                    <a:pt x="535" y="69"/>
                  </a:lnTo>
                  <a:lnTo>
                    <a:pt x="535" y="69"/>
                  </a:lnTo>
                  <a:lnTo>
                    <a:pt x="539" y="69"/>
                  </a:lnTo>
                  <a:lnTo>
                    <a:pt x="539" y="69"/>
                  </a:lnTo>
                  <a:lnTo>
                    <a:pt x="539" y="70"/>
                  </a:lnTo>
                  <a:lnTo>
                    <a:pt x="539" y="70"/>
                  </a:lnTo>
                  <a:lnTo>
                    <a:pt x="535" y="70"/>
                  </a:lnTo>
                  <a:lnTo>
                    <a:pt x="530" y="69"/>
                  </a:lnTo>
                  <a:lnTo>
                    <a:pt x="530" y="69"/>
                  </a:lnTo>
                  <a:lnTo>
                    <a:pt x="525" y="70"/>
                  </a:lnTo>
                  <a:lnTo>
                    <a:pt x="525" y="70"/>
                  </a:lnTo>
                  <a:lnTo>
                    <a:pt x="520" y="70"/>
                  </a:lnTo>
                  <a:lnTo>
                    <a:pt x="518" y="72"/>
                  </a:lnTo>
                  <a:lnTo>
                    <a:pt x="518" y="72"/>
                  </a:lnTo>
                  <a:lnTo>
                    <a:pt x="522" y="72"/>
                  </a:lnTo>
                  <a:lnTo>
                    <a:pt x="526" y="72"/>
                  </a:lnTo>
                  <a:lnTo>
                    <a:pt x="526" y="72"/>
                  </a:lnTo>
                  <a:lnTo>
                    <a:pt x="523" y="73"/>
                  </a:lnTo>
                  <a:lnTo>
                    <a:pt x="519" y="75"/>
                  </a:lnTo>
                  <a:lnTo>
                    <a:pt x="519" y="75"/>
                  </a:lnTo>
                  <a:lnTo>
                    <a:pt x="518" y="73"/>
                  </a:lnTo>
                  <a:lnTo>
                    <a:pt x="518" y="73"/>
                  </a:lnTo>
                  <a:lnTo>
                    <a:pt x="518" y="73"/>
                  </a:lnTo>
                  <a:lnTo>
                    <a:pt x="515" y="73"/>
                  </a:lnTo>
                  <a:lnTo>
                    <a:pt x="515" y="73"/>
                  </a:lnTo>
                  <a:lnTo>
                    <a:pt x="515" y="73"/>
                  </a:lnTo>
                  <a:lnTo>
                    <a:pt x="515" y="75"/>
                  </a:lnTo>
                  <a:lnTo>
                    <a:pt x="516" y="75"/>
                  </a:lnTo>
                  <a:lnTo>
                    <a:pt x="515" y="76"/>
                  </a:lnTo>
                  <a:lnTo>
                    <a:pt x="515" y="76"/>
                  </a:lnTo>
                  <a:lnTo>
                    <a:pt x="508" y="76"/>
                  </a:lnTo>
                  <a:lnTo>
                    <a:pt x="508" y="76"/>
                  </a:lnTo>
                  <a:lnTo>
                    <a:pt x="510" y="75"/>
                  </a:lnTo>
                  <a:lnTo>
                    <a:pt x="512" y="73"/>
                  </a:lnTo>
                  <a:lnTo>
                    <a:pt x="510" y="72"/>
                  </a:lnTo>
                  <a:close/>
                  <a:moveTo>
                    <a:pt x="383" y="70"/>
                  </a:moveTo>
                  <a:lnTo>
                    <a:pt x="383" y="70"/>
                  </a:lnTo>
                  <a:lnTo>
                    <a:pt x="388" y="70"/>
                  </a:lnTo>
                  <a:lnTo>
                    <a:pt x="392" y="69"/>
                  </a:lnTo>
                  <a:lnTo>
                    <a:pt x="399" y="66"/>
                  </a:lnTo>
                  <a:lnTo>
                    <a:pt x="399" y="66"/>
                  </a:lnTo>
                  <a:lnTo>
                    <a:pt x="398" y="67"/>
                  </a:lnTo>
                  <a:lnTo>
                    <a:pt x="398" y="69"/>
                  </a:lnTo>
                  <a:lnTo>
                    <a:pt x="398" y="69"/>
                  </a:lnTo>
                  <a:lnTo>
                    <a:pt x="395" y="70"/>
                  </a:lnTo>
                  <a:lnTo>
                    <a:pt x="395" y="70"/>
                  </a:lnTo>
                  <a:lnTo>
                    <a:pt x="392" y="72"/>
                  </a:lnTo>
                  <a:lnTo>
                    <a:pt x="392" y="70"/>
                  </a:lnTo>
                  <a:lnTo>
                    <a:pt x="392" y="70"/>
                  </a:lnTo>
                  <a:lnTo>
                    <a:pt x="392" y="69"/>
                  </a:lnTo>
                  <a:lnTo>
                    <a:pt x="392" y="69"/>
                  </a:lnTo>
                  <a:lnTo>
                    <a:pt x="388" y="72"/>
                  </a:lnTo>
                  <a:lnTo>
                    <a:pt x="382" y="73"/>
                  </a:lnTo>
                  <a:lnTo>
                    <a:pt x="382" y="73"/>
                  </a:lnTo>
                  <a:lnTo>
                    <a:pt x="381" y="75"/>
                  </a:lnTo>
                  <a:lnTo>
                    <a:pt x="381" y="73"/>
                  </a:lnTo>
                  <a:lnTo>
                    <a:pt x="383" y="70"/>
                  </a:lnTo>
                  <a:close/>
                  <a:moveTo>
                    <a:pt x="343" y="75"/>
                  </a:moveTo>
                  <a:lnTo>
                    <a:pt x="343" y="75"/>
                  </a:lnTo>
                  <a:lnTo>
                    <a:pt x="338" y="79"/>
                  </a:lnTo>
                  <a:lnTo>
                    <a:pt x="334" y="80"/>
                  </a:lnTo>
                  <a:lnTo>
                    <a:pt x="334" y="80"/>
                  </a:lnTo>
                  <a:lnTo>
                    <a:pt x="338" y="77"/>
                  </a:lnTo>
                  <a:lnTo>
                    <a:pt x="343" y="75"/>
                  </a:lnTo>
                  <a:close/>
                  <a:moveTo>
                    <a:pt x="428" y="67"/>
                  </a:moveTo>
                  <a:lnTo>
                    <a:pt x="428" y="67"/>
                  </a:lnTo>
                  <a:lnTo>
                    <a:pt x="423" y="70"/>
                  </a:lnTo>
                  <a:lnTo>
                    <a:pt x="423" y="70"/>
                  </a:lnTo>
                  <a:lnTo>
                    <a:pt x="421" y="70"/>
                  </a:lnTo>
                  <a:lnTo>
                    <a:pt x="421" y="70"/>
                  </a:lnTo>
                  <a:lnTo>
                    <a:pt x="423" y="69"/>
                  </a:lnTo>
                  <a:lnTo>
                    <a:pt x="428" y="67"/>
                  </a:lnTo>
                  <a:close/>
                  <a:moveTo>
                    <a:pt x="459" y="50"/>
                  </a:moveTo>
                  <a:lnTo>
                    <a:pt x="459" y="50"/>
                  </a:lnTo>
                  <a:lnTo>
                    <a:pt x="465" y="49"/>
                  </a:lnTo>
                  <a:lnTo>
                    <a:pt x="465" y="49"/>
                  </a:lnTo>
                  <a:lnTo>
                    <a:pt x="459" y="50"/>
                  </a:lnTo>
                  <a:lnTo>
                    <a:pt x="455" y="52"/>
                  </a:lnTo>
                  <a:lnTo>
                    <a:pt x="448" y="50"/>
                  </a:lnTo>
                  <a:lnTo>
                    <a:pt x="448" y="50"/>
                  </a:lnTo>
                  <a:lnTo>
                    <a:pt x="442" y="53"/>
                  </a:lnTo>
                  <a:lnTo>
                    <a:pt x="442" y="53"/>
                  </a:lnTo>
                  <a:lnTo>
                    <a:pt x="436" y="55"/>
                  </a:lnTo>
                  <a:lnTo>
                    <a:pt x="436" y="55"/>
                  </a:lnTo>
                  <a:lnTo>
                    <a:pt x="429" y="56"/>
                  </a:lnTo>
                  <a:lnTo>
                    <a:pt x="429" y="56"/>
                  </a:lnTo>
                  <a:lnTo>
                    <a:pt x="418" y="60"/>
                  </a:lnTo>
                  <a:lnTo>
                    <a:pt x="418" y="60"/>
                  </a:lnTo>
                  <a:lnTo>
                    <a:pt x="415" y="63"/>
                  </a:lnTo>
                  <a:lnTo>
                    <a:pt x="412" y="66"/>
                  </a:lnTo>
                  <a:lnTo>
                    <a:pt x="412" y="66"/>
                  </a:lnTo>
                  <a:lnTo>
                    <a:pt x="411" y="66"/>
                  </a:lnTo>
                  <a:lnTo>
                    <a:pt x="409" y="66"/>
                  </a:lnTo>
                  <a:lnTo>
                    <a:pt x="406" y="67"/>
                  </a:lnTo>
                  <a:lnTo>
                    <a:pt x="403" y="69"/>
                  </a:lnTo>
                  <a:lnTo>
                    <a:pt x="403" y="69"/>
                  </a:lnTo>
                  <a:lnTo>
                    <a:pt x="412" y="63"/>
                  </a:lnTo>
                  <a:lnTo>
                    <a:pt x="418" y="59"/>
                  </a:lnTo>
                  <a:lnTo>
                    <a:pt x="418" y="59"/>
                  </a:lnTo>
                  <a:lnTo>
                    <a:pt x="425" y="57"/>
                  </a:lnTo>
                  <a:lnTo>
                    <a:pt x="432" y="55"/>
                  </a:lnTo>
                  <a:lnTo>
                    <a:pt x="446" y="49"/>
                  </a:lnTo>
                  <a:lnTo>
                    <a:pt x="446" y="49"/>
                  </a:lnTo>
                  <a:lnTo>
                    <a:pt x="443" y="50"/>
                  </a:lnTo>
                  <a:lnTo>
                    <a:pt x="442" y="52"/>
                  </a:lnTo>
                  <a:lnTo>
                    <a:pt x="442" y="52"/>
                  </a:lnTo>
                  <a:lnTo>
                    <a:pt x="442" y="52"/>
                  </a:lnTo>
                  <a:lnTo>
                    <a:pt x="453" y="47"/>
                  </a:lnTo>
                  <a:lnTo>
                    <a:pt x="453" y="47"/>
                  </a:lnTo>
                  <a:lnTo>
                    <a:pt x="450" y="47"/>
                  </a:lnTo>
                  <a:lnTo>
                    <a:pt x="450" y="47"/>
                  </a:lnTo>
                  <a:lnTo>
                    <a:pt x="450" y="47"/>
                  </a:lnTo>
                  <a:lnTo>
                    <a:pt x="450" y="47"/>
                  </a:lnTo>
                  <a:lnTo>
                    <a:pt x="459" y="45"/>
                  </a:lnTo>
                  <a:lnTo>
                    <a:pt x="463" y="43"/>
                  </a:lnTo>
                  <a:lnTo>
                    <a:pt x="465" y="43"/>
                  </a:lnTo>
                  <a:lnTo>
                    <a:pt x="465" y="43"/>
                  </a:lnTo>
                  <a:lnTo>
                    <a:pt x="460" y="45"/>
                  </a:lnTo>
                  <a:lnTo>
                    <a:pt x="456" y="47"/>
                  </a:lnTo>
                  <a:lnTo>
                    <a:pt x="455" y="49"/>
                  </a:lnTo>
                  <a:lnTo>
                    <a:pt x="456" y="49"/>
                  </a:lnTo>
                  <a:lnTo>
                    <a:pt x="456" y="49"/>
                  </a:lnTo>
                  <a:lnTo>
                    <a:pt x="459" y="47"/>
                  </a:lnTo>
                  <a:lnTo>
                    <a:pt x="463" y="46"/>
                  </a:lnTo>
                  <a:lnTo>
                    <a:pt x="463" y="46"/>
                  </a:lnTo>
                  <a:lnTo>
                    <a:pt x="472" y="46"/>
                  </a:lnTo>
                  <a:lnTo>
                    <a:pt x="472" y="46"/>
                  </a:lnTo>
                  <a:lnTo>
                    <a:pt x="462" y="47"/>
                  </a:lnTo>
                  <a:lnTo>
                    <a:pt x="459" y="49"/>
                  </a:lnTo>
                  <a:lnTo>
                    <a:pt x="458" y="50"/>
                  </a:lnTo>
                  <a:lnTo>
                    <a:pt x="459" y="50"/>
                  </a:lnTo>
                  <a:close/>
                  <a:moveTo>
                    <a:pt x="463" y="46"/>
                  </a:moveTo>
                  <a:lnTo>
                    <a:pt x="463" y="46"/>
                  </a:lnTo>
                  <a:lnTo>
                    <a:pt x="465" y="45"/>
                  </a:lnTo>
                  <a:lnTo>
                    <a:pt x="465" y="45"/>
                  </a:lnTo>
                  <a:lnTo>
                    <a:pt x="470" y="42"/>
                  </a:lnTo>
                  <a:lnTo>
                    <a:pt x="470" y="42"/>
                  </a:lnTo>
                  <a:lnTo>
                    <a:pt x="470" y="43"/>
                  </a:lnTo>
                  <a:lnTo>
                    <a:pt x="472" y="43"/>
                  </a:lnTo>
                  <a:lnTo>
                    <a:pt x="476" y="42"/>
                  </a:lnTo>
                  <a:lnTo>
                    <a:pt x="476" y="42"/>
                  </a:lnTo>
                  <a:lnTo>
                    <a:pt x="470" y="45"/>
                  </a:lnTo>
                  <a:lnTo>
                    <a:pt x="470" y="45"/>
                  </a:lnTo>
                  <a:lnTo>
                    <a:pt x="463" y="46"/>
                  </a:lnTo>
                  <a:close/>
                  <a:moveTo>
                    <a:pt x="343" y="75"/>
                  </a:moveTo>
                  <a:lnTo>
                    <a:pt x="343" y="75"/>
                  </a:lnTo>
                  <a:lnTo>
                    <a:pt x="346" y="73"/>
                  </a:lnTo>
                  <a:lnTo>
                    <a:pt x="346" y="73"/>
                  </a:lnTo>
                  <a:lnTo>
                    <a:pt x="351" y="70"/>
                  </a:lnTo>
                  <a:lnTo>
                    <a:pt x="351" y="70"/>
                  </a:lnTo>
                  <a:lnTo>
                    <a:pt x="359" y="67"/>
                  </a:lnTo>
                  <a:lnTo>
                    <a:pt x="359" y="67"/>
                  </a:lnTo>
                  <a:lnTo>
                    <a:pt x="349" y="73"/>
                  </a:lnTo>
                  <a:lnTo>
                    <a:pt x="349" y="73"/>
                  </a:lnTo>
                  <a:lnTo>
                    <a:pt x="346" y="75"/>
                  </a:lnTo>
                  <a:lnTo>
                    <a:pt x="343" y="75"/>
                  </a:lnTo>
                  <a:close/>
                  <a:moveTo>
                    <a:pt x="389" y="67"/>
                  </a:moveTo>
                  <a:lnTo>
                    <a:pt x="389" y="67"/>
                  </a:lnTo>
                  <a:lnTo>
                    <a:pt x="386" y="67"/>
                  </a:lnTo>
                  <a:lnTo>
                    <a:pt x="382" y="69"/>
                  </a:lnTo>
                  <a:lnTo>
                    <a:pt x="382" y="69"/>
                  </a:lnTo>
                  <a:lnTo>
                    <a:pt x="385" y="67"/>
                  </a:lnTo>
                  <a:lnTo>
                    <a:pt x="386" y="66"/>
                  </a:lnTo>
                  <a:lnTo>
                    <a:pt x="389" y="66"/>
                  </a:lnTo>
                  <a:lnTo>
                    <a:pt x="389" y="67"/>
                  </a:lnTo>
                  <a:close/>
                  <a:moveTo>
                    <a:pt x="409" y="60"/>
                  </a:moveTo>
                  <a:lnTo>
                    <a:pt x="409" y="60"/>
                  </a:lnTo>
                  <a:lnTo>
                    <a:pt x="403" y="63"/>
                  </a:lnTo>
                  <a:lnTo>
                    <a:pt x="401" y="65"/>
                  </a:lnTo>
                  <a:lnTo>
                    <a:pt x="399" y="63"/>
                  </a:lnTo>
                  <a:lnTo>
                    <a:pt x="399" y="63"/>
                  </a:lnTo>
                  <a:lnTo>
                    <a:pt x="409" y="60"/>
                  </a:lnTo>
                  <a:close/>
                  <a:moveTo>
                    <a:pt x="368" y="63"/>
                  </a:moveTo>
                  <a:lnTo>
                    <a:pt x="368" y="63"/>
                  </a:lnTo>
                  <a:lnTo>
                    <a:pt x="365" y="66"/>
                  </a:lnTo>
                  <a:lnTo>
                    <a:pt x="361" y="67"/>
                  </a:lnTo>
                  <a:lnTo>
                    <a:pt x="361" y="67"/>
                  </a:lnTo>
                  <a:lnTo>
                    <a:pt x="363" y="65"/>
                  </a:lnTo>
                  <a:lnTo>
                    <a:pt x="368" y="63"/>
                  </a:lnTo>
                  <a:close/>
                  <a:moveTo>
                    <a:pt x="559" y="66"/>
                  </a:moveTo>
                  <a:lnTo>
                    <a:pt x="559" y="66"/>
                  </a:lnTo>
                  <a:lnTo>
                    <a:pt x="556" y="67"/>
                  </a:lnTo>
                  <a:lnTo>
                    <a:pt x="556" y="67"/>
                  </a:lnTo>
                  <a:lnTo>
                    <a:pt x="555" y="67"/>
                  </a:lnTo>
                  <a:lnTo>
                    <a:pt x="553" y="69"/>
                  </a:lnTo>
                  <a:lnTo>
                    <a:pt x="553" y="69"/>
                  </a:lnTo>
                  <a:lnTo>
                    <a:pt x="552" y="69"/>
                  </a:lnTo>
                  <a:lnTo>
                    <a:pt x="553" y="67"/>
                  </a:lnTo>
                  <a:lnTo>
                    <a:pt x="556" y="66"/>
                  </a:lnTo>
                  <a:lnTo>
                    <a:pt x="559" y="66"/>
                  </a:lnTo>
                  <a:close/>
                  <a:moveTo>
                    <a:pt x="570" y="65"/>
                  </a:moveTo>
                  <a:lnTo>
                    <a:pt x="570" y="65"/>
                  </a:lnTo>
                  <a:lnTo>
                    <a:pt x="570" y="66"/>
                  </a:lnTo>
                  <a:lnTo>
                    <a:pt x="567" y="66"/>
                  </a:lnTo>
                  <a:lnTo>
                    <a:pt x="562" y="69"/>
                  </a:lnTo>
                  <a:lnTo>
                    <a:pt x="562" y="69"/>
                  </a:lnTo>
                  <a:lnTo>
                    <a:pt x="559" y="67"/>
                  </a:lnTo>
                  <a:lnTo>
                    <a:pt x="559" y="67"/>
                  </a:lnTo>
                  <a:lnTo>
                    <a:pt x="565" y="66"/>
                  </a:lnTo>
                  <a:lnTo>
                    <a:pt x="570" y="65"/>
                  </a:lnTo>
                  <a:close/>
                  <a:moveTo>
                    <a:pt x="439" y="50"/>
                  </a:moveTo>
                  <a:lnTo>
                    <a:pt x="439" y="50"/>
                  </a:lnTo>
                  <a:lnTo>
                    <a:pt x="432" y="53"/>
                  </a:lnTo>
                  <a:lnTo>
                    <a:pt x="429" y="55"/>
                  </a:lnTo>
                  <a:lnTo>
                    <a:pt x="429" y="53"/>
                  </a:lnTo>
                  <a:lnTo>
                    <a:pt x="429" y="53"/>
                  </a:lnTo>
                  <a:lnTo>
                    <a:pt x="433" y="52"/>
                  </a:lnTo>
                  <a:lnTo>
                    <a:pt x="439" y="50"/>
                  </a:lnTo>
                  <a:close/>
                  <a:moveTo>
                    <a:pt x="416" y="47"/>
                  </a:moveTo>
                  <a:lnTo>
                    <a:pt x="416" y="47"/>
                  </a:lnTo>
                  <a:lnTo>
                    <a:pt x="412" y="49"/>
                  </a:lnTo>
                  <a:lnTo>
                    <a:pt x="409" y="50"/>
                  </a:lnTo>
                  <a:lnTo>
                    <a:pt x="409" y="50"/>
                  </a:lnTo>
                  <a:lnTo>
                    <a:pt x="412" y="47"/>
                  </a:lnTo>
                  <a:lnTo>
                    <a:pt x="416" y="47"/>
                  </a:lnTo>
                  <a:close/>
                  <a:moveTo>
                    <a:pt x="483" y="43"/>
                  </a:moveTo>
                  <a:lnTo>
                    <a:pt x="483" y="43"/>
                  </a:lnTo>
                  <a:lnTo>
                    <a:pt x="492" y="40"/>
                  </a:lnTo>
                  <a:lnTo>
                    <a:pt x="492" y="40"/>
                  </a:lnTo>
                  <a:lnTo>
                    <a:pt x="489" y="43"/>
                  </a:lnTo>
                  <a:lnTo>
                    <a:pt x="483" y="45"/>
                  </a:lnTo>
                  <a:lnTo>
                    <a:pt x="483" y="45"/>
                  </a:lnTo>
                  <a:lnTo>
                    <a:pt x="485" y="43"/>
                  </a:lnTo>
                  <a:lnTo>
                    <a:pt x="483" y="43"/>
                  </a:lnTo>
                  <a:lnTo>
                    <a:pt x="483" y="43"/>
                  </a:lnTo>
                  <a:lnTo>
                    <a:pt x="483" y="43"/>
                  </a:lnTo>
                  <a:close/>
                  <a:moveTo>
                    <a:pt x="508" y="40"/>
                  </a:moveTo>
                  <a:lnTo>
                    <a:pt x="508" y="40"/>
                  </a:lnTo>
                  <a:lnTo>
                    <a:pt x="512" y="40"/>
                  </a:lnTo>
                  <a:lnTo>
                    <a:pt x="512" y="40"/>
                  </a:lnTo>
                  <a:lnTo>
                    <a:pt x="510" y="42"/>
                  </a:lnTo>
                  <a:lnTo>
                    <a:pt x="510" y="42"/>
                  </a:lnTo>
                  <a:lnTo>
                    <a:pt x="510" y="42"/>
                  </a:lnTo>
                  <a:lnTo>
                    <a:pt x="510" y="43"/>
                  </a:lnTo>
                  <a:lnTo>
                    <a:pt x="510" y="43"/>
                  </a:lnTo>
                  <a:lnTo>
                    <a:pt x="508" y="43"/>
                  </a:lnTo>
                  <a:lnTo>
                    <a:pt x="506" y="43"/>
                  </a:lnTo>
                  <a:lnTo>
                    <a:pt x="508" y="45"/>
                  </a:lnTo>
                  <a:lnTo>
                    <a:pt x="506" y="45"/>
                  </a:lnTo>
                  <a:lnTo>
                    <a:pt x="506" y="45"/>
                  </a:lnTo>
                  <a:lnTo>
                    <a:pt x="502" y="46"/>
                  </a:lnTo>
                  <a:lnTo>
                    <a:pt x="498" y="46"/>
                  </a:lnTo>
                  <a:lnTo>
                    <a:pt x="498" y="46"/>
                  </a:lnTo>
                  <a:lnTo>
                    <a:pt x="503" y="43"/>
                  </a:lnTo>
                  <a:lnTo>
                    <a:pt x="508" y="40"/>
                  </a:lnTo>
                  <a:close/>
                  <a:moveTo>
                    <a:pt x="493" y="37"/>
                  </a:moveTo>
                  <a:lnTo>
                    <a:pt x="493" y="37"/>
                  </a:lnTo>
                  <a:lnTo>
                    <a:pt x="496" y="37"/>
                  </a:lnTo>
                  <a:lnTo>
                    <a:pt x="498" y="37"/>
                  </a:lnTo>
                  <a:lnTo>
                    <a:pt x="496" y="39"/>
                  </a:lnTo>
                  <a:lnTo>
                    <a:pt x="496" y="39"/>
                  </a:lnTo>
                  <a:lnTo>
                    <a:pt x="489" y="40"/>
                  </a:lnTo>
                  <a:lnTo>
                    <a:pt x="489" y="40"/>
                  </a:lnTo>
                  <a:lnTo>
                    <a:pt x="485" y="40"/>
                  </a:lnTo>
                  <a:lnTo>
                    <a:pt x="482" y="42"/>
                  </a:lnTo>
                  <a:lnTo>
                    <a:pt x="482" y="42"/>
                  </a:lnTo>
                  <a:lnTo>
                    <a:pt x="488" y="39"/>
                  </a:lnTo>
                  <a:lnTo>
                    <a:pt x="493" y="37"/>
                  </a:lnTo>
                  <a:close/>
                  <a:moveTo>
                    <a:pt x="779" y="150"/>
                  </a:moveTo>
                  <a:lnTo>
                    <a:pt x="779" y="150"/>
                  </a:lnTo>
                  <a:lnTo>
                    <a:pt x="780" y="152"/>
                  </a:lnTo>
                  <a:lnTo>
                    <a:pt x="780" y="152"/>
                  </a:lnTo>
                  <a:lnTo>
                    <a:pt x="776" y="152"/>
                  </a:lnTo>
                  <a:lnTo>
                    <a:pt x="776" y="152"/>
                  </a:lnTo>
                  <a:lnTo>
                    <a:pt x="773" y="150"/>
                  </a:lnTo>
                  <a:lnTo>
                    <a:pt x="773" y="150"/>
                  </a:lnTo>
                  <a:lnTo>
                    <a:pt x="774" y="150"/>
                  </a:lnTo>
                  <a:lnTo>
                    <a:pt x="774" y="150"/>
                  </a:lnTo>
                  <a:lnTo>
                    <a:pt x="779" y="150"/>
                  </a:lnTo>
                  <a:close/>
                  <a:moveTo>
                    <a:pt x="619" y="63"/>
                  </a:moveTo>
                  <a:lnTo>
                    <a:pt x="619" y="63"/>
                  </a:lnTo>
                  <a:lnTo>
                    <a:pt x="624" y="62"/>
                  </a:lnTo>
                  <a:lnTo>
                    <a:pt x="629" y="63"/>
                  </a:lnTo>
                  <a:lnTo>
                    <a:pt x="629" y="63"/>
                  </a:lnTo>
                  <a:lnTo>
                    <a:pt x="624" y="66"/>
                  </a:lnTo>
                  <a:lnTo>
                    <a:pt x="623" y="66"/>
                  </a:lnTo>
                  <a:lnTo>
                    <a:pt x="619" y="66"/>
                  </a:lnTo>
                  <a:lnTo>
                    <a:pt x="619" y="66"/>
                  </a:lnTo>
                  <a:lnTo>
                    <a:pt x="622" y="65"/>
                  </a:lnTo>
                  <a:lnTo>
                    <a:pt x="622" y="63"/>
                  </a:lnTo>
                  <a:lnTo>
                    <a:pt x="619" y="63"/>
                  </a:lnTo>
                  <a:close/>
                  <a:moveTo>
                    <a:pt x="532" y="37"/>
                  </a:moveTo>
                  <a:lnTo>
                    <a:pt x="532" y="37"/>
                  </a:lnTo>
                  <a:lnTo>
                    <a:pt x="527" y="37"/>
                  </a:lnTo>
                  <a:lnTo>
                    <a:pt x="527" y="37"/>
                  </a:lnTo>
                  <a:lnTo>
                    <a:pt x="527" y="36"/>
                  </a:lnTo>
                  <a:lnTo>
                    <a:pt x="527" y="36"/>
                  </a:lnTo>
                  <a:lnTo>
                    <a:pt x="513" y="39"/>
                  </a:lnTo>
                  <a:lnTo>
                    <a:pt x="513" y="39"/>
                  </a:lnTo>
                  <a:lnTo>
                    <a:pt x="508" y="40"/>
                  </a:lnTo>
                  <a:lnTo>
                    <a:pt x="502" y="39"/>
                  </a:lnTo>
                  <a:lnTo>
                    <a:pt x="502" y="39"/>
                  </a:lnTo>
                  <a:lnTo>
                    <a:pt x="516" y="37"/>
                  </a:lnTo>
                  <a:lnTo>
                    <a:pt x="516" y="37"/>
                  </a:lnTo>
                  <a:lnTo>
                    <a:pt x="523" y="36"/>
                  </a:lnTo>
                  <a:lnTo>
                    <a:pt x="523" y="36"/>
                  </a:lnTo>
                  <a:lnTo>
                    <a:pt x="529" y="35"/>
                  </a:lnTo>
                  <a:lnTo>
                    <a:pt x="529" y="35"/>
                  </a:lnTo>
                  <a:lnTo>
                    <a:pt x="529" y="35"/>
                  </a:lnTo>
                  <a:lnTo>
                    <a:pt x="529" y="35"/>
                  </a:lnTo>
                  <a:lnTo>
                    <a:pt x="532" y="36"/>
                  </a:lnTo>
                  <a:lnTo>
                    <a:pt x="532" y="36"/>
                  </a:lnTo>
                  <a:lnTo>
                    <a:pt x="532" y="35"/>
                  </a:lnTo>
                  <a:lnTo>
                    <a:pt x="537" y="35"/>
                  </a:lnTo>
                  <a:lnTo>
                    <a:pt x="537" y="35"/>
                  </a:lnTo>
                  <a:lnTo>
                    <a:pt x="537" y="35"/>
                  </a:lnTo>
                  <a:lnTo>
                    <a:pt x="537" y="36"/>
                  </a:lnTo>
                  <a:lnTo>
                    <a:pt x="537" y="36"/>
                  </a:lnTo>
                  <a:lnTo>
                    <a:pt x="540" y="35"/>
                  </a:lnTo>
                  <a:lnTo>
                    <a:pt x="545" y="33"/>
                  </a:lnTo>
                  <a:lnTo>
                    <a:pt x="545" y="33"/>
                  </a:lnTo>
                  <a:lnTo>
                    <a:pt x="543" y="33"/>
                  </a:lnTo>
                  <a:lnTo>
                    <a:pt x="546" y="33"/>
                  </a:lnTo>
                  <a:lnTo>
                    <a:pt x="552" y="32"/>
                  </a:lnTo>
                  <a:lnTo>
                    <a:pt x="552" y="32"/>
                  </a:lnTo>
                  <a:lnTo>
                    <a:pt x="549" y="33"/>
                  </a:lnTo>
                  <a:lnTo>
                    <a:pt x="543" y="36"/>
                  </a:lnTo>
                  <a:lnTo>
                    <a:pt x="543" y="36"/>
                  </a:lnTo>
                  <a:lnTo>
                    <a:pt x="536" y="36"/>
                  </a:lnTo>
                  <a:lnTo>
                    <a:pt x="532" y="37"/>
                  </a:lnTo>
                  <a:close/>
                  <a:moveTo>
                    <a:pt x="446" y="27"/>
                  </a:moveTo>
                  <a:lnTo>
                    <a:pt x="446" y="27"/>
                  </a:lnTo>
                  <a:lnTo>
                    <a:pt x="450" y="26"/>
                  </a:lnTo>
                  <a:lnTo>
                    <a:pt x="453" y="25"/>
                  </a:lnTo>
                  <a:lnTo>
                    <a:pt x="459" y="22"/>
                  </a:lnTo>
                  <a:lnTo>
                    <a:pt x="459" y="22"/>
                  </a:lnTo>
                  <a:lnTo>
                    <a:pt x="460" y="22"/>
                  </a:lnTo>
                  <a:lnTo>
                    <a:pt x="460" y="23"/>
                  </a:lnTo>
                  <a:lnTo>
                    <a:pt x="460" y="23"/>
                  </a:lnTo>
                  <a:lnTo>
                    <a:pt x="455" y="26"/>
                  </a:lnTo>
                  <a:lnTo>
                    <a:pt x="455" y="26"/>
                  </a:lnTo>
                  <a:lnTo>
                    <a:pt x="452" y="27"/>
                  </a:lnTo>
                  <a:lnTo>
                    <a:pt x="448" y="29"/>
                  </a:lnTo>
                  <a:lnTo>
                    <a:pt x="448" y="29"/>
                  </a:lnTo>
                  <a:lnTo>
                    <a:pt x="445" y="29"/>
                  </a:lnTo>
                  <a:lnTo>
                    <a:pt x="446" y="27"/>
                  </a:lnTo>
                  <a:close/>
                  <a:moveTo>
                    <a:pt x="530" y="32"/>
                  </a:moveTo>
                  <a:lnTo>
                    <a:pt x="530" y="32"/>
                  </a:lnTo>
                  <a:lnTo>
                    <a:pt x="545" y="32"/>
                  </a:lnTo>
                  <a:lnTo>
                    <a:pt x="545" y="32"/>
                  </a:lnTo>
                  <a:lnTo>
                    <a:pt x="535" y="33"/>
                  </a:lnTo>
                  <a:lnTo>
                    <a:pt x="535" y="33"/>
                  </a:lnTo>
                  <a:lnTo>
                    <a:pt x="532" y="33"/>
                  </a:lnTo>
                  <a:lnTo>
                    <a:pt x="529" y="33"/>
                  </a:lnTo>
                  <a:lnTo>
                    <a:pt x="530" y="32"/>
                  </a:lnTo>
                  <a:close/>
                  <a:moveTo>
                    <a:pt x="488" y="23"/>
                  </a:moveTo>
                  <a:lnTo>
                    <a:pt x="488" y="23"/>
                  </a:lnTo>
                  <a:lnTo>
                    <a:pt x="485" y="25"/>
                  </a:lnTo>
                  <a:lnTo>
                    <a:pt x="479" y="26"/>
                  </a:lnTo>
                  <a:lnTo>
                    <a:pt x="479" y="26"/>
                  </a:lnTo>
                  <a:lnTo>
                    <a:pt x="483" y="23"/>
                  </a:lnTo>
                  <a:lnTo>
                    <a:pt x="488" y="23"/>
                  </a:lnTo>
                  <a:close/>
                  <a:moveTo>
                    <a:pt x="480" y="17"/>
                  </a:moveTo>
                  <a:lnTo>
                    <a:pt x="480" y="17"/>
                  </a:lnTo>
                  <a:lnTo>
                    <a:pt x="476" y="19"/>
                  </a:lnTo>
                  <a:lnTo>
                    <a:pt x="472" y="22"/>
                  </a:lnTo>
                  <a:lnTo>
                    <a:pt x="472" y="22"/>
                  </a:lnTo>
                  <a:lnTo>
                    <a:pt x="476" y="20"/>
                  </a:lnTo>
                  <a:lnTo>
                    <a:pt x="476" y="22"/>
                  </a:lnTo>
                  <a:lnTo>
                    <a:pt x="476" y="22"/>
                  </a:lnTo>
                  <a:lnTo>
                    <a:pt x="476" y="22"/>
                  </a:lnTo>
                  <a:lnTo>
                    <a:pt x="468" y="23"/>
                  </a:lnTo>
                  <a:lnTo>
                    <a:pt x="465" y="23"/>
                  </a:lnTo>
                  <a:lnTo>
                    <a:pt x="463" y="23"/>
                  </a:lnTo>
                  <a:lnTo>
                    <a:pt x="463" y="23"/>
                  </a:lnTo>
                  <a:lnTo>
                    <a:pt x="470" y="20"/>
                  </a:lnTo>
                  <a:lnTo>
                    <a:pt x="480" y="17"/>
                  </a:lnTo>
                  <a:close/>
                  <a:moveTo>
                    <a:pt x="557" y="32"/>
                  </a:moveTo>
                  <a:lnTo>
                    <a:pt x="557" y="32"/>
                  </a:lnTo>
                  <a:lnTo>
                    <a:pt x="559" y="33"/>
                  </a:lnTo>
                  <a:lnTo>
                    <a:pt x="562" y="32"/>
                  </a:lnTo>
                  <a:lnTo>
                    <a:pt x="565" y="32"/>
                  </a:lnTo>
                  <a:lnTo>
                    <a:pt x="565" y="33"/>
                  </a:lnTo>
                  <a:lnTo>
                    <a:pt x="565" y="33"/>
                  </a:lnTo>
                  <a:lnTo>
                    <a:pt x="559" y="33"/>
                  </a:lnTo>
                  <a:lnTo>
                    <a:pt x="556" y="33"/>
                  </a:lnTo>
                  <a:lnTo>
                    <a:pt x="557" y="32"/>
                  </a:lnTo>
                  <a:close/>
                  <a:moveTo>
                    <a:pt x="533" y="23"/>
                  </a:moveTo>
                  <a:lnTo>
                    <a:pt x="533" y="23"/>
                  </a:lnTo>
                  <a:lnTo>
                    <a:pt x="520" y="26"/>
                  </a:lnTo>
                  <a:lnTo>
                    <a:pt x="520" y="26"/>
                  </a:lnTo>
                  <a:lnTo>
                    <a:pt x="527" y="23"/>
                  </a:lnTo>
                  <a:lnTo>
                    <a:pt x="532" y="23"/>
                  </a:lnTo>
                  <a:lnTo>
                    <a:pt x="533" y="23"/>
                  </a:lnTo>
                  <a:close/>
                  <a:moveTo>
                    <a:pt x="492" y="17"/>
                  </a:moveTo>
                  <a:lnTo>
                    <a:pt x="492" y="17"/>
                  </a:lnTo>
                  <a:lnTo>
                    <a:pt x="489" y="19"/>
                  </a:lnTo>
                  <a:lnTo>
                    <a:pt x="489" y="19"/>
                  </a:lnTo>
                  <a:lnTo>
                    <a:pt x="483" y="20"/>
                  </a:lnTo>
                  <a:lnTo>
                    <a:pt x="479" y="20"/>
                  </a:lnTo>
                  <a:lnTo>
                    <a:pt x="479" y="20"/>
                  </a:lnTo>
                  <a:lnTo>
                    <a:pt x="479" y="20"/>
                  </a:lnTo>
                  <a:lnTo>
                    <a:pt x="485" y="19"/>
                  </a:lnTo>
                  <a:lnTo>
                    <a:pt x="488" y="17"/>
                  </a:lnTo>
                  <a:lnTo>
                    <a:pt x="492" y="17"/>
                  </a:lnTo>
                  <a:close/>
                  <a:moveTo>
                    <a:pt x="605" y="29"/>
                  </a:moveTo>
                  <a:lnTo>
                    <a:pt x="605" y="29"/>
                  </a:lnTo>
                  <a:lnTo>
                    <a:pt x="592" y="30"/>
                  </a:lnTo>
                  <a:lnTo>
                    <a:pt x="592" y="30"/>
                  </a:lnTo>
                  <a:lnTo>
                    <a:pt x="583" y="30"/>
                  </a:lnTo>
                  <a:lnTo>
                    <a:pt x="583" y="30"/>
                  </a:lnTo>
                  <a:lnTo>
                    <a:pt x="577" y="32"/>
                  </a:lnTo>
                  <a:lnTo>
                    <a:pt x="577" y="32"/>
                  </a:lnTo>
                  <a:lnTo>
                    <a:pt x="579" y="32"/>
                  </a:lnTo>
                  <a:lnTo>
                    <a:pt x="579" y="33"/>
                  </a:lnTo>
                  <a:lnTo>
                    <a:pt x="577" y="33"/>
                  </a:lnTo>
                  <a:lnTo>
                    <a:pt x="577" y="33"/>
                  </a:lnTo>
                  <a:lnTo>
                    <a:pt x="576" y="32"/>
                  </a:lnTo>
                  <a:lnTo>
                    <a:pt x="575" y="32"/>
                  </a:lnTo>
                  <a:lnTo>
                    <a:pt x="567" y="32"/>
                  </a:lnTo>
                  <a:lnTo>
                    <a:pt x="567" y="32"/>
                  </a:lnTo>
                  <a:lnTo>
                    <a:pt x="572" y="30"/>
                  </a:lnTo>
                  <a:lnTo>
                    <a:pt x="573" y="30"/>
                  </a:lnTo>
                  <a:lnTo>
                    <a:pt x="573" y="29"/>
                  </a:lnTo>
                  <a:lnTo>
                    <a:pt x="573" y="29"/>
                  </a:lnTo>
                  <a:lnTo>
                    <a:pt x="579" y="29"/>
                  </a:lnTo>
                  <a:lnTo>
                    <a:pt x="579" y="29"/>
                  </a:lnTo>
                  <a:lnTo>
                    <a:pt x="587" y="29"/>
                  </a:lnTo>
                  <a:lnTo>
                    <a:pt x="587" y="29"/>
                  </a:lnTo>
                  <a:lnTo>
                    <a:pt x="596" y="29"/>
                  </a:lnTo>
                  <a:lnTo>
                    <a:pt x="605" y="29"/>
                  </a:lnTo>
                  <a:close/>
                  <a:moveTo>
                    <a:pt x="836" y="174"/>
                  </a:moveTo>
                  <a:lnTo>
                    <a:pt x="836" y="174"/>
                  </a:lnTo>
                  <a:lnTo>
                    <a:pt x="830" y="173"/>
                  </a:lnTo>
                  <a:lnTo>
                    <a:pt x="828" y="172"/>
                  </a:lnTo>
                  <a:lnTo>
                    <a:pt x="827" y="170"/>
                  </a:lnTo>
                  <a:lnTo>
                    <a:pt x="827" y="170"/>
                  </a:lnTo>
                  <a:lnTo>
                    <a:pt x="833" y="172"/>
                  </a:lnTo>
                  <a:lnTo>
                    <a:pt x="834" y="173"/>
                  </a:lnTo>
                  <a:lnTo>
                    <a:pt x="836" y="174"/>
                  </a:lnTo>
                  <a:close/>
                  <a:moveTo>
                    <a:pt x="693" y="69"/>
                  </a:moveTo>
                  <a:lnTo>
                    <a:pt x="693" y="69"/>
                  </a:lnTo>
                  <a:lnTo>
                    <a:pt x="696" y="69"/>
                  </a:lnTo>
                  <a:lnTo>
                    <a:pt x="700" y="69"/>
                  </a:lnTo>
                  <a:lnTo>
                    <a:pt x="700" y="69"/>
                  </a:lnTo>
                  <a:lnTo>
                    <a:pt x="700" y="70"/>
                  </a:lnTo>
                  <a:lnTo>
                    <a:pt x="700" y="70"/>
                  </a:lnTo>
                  <a:lnTo>
                    <a:pt x="696" y="72"/>
                  </a:lnTo>
                  <a:lnTo>
                    <a:pt x="696" y="72"/>
                  </a:lnTo>
                  <a:lnTo>
                    <a:pt x="686" y="70"/>
                  </a:lnTo>
                  <a:lnTo>
                    <a:pt x="686" y="70"/>
                  </a:lnTo>
                  <a:lnTo>
                    <a:pt x="692" y="70"/>
                  </a:lnTo>
                  <a:lnTo>
                    <a:pt x="692" y="70"/>
                  </a:lnTo>
                  <a:lnTo>
                    <a:pt x="693" y="69"/>
                  </a:lnTo>
                  <a:close/>
                  <a:moveTo>
                    <a:pt x="515" y="15"/>
                  </a:moveTo>
                  <a:lnTo>
                    <a:pt x="515" y="15"/>
                  </a:lnTo>
                  <a:lnTo>
                    <a:pt x="505" y="16"/>
                  </a:lnTo>
                  <a:lnTo>
                    <a:pt x="493" y="17"/>
                  </a:lnTo>
                  <a:lnTo>
                    <a:pt x="493" y="17"/>
                  </a:lnTo>
                  <a:lnTo>
                    <a:pt x="498" y="16"/>
                  </a:lnTo>
                  <a:lnTo>
                    <a:pt x="498" y="16"/>
                  </a:lnTo>
                  <a:lnTo>
                    <a:pt x="515" y="15"/>
                  </a:lnTo>
                  <a:close/>
                  <a:moveTo>
                    <a:pt x="622" y="40"/>
                  </a:moveTo>
                  <a:lnTo>
                    <a:pt x="622" y="40"/>
                  </a:lnTo>
                  <a:lnTo>
                    <a:pt x="612" y="40"/>
                  </a:lnTo>
                  <a:lnTo>
                    <a:pt x="607" y="39"/>
                  </a:lnTo>
                  <a:lnTo>
                    <a:pt x="606" y="39"/>
                  </a:lnTo>
                  <a:lnTo>
                    <a:pt x="606" y="39"/>
                  </a:lnTo>
                  <a:lnTo>
                    <a:pt x="615" y="39"/>
                  </a:lnTo>
                  <a:lnTo>
                    <a:pt x="615" y="39"/>
                  </a:lnTo>
                  <a:lnTo>
                    <a:pt x="619" y="39"/>
                  </a:lnTo>
                  <a:lnTo>
                    <a:pt x="622" y="40"/>
                  </a:lnTo>
                  <a:close/>
                  <a:moveTo>
                    <a:pt x="612" y="33"/>
                  </a:moveTo>
                  <a:lnTo>
                    <a:pt x="612" y="33"/>
                  </a:lnTo>
                  <a:lnTo>
                    <a:pt x="620" y="35"/>
                  </a:lnTo>
                  <a:lnTo>
                    <a:pt x="629" y="35"/>
                  </a:lnTo>
                  <a:lnTo>
                    <a:pt x="629" y="35"/>
                  </a:lnTo>
                  <a:lnTo>
                    <a:pt x="616" y="36"/>
                  </a:lnTo>
                  <a:lnTo>
                    <a:pt x="607" y="35"/>
                  </a:lnTo>
                  <a:lnTo>
                    <a:pt x="607" y="35"/>
                  </a:lnTo>
                  <a:lnTo>
                    <a:pt x="610" y="35"/>
                  </a:lnTo>
                  <a:lnTo>
                    <a:pt x="612" y="33"/>
                  </a:lnTo>
                  <a:close/>
                  <a:moveTo>
                    <a:pt x="523" y="12"/>
                  </a:moveTo>
                  <a:lnTo>
                    <a:pt x="523" y="12"/>
                  </a:lnTo>
                  <a:lnTo>
                    <a:pt x="523" y="13"/>
                  </a:lnTo>
                  <a:lnTo>
                    <a:pt x="525" y="13"/>
                  </a:lnTo>
                  <a:lnTo>
                    <a:pt x="525" y="13"/>
                  </a:lnTo>
                  <a:lnTo>
                    <a:pt x="525" y="13"/>
                  </a:lnTo>
                  <a:lnTo>
                    <a:pt x="525" y="13"/>
                  </a:lnTo>
                  <a:lnTo>
                    <a:pt x="520" y="15"/>
                  </a:lnTo>
                  <a:lnTo>
                    <a:pt x="516" y="15"/>
                  </a:lnTo>
                  <a:lnTo>
                    <a:pt x="516" y="15"/>
                  </a:lnTo>
                  <a:lnTo>
                    <a:pt x="519" y="13"/>
                  </a:lnTo>
                  <a:lnTo>
                    <a:pt x="523" y="12"/>
                  </a:lnTo>
                  <a:close/>
                  <a:moveTo>
                    <a:pt x="546" y="10"/>
                  </a:moveTo>
                  <a:lnTo>
                    <a:pt x="546" y="10"/>
                  </a:lnTo>
                  <a:lnTo>
                    <a:pt x="540" y="12"/>
                  </a:lnTo>
                  <a:lnTo>
                    <a:pt x="535" y="13"/>
                  </a:lnTo>
                  <a:lnTo>
                    <a:pt x="535" y="13"/>
                  </a:lnTo>
                  <a:lnTo>
                    <a:pt x="540" y="10"/>
                  </a:lnTo>
                  <a:lnTo>
                    <a:pt x="546" y="10"/>
                  </a:lnTo>
                  <a:close/>
                  <a:moveTo>
                    <a:pt x="613" y="29"/>
                  </a:moveTo>
                  <a:lnTo>
                    <a:pt x="613" y="29"/>
                  </a:lnTo>
                  <a:lnTo>
                    <a:pt x="617" y="29"/>
                  </a:lnTo>
                  <a:lnTo>
                    <a:pt x="620" y="29"/>
                  </a:lnTo>
                  <a:lnTo>
                    <a:pt x="624" y="30"/>
                  </a:lnTo>
                  <a:lnTo>
                    <a:pt x="624" y="30"/>
                  </a:lnTo>
                  <a:lnTo>
                    <a:pt x="622" y="32"/>
                  </a:lnTo>
                  <a:lnTo>
                    <a:pt x="622" y="32"/>
                  </a:lnTo>
                  <a:lnTo>
                    <a:pt x="619" y="32"/>
                  </a:lnTo>
                  <a:lnTo>
                    <a:pt x="619" y="32"/>
                  </a:lnTo>
                  <a:lnTo>
                    <a:pt x="620" y="30"/>
                  </a:lnTo>
                  <a:lnTo>
                    <a:pt x="619" y="30"/>
                  </a:lnTo>
                  <a:lnTo>
                    <a:pt x="613" y="29"/>
                  </a:lnTo>
                  <a:close/>
                  <a:moveTo>
                    <a:pt x="535" y="7"/>
                  </a:moveTo>
                  <a:lnTo>
                    <a:pt x="535" y="7"/>
                  </a:lnTo>
                  <a:lnTo>
                    <a:pt x="543" y="6"/>
                  </a:lnTo>
                  <a:lnTo>
                    <a:pt x="543" y="6"/>
                  </a:lnTo>
                  <a:lnTo>
                    <a:pt x="549" y="6"/>
                  </a:lnTo>
                  <a:lnTo>
                    <a:pt x="549" y="6"/>
                  </a:lnTo>
                  <a:lnTo>
                    <a:pt x="553" y="6"/>
                  </a:lnTo>
                  <a:lnTo>
                    <a:pt x="553" y="6"/>
                  </a:lnTo>
                  <a:lnTo>
                    <a:pt x="549" y="6"/>
                  </a:lnTo>
                  <a:lnTo>
                    <a:pt x="547" y="7"/>
                  </a:lnTo>
                  <a:lnTo>
                    <a:pt x="546" y="9"/>
                  </a:lnTo>
                  <a:lnTo>
                    <a:pt x="543" y="9"/>
                  </a:lnTo>
                  <a:lnTo>
                    <a:pt x="543" y="9"/>
                  </a:lnTo>
                  <a:lnTo>
                    <a:pt x="540" y="9"/>
                  </a:lnTo>
                  <a:lnTo>
                    <a:pt x="540" y="7"/>
                  </a:lnTo>
                  <a:lnTo>
                    <a:pt x="540" y="7"/>
                  </a:lnTo>
                  <a:lnTo>
                    <a:pt x="539" y="7"/>
                  </a:lnTo>
                  <a:lnTo>
                    <a:pt x="539" y="7"/>
                  </a:lnTo>
                  <a:lnTo>
                    <a:pt x="537" y="9"/>
                  </a:lnTo>
                  <a:lnTo>
                    <a:pt x="535" y="10"/>
                  </a:lnTo>
                  <a:lnTo>
                    <a:pt x="535" y="10"/>
                  </a:lnTo>
                  <a:lnTo>
                    <a:pt x="533" y="9"/>
                  </a:lnTo>
                  <a:lnTo>
                    <a:pt x="533" y="9"/>
                  </a:lnTo>
                  <a:lnTo>
                    <a:pt x="535" y="7"/>
                  </a:lnTo>
                  <a:close/>
                  <a:moveTo>
                    <a:pt x="562" y="9"/>
                  </a:moveTo>
                  <a:lnTo>
                    <a:pt x="562" y="9"/>
                  </a:lnTo>
                  <a:lnTo>
                    <a:pt x="557" y="12"/>
                  </a:lnTo>
                  <a:lnTo>
                    <a:pt x="557" y="12"/>
                  </a:lnTo>
                  <a:lnTo>
                    <a:pt x="553" y="10"/>
                  </a:lnTo>
                  <a:lnTo>
                    <a:pt x="547" y="10"/>
                  </a:lnTo>
                  <a:lnTo>
                    <a:pt x="547" y="10"/>
                  </a:lnTo>
                  <a:lnTo>
                    <a:pt x="550" y="10"/>
                  </a:lnTo>
                  <a:lnTo>
                    <a:pt x="550" y="10"/>
                  </a:lnTo>
                  <a:lnTo>
                    <a:pt x="555" y="10"/>
                  </a:lnTo>
                  <a:lnTo>
                    <a:pt x="562" y="9"/>
                  </a:lnTo>
                  <a:close/>
                  <a:moveTo>
                    <a:pt x="650" y="32"/>
                  </a:moveTo>
                  <a:lnTo>
                    <a:pt x="650" y="32"/>
                  </a:lnTo>
                  <a:lnTo>
                    <a:pt x="639" y="32"/>
                  </a:lnTo>
                  <a:lnTo>
                    <a:pt x="639" y="32"/>
                  </a:lnTo>
                  <a:lnTo>
                    <a:pt x="634" y="32"/>
                  </a:lnTo>
                  <a:lnTo>
                    <a:pt x="633" y="30"/>
                  </a:lnTo>
                  <a:lnTo>
                    <a:pt x="633" y="30"/>
                  </a:lnTo>
                  <a:lnTo>
                    <a:pt x="633" y="30"/>
                  </a:lnTo>
                  <a:lnTo>
                    <a:pt x="637" y="30"/>
                  </a:lnTo>
                  <a:lnTo>
                    <a:pt x="637" y="30"/>
                  </a:lnTo>
                  <a:lnTo>
                    <a:pt x="642" y="30"/>
                  </a:lnTo>
                  <a:lnTo>
                    <a:pt x="642" y="30"/>
                  </a:lnTo>
                  <a:lnTo>
                    <a:pt x="646" y="30"/>
                  </a:lnTo>
                  <a:lnTo>
                    <a:pt x="650" y="32"/>
                  </a:lnTo>
                  <a:close/>
                  <a:moveTo>
                    <a:pt x="683" y="39"/>
                  </a:moveTo>
                  <a:lnTo>
                    <a:pt x="683" y="39"/>
                  </a:lnTo>
                  <a:lnTo>
                    <a:pt x="679" y="39"/>
                  </a:lnTo>
                  <a:lnTo>
                    <a:pt x="674" y="39"/>
                  </a:lnTo>
                  <a:lnTo>
                    <a:pt x="674" y="39"/>
                  </a:lnTo>
                  <a:lnTo>
                    <a:pt x="677" y="39"/>
                  </a:lnTo>
                  <a:lnTo>
                    <a:pt x="683" y="39"/>
                  </a:lnTo>
                  <a:close/>
                  <a:moveTo>
                    <a:pt x="684" y="36"/>
                  </a:moveTo>
                  <a:lnTo>
                    <a:pt x="684" y="36"/>
                  </a:lnTo>
                  <a:lnTo>
                    <a:pt x="670" y="35"/>
                  </a:lnTo>
                  <a:lnTo>
                    <a:pt x="664" y="33"/>
                  </a:lnTo>
                  <a:lnTo>
                    <a:pt x="663" y="33"/>
                  </a:lnTo>
                  <a:lnTo>
                    <a:pt x="662" y="32"/>
                  </a:lnTo>
                  <a:lnTo>
                    <a:pt x="662" y="32"/>
                  </a:lnTo>
                  <a:lnTo>
                    <a:pt x="674" y="35"/>
                  </a:lnTo>
                  <a:lnTo>
                    <a:pt x="674" y="35"/>
                  </a:lnTo>
                  <a:lnTo>
                    <a:pt x="682" y="35"/>
                  </a:lnTo>
                  <a:lnTo>
                    <a:pt x="684" y="36"/>
                  </a:lnTo>
                  <a:close/>
                  <a:moveTo>
                    <a:pt x="720" y="50"/>
                  </a:moveTo>
                  <a:lnTo>
                    <a:pt x="720" y="50"/>
                  </a:lnTo>
                  <a:lnTo>
                    <a:pt x="716" y="50"/>
                  </a:lnTo>
                  <a:lnTo>
                    <a:pt x="711" y="49"/>
                  </a:lnTo>
                  <a:lnTo>
                    <a:pt x="711" y="49"/>
                  </a:lnTo>
                  <a:lnTo>
                    <a:pt x="716" y="49"/>
                  </a:lnTo>
                  <a:lnTo>
                    <a:pt x="720" y="50"/>
                  </a:lnTo>
                  <a:close/>
                  <a:moveTo>
                    <a:pt x="714" y="43"/>
                  </a:moveTo>
                  <a:lnTo>
                    <a:pt x="714" y="43"/>
                  </a:lnTo>
                  <a:lnTo>
                    <a:pt x="719" y="46"/>
                  </a:lnTo>
                  <a:lnTo>
                    <a:pt x="723" y="46"/>
                  </a:lnTo>
                  <a:lnTo>
                    <a:pt x="733" y="49"/>
                  </a:lnTo>
                  <a:lnTo>
                    <a:pt x="733" y="49"/>
                  </a:lnTo>
                  <a:lnTo>
                    <a:pt x="729" y="49"/>
                  </a:lnTo>
                  <a:lnTo>
                    <a:pt x="721" y="47"/>
                  </a:lnTo>
                  <a:lnTo>
                    <a:pt x="721" y="47"/>
                  </a:lnTo>
                  <a:lnTo>
                    <a:pt x="710" y="45"/>
                  </a:lnTo>
                  <a:lnTo>
                    <a:pt x="710" y="45"/>
                  </a:lnTo>
                  <a:lnTo>
                    <a:pt x="711" y="45"/>
                  </a:lnTo>
                  <a:lnTo>
                    <a:pt x="714" y="43"/>
                  </a:lnTo>
                  <a:close/>
                  <a:moveTo>
                    <a:pt x="717" y="43"/>
                  </a:moveTo>
                  <a:lnTo>
                    <a:pt x="717" y="43"/>
                  </a:lnTo>
                  <a:lnTo>
                    <a:pt x="721" y="43"/>
                  </a:lnTo>
                  <a:lnTo>
                    <a:pt x="721" y="43"/>
                  </a:lnTo>
                  <a:lnTo>
                    <a:pt x="724" y="43"/>
                  </a:lnTo>
                  <a:lnTo>
                    <a:pt x="724" y="43"/>
                  </a:lnTo>
                  <a:lnTo>
                    <a:pt x="727" y="43"/>
                  </a:lnTo>
                  <a:lnTo>
                    <a:pt x="731" y="45"/>
                  </a:lnTo>
                  <a:lnTo>
                    <a:pt x="731" y="45"/>
                  </a:lnTo>
                  <a:lnTo>
                    <a:pt x="727" y="45"/>
                  </a:lnTo>
                  <a:lnTo>
                    <a:pt x="726" y="46"/>
                  </a:lnTo>
                  <a:lnTo>
                    <a:pt x="726" y="46"/>
                  </a:lnTo>
                  <a:lnTo>
                    <a:pt x="719" y="45"/>
                  </a:lnTo>
                  <a:lnTo>
                    <a:pt x="716" y="43"/>
                  </a:lnTo>
                  <a:lnTo>
                    <a:pt x="717" y="43"/>
                  </a:lnTo>
                  <a:close/>
                  <a:moveTo>
                    <a:pt x="754" y="52"/>
                  </a:moveTo>
                  <a:lnTo>
                    <a:pt x="754" y="52"/>
                  </a:lnTo>
                  <a:lnTo>
                    <a:pt x="749" y="52"/>
                  </a:lnTo>
                  <a:lnTo>
                    <a:pt x="749" y="52"/>
                  </a:lnTo>
                  <a:lnTo>
                    <a:pt x="744" y="50"/>
                  </a:lnTo>
                  <a:lnTo>
                    <a:pt x="744" y="50"/>
                  </a:lnTo>
                  <a:lnTo>
                    <a:pt x="749" y="49"/>
                  </a:lnTo>
                  <a:lnTo>
                    <a:pt x="749" y="49"/>
                  </a:lnTo>
                  <a:lnTo>
                    <a:pt x="751" y="50"/>
                  </a:lnTo>
                  <a:lnTo>
                    <a:pt x="754" y="52"/>
                  </a:lnTo>
                  <a:close/>
                  <a:moveTo>
                    <a:pt x="687" y="15"/>
                  </a:moveTo>
                  <a:lnTo>
                    <a:pt x="687" y="15"/>
                  </a:lnTo>
                  <a:lnTo>
                    <a:pt x="682" y="15"/>
                  </a:lnTo>
                  <a:lnTo>
                    <a:pt x="676" y="13"/>
                  </a:lnTo>
                  <a:lnTo>
                    <a:pt x="676" y="13"/>
                  </a:lnTo>
                  <a:lnTo>
                    <a:pt x="682" y="13"/>
                  </a:lnTo>
                  <a:lnTo>
                    <a:pt x="687" y="15"/>
                  </a:lnTo>
                  <a:close/>
                  <a:moveTo>
                    <a:pt x="686" y="13"/>
                  </a:moveTo>
                  <a:lnTo>
                    <a:pt x="686" y="13"/>
                  </a:lnTo>
                  <a:lnTo>
                    <a:pt x="679" y="13"/>
                  </a:lnTo>
                  <a:lnTo>
                    <a:pt x="677" y="12"/>
                  </a:lnTo>
                  <a:lnTo>
                    <a:pt x="676" y="12"/>
                  </a:lnTo>
                  <a:lnTo>
                    <a:pt x="676" y="12"/>
                  </a:lnTo>
                  <a:lnTo>
                    <a:pt x="682" y="12"/>
                  </a:lnTo>
                  <a:lnTo>
                    <a:pt x="683" y="12"/>
                  </a:lnTo>
                  <a:lnTo>
                    <a:pt x="686" y="13"/>
                  </a:lnTo>
                  <a:close/>
                  <a:moveTo>
                    <a:pt x="702" y="19"/>
                  </a:moveTo>
                  <a:lnTo>
                    <a:pt x="702" y="19"/>
                  </a:lnTo>
                  <a:lnTo>
                    <a:pt x="702" y="19"/>
                  </a:lnTo>
                  <a:lnTo>
                    <a:pt x="702" y="20"/>
                  </a:lnTo>
                  <a:lnTo>
                    <a:pt x="703" y="20"/>
                  </a:lnTo>
                  <a:lnTo>
                    <a:pt x="703" y="20"/>
                  </a:lnTo>
                  <a:lnTo>
                    <a:pt x="699" y="22"/>
                  </a:lnTo>
                  <a:lnTo>
                    <a:pt x="696" y="20"/>
                  </a:lnTo>
                  <a:lnTo>
                    <a:pt x="696" y="20"/>
                  </a:lnTo>
                  <a:lnTo>
                    <a:pt x="697" y="20"/>
                  </a:lnTo>
                  <a:lnTo>
                    <a:pt x="697" y="19"/>
                  </a:lnTo>
                  <a:lnTo>
                    <a:pt x="699" y="19"/>
                  </a:lnTo>
                  <a:lnTo>
                    <a:pt x="702" y="19"/>
                  </a:lnTo>
                  <a:close/>
                  <a:moveTo>
                    <a:pt x="703" y="12"/>
                  </a:moveTo>
                  <a:lnTo>
                    <a:pt x="703" y="12"/>
                  </a:lnTo>
                  <a:lnTo>
                    <a:pt x="700" y="13"/>
                  </a:lnTo>
                  <a:lnTo>
                    <a:pt x="699" y="13"/>
                  </a:lnTo>
                  <a:lnTo>
                    <a:pt x="699" y="15"/>
                  </a:lnTo>
                  <a:lnTo>
                    <a:pt x="699" y="15"/>
                  </a:lnTo>
                  <a:lnTo>
                    <a:pt x="703" y="15"/>
                  </a:lnTo>
                  <a:lnTo>
                    <a:pt x="706" y="16"/>
                  </a:lnTo>
                  <a:lnTo>
                    <a:pt x="706" y="16"/>
                  </a:lnTo>
                  <a:lnTo>
                    <a:pt x="697" y="16"/>
                  </a:lnTo>
                  <a:lnTo>
                    <a:pt x="697" y="16"/>
                  </a:lnTo>
                  <a:lnTo>
                    <a:pt x="693" y="16"/>
                  </a:lnTo>
                  <a:lnTo>
                    <a:pt x="689" y="16"/>
                  </a:lnTo>
                  <a:lnTo>
                    <a:pt x="689" y="16"/>
                  </a:lnTo>
                  <a:lnTo>
                    <a:pt x="693" y="15"/>
                  </a:lnTo>
                  <a:lnTo>
                    <a:pt x="694" y="13"/>
                  </a:lnTo>
                  <a:lnTo>
                    <a:pt x="694" y="13"/>
                  </a:lnTo>
                  <a:lnTo>
                    <a:pt x="697" y="12"/>
                  </a:lnTo>
                  <a:lnTo>
                    <a:pt x="703" y="12"/>
                  </a:lnTo>
                  <a:close/>
                  <a:moveTo>
                    <a:pt x="791" y="67"/>
                  </a:moveTo>
                  <a:lnTo>
                    <a:pt x="791" y="67"/>
                  </a:lnTo>
                  <a:lnTo>
                    <a:pt x="786" y="67"/>
                  </a:lnTo>
                  <a:lnTo>
                    <a:pt x="783" y="66"/>
                  </a:lnTo>
                  <a:lnTo>
                    <a:pt x="783" y="65"/>
                  </a:lnTo>
                  <a:lnTo>
                    <a:pt x="783" y="65"/>
                  </a:lnTo>
                  <a:lnTo>
                    <a:pt x="787" y="66"/>
                  </a:lnTo>
                  <a:lnTo>
                    <a:pt x="791" y="67"/>
                  </a:lnTo>
                  <a:close/>
                  <a:moveTo>
                    <a:pt x="719" y="19"/>
                  </a:moveTo>
                  <a:lnTo>
                    <a:pt x="719" y="19"/>
                  </a:lnTo>
                  <a:lnTo>
                    <a:pt x="714" y="20"/>
                  </a:lnTo>
                  <a:lnTo>
                    <a:pt x="710" y="19"/>
                  </a:lnTo>
                  <a:lnTo>
                    <a:pt x="710" y="19"/>
                  </a:lnTo>
                  <a:lnTo>
                    <a:pt x="714" y="19"/>
                  </a:lnTo>
                  <a:lnTo>
                    <a:pt x="719" y="19"/>
                  </a:lnTo>
                  <a:close/>
                  <a:moveTo>
                    <a:pt x="781" y="57"/>
                  </a:moveTo>
                  <a:lnTo>
                    <a:pt x="781" y="57"/>
                  </a:lnTo>
                  <a:lnTo>
                    <a:pt x="790" y="60"/>
                  </a:lnTo>
                  <a:lnTo>
                    <a:pt x="794" y="62"/>
                  </a:lnTo>
                  <a:lnTo>
                    <a:pt x="797" y="63"/>
                  </a:lnTo>
                  <a:lnTo>
                    <a:pt x="797" y="63"/>
                  </a:lnTo>
                  <a:lnTo>
                    <a:pt x="804" y="65"/>
                  </a:lnTo>
                  <a:lnTo>
                    <a:pt x="804" y="65"/>
                  </a:lnTo>
                  <a:lnTo>
                    <a:pt x="807" y="66"/>
                  </a:lnTo>
                  <a:lnTo>
                    <a:pt x="808" y="66"/>
                  </a:lnTo>
                  <a:lnTo>
                    <a:pt x="808" y="66"/>
                  </a:lnTo>
                  <a:lnTo>
                    <a:pt x="813" y="69"/>
                  </a:lnTo>
                  <a:lnTo>
                    <a:pt x="813" y="69"/>
                  </a:lnTo>
                  <a:lnTo>
                    <a:pt x="808" y="67"/>
                  </a:lnTo>
                  <a:lnTo>
                    <a:pt x="807" y="67"/>
                  </a:lnTo>
                  <a:lnTo>
                    <a:pt x="807" y="67"/>
                  </a:lnTo>
                  <a:lnTo>
                    <a:pt x="800" y="65"/>
                  </a:lnTo>
                  <a:lnTo>
                    <a:pt x="797" y="65"/>
                  </a:lnTo>
                  <a:lnTo>
                    <a:pt x="796" y="66"/>
                  </a:lnTo>
                  <a:lnTo>
                    <a:pt x="796" y="66"/>
                  </a:lnTo>
                  <a:lnTo>
                    <a:pt x="794" y="65"/>
                  </a:lnTo>
                  <a:lnTo>
                    <a:pt x="794" y="65"/>
                  </a:lnTo>
                  <a:lnTo>
                    <a:pt x="794" y="63"/>
                  </a:lnTo>
                  <a:lnTo>
                    <a:pt x="794" y="63"/>
                  </a:lnTo>
                  <a:lnTo>
                    <a:pt x="794" y="63"/>
                  </a:lnTo>
                  <a:lnTo>
                    <a:pt x="789" y="63"/>
                  </a:lnTo>
                  <a:lnTo>
                    <a:pt x="789" y="63"/>
                  </a:lnTo>
                  <a:lnTo>
                    <a:pt x="787" y="62"/>
                  </a:lnTo>
                  <a:lnTo>
                    <a:pt x="786" y="60"/>
                  </a:lnTo>
                  <a:lnTo>
                    <a:pt x="786" y="59"/>
                  </a:lnTo>
                  <a:lnTo>
                    <a:pt x="781" y="57"/>
                  </a:lnTo>
                  <a:close/>
                  <a:moveTo>
                    <a:pt x="818" y="72"/>
                  </a:moveTo>
                  <a:lnTo>
                    <a:pt x="818" y="72"/>
                  </a:lnTo>
                  <a:lnTo>
                    <a:pt x="818" y="73"/>
                  </a:lnTo>
                  <a:lnTo>
                    <a:pt x="818" y="73"/>
                  </a:lnTo>
                  <a:lnTo>
                    <a:pt x="816" y="73"/>
                  </a:lnTo>
                  <a:lnTo>
                    <a:pt x="810" y="72"/>
                  </a:lnTo>
                  <a:lnTo>
                    <a:pt x="807" y="70"/>
                  </a:lnTo>
                  <a:lnTo>
                    <a:pt x="807" y="70"/>
                  </a:lnTo>
                  <a:lnTo>
                    <a:pt x="807" y="69"/>
                  </a:lnTo>
                  <a:lnTo>
                    <a:pt x="808" y="69"/>
                  </a:lnTo>
                  <a:lnTo>
                    <a:pt x="808" y="69"/>
                  </a:lnTo>
                  <a:lnTo>
                    <a:pt x="813" y="70"/>
                  </a:lnTo>
                  <a:lnTo>
                    <a:pt x="814" y="72"/>
                  </a:lnTo>
                  <a:lnTo>
                    <a:pt x="816" y="72"/>
                  </a:lnTo>
                  <a:lnTo>
                    <a:pt x="818" y="72"/>
                  </a:lnTo>
                  <a:close/>
                  <a:moveTo>
                    <a:pt x="830" y="75"/>
                  </a:moveTo>
                  <a:lnTo>
                    <a:pt x="830" y="75"/>
                  </a:lnTo>
                  <a:lnTo>
                    <a:pt x="833" y="76"/>
                  </a:lnTo>
                  <a:lnTo>
                    <a:pt x="831" y="76"/>
                  </a:lnTo>
                  <a:lnTo>
                    <a:pt x="826" y="76"/>
                  </a:lnTo>
                  <a:lnTo>
                    <a:pt x="826" y="76"/>
                  </a:lnTo>
                  <a:lnTo>
                    <a:pt x="823" y="75"/>
                  </a:lnTo>
                  <a:lnTo>
                    <a:pt x="821" y="73"/>
                  </a:lnTo>
                  <a:lnTo>
                    <a:pt x="821" y="73"/>
                  </a:lnTo>
                  <a:lnTo>
                    <a:pt x="826" y="75"/>
                  </a:lnTo>
                  <a:lnTo>
                    <a:pt x="830" y="75"/>
                  </a:lnTo>
                  <a:close/>
                  <a:moveTo>
                    <a:pt x="851" y="92"/>
                  </a:moveTo>
                  <a:lnTo>
                    <a:pt x="851" y="92"/>
                  </a:lnTo>
                  <a:lnTo>
                    <a:pt x="847" y="90"/>
                  </a:lnTo>
                  <a:lnTo>
                    <a:pt x="843" y="87"/>
                  </a:lnTo>
                  <a:lnTo>
                    <a:pt x="843" y="87"/>
                  </a:lnTo>
                  <a:lnTo>
                    <a:pt x="848" y="89"/>
                  </a:lnTo>
                  <a:lnTo>
                    <a:pt x="851" y="92"/>
                  </a:lnTo>
                  <a:close/>
                  <a:moveTo>
                    <a:pt x="1021" y="327"/>
                  </a:moveTo>
                  <a:lnTo>
                    <a:pt x="1021" y="327"/>
                  </a:lnTo>
                  <a:lnTo>
                    <a:pt x="1025" y="331"/>
                  </a:lnTo>
                  <a:lnTo>
                    <a:pt x="1027" y="333"/>
                  </a:lnTo>
                  <a:lnTo>
                    <a:pt x="1027" y="334"/>
                  </a:lnTo>
                  <a:lnTo>
                    <a:pt x="1027" y="334"/>
                  </a:lnTo>
                  <a:lnTo>
                    <a:pt x="1024" y="330"/>
                  </a:lnTo>
                  <a:lnTo>
                    <a:pt x="1021" y="330"/>
                  </a:lnTo>
                  <a:lnTo>
                    <a:pt x="1021" y="330"/>
                  </a:lnTo>
                  <a:lnTo>
                    <a:pt x="1021" y="327"/>
                  </a:lnTo>
                  <a:close/>
                  <a:moveTo>
                    <a:pt x="908" y="115"/>
                  </a:moveTo>
                  <a:lnTo>
                    <a:pt x="908" y="115"/>
                  </a:lnTo>
                  <a:lnTo>
                    <a:pt x="908" y="116"/>
                  </a:lnTo>
                  <a:lnTo>
                    <a:pt x="908" y="116"/>
                  </a:lnTo>
                  <a:lnTo>
                    <a:pt x="904" y="115"/>
                  </a:lnTo>
                  <a:lnTo>
                    <a:pt x="904" y="115"/>
                  </a:lnTo>
                  <a:lnTo>
                    <a:pt x="900" y="113"/>
                  </a:lnTo>
                  <a:lnTo>
                    <a:pt x="898" y="112"/>
                  </a:lnTo>
                  <a:lnTo>
                    <a:pt x="898" y="110"/>
                  </a:lnTo>
                  <a:lnTo>
                    <a:pt x="898" y="110"/>
                  </a:lnTo>
                  <a:lnTo>
                    <a:pt x="900" y="112"/>
                  </a:lnTo>
                  <a:lnTo>
                    <a:pt x="903" y="113"/>
                  </a:lnTo>
                  <a:lnTo>
                    <a:pt x="908" y="115"/>
                  </a:lnTo>
                  <a:close/>
                  <a:moveTo>
                    <a:pt x="1031" y="339"/>
                  </a:moveTo>
                  <a:lnTo>
                    <a:pt x="1031" y="339"/>
                  </a:lnTo>
                  <a:lnTo>
                    <a:pt x="1037" y="347"/>
                  </a:lnTo>
                  <a:lnTo>
                    <a:pt x="1038" y="350"/>
                  </a:lnTo>
                  <a:lnTo>
                    <a:pt x="1040" y="353"/>
                  </a:lnTo>
                  <a:lnTo>
                    <a:pt x="1040" y="353"/>
                  </a:lnTo>
                  <a:lnTo>
                    <a:pt x="1038" y="350"/>
                  </a:lnTo>
                  <a:lnTo>
                    <a:pt x="1037" y="350"/>
                  </a:lnTo>
                  <a:lnTo>
                    <a:pt x="1035" y="350"/>
                  </a:lnTo>
                  <a:lnTo>
                    <a:pt x="1034" y="350"/>
                  </a:lnTo>
                  <a:lnTo>
                    <a:pt x="1034" y="350"/>
                  </a:lnTo>
                  <a:lnTo>
                    <a:pt x="1034" y="347"/>
                  </a:lnTo>
                  <a:lnTo>
                    <a:pt x="1034" y="347"/>
                  </a:lnTo>
                  <a:lnTo>
                    <a:pt x="1035" y="346"/>
                  </a:lnTo>
                  <a:lnTo>
                    <a:pt x="1035" y="346"/>
                  </a:lnTo>
                  <a:lnTo>
                    <a:pt x="1031" y="341"/>
                  </a:lnTo>
                  <a:lnTo>
                    <a:pt x="1030" y="340"/>
                  </a:lnTo>
                  <a:lnTo>
                    <a:pt x="1031" y="339"/>
                  </a:lnTo>
                  <a:close/>
                  <a:moveTo>
                    <a:pt x="1047" y="364"/>
                  </a:moveTo>
                  <a:lnTo>
                    <a:pt x="1047" y="364"/>
                  </a:lnTo>
                  <a:lnTo>
                    <a:pt x="1044" y="360"/>
                  </a:lnTo>
                  <a:lnTo>
                    <a:pt x="1042" y="357"/>
                  </a:lnTo>
                  <a:lnTo>
                    <a:pt x="1042" y="357"/>
                  </a:lnTo>
                  <a:lnTo>
                    <a:pt x="1044" y="359"/>
                  </a:lnTo>
                  <a:lnTo>
                    <a:pt x="1047" y="361"/>
                  </a:lnTo>
                  <a:lnTo>
                    <a:pt x="1047" y="363"/>
                  </a:lnTo>
                  <a:lnTo>
                    <a:pt x="1047" y="364"/>
                  </a:lnTo>
                  <a:lnTo>
                    <a:pt x="1047" y="364"/>
                  </a:lnTo>
                  <a:close/>
                  <a:moveTo>
                    <a:pt x="921" y="92"/>
                  </a:moveTo>
                  <a:lnTo>
                    <a:pt x="921" y="92"/>
                  </a:lnTo>
                  <a:lnTo>
                    <a:pt x="915" y="90"/>
                  </a:lnTo>
                  <a:lnTo>
                    <a:pt x="915" y="90"/>
                  </a:lnTo>
                  <a:lnTo>
                    <a:pt x="911" y="86"/>
                  </a:lnTo>
                  <a:lnTo>
                    <a:pt x="911" y="86"/>
                  </a:lnTo>
                  <a:lnTo>
                    <a:pt x="917" y="89"/>
                  </a:lnTo>
                  <a:lnTo>
                    <a:pt x="917" y="89"/>
                  </a:lnTo>
                  <a:lnTo>
                    <a:pt x="921" y="92"/>
                  </a:lnTo>
                  <a:close/>
                  <a:moveTo>
                    <a:pt x="941" y="102"/>
                  </a:moveTo>
                  <a:lnTo>
                    <a:pt x="941" y="102"/>
                  </a:lnTo>
                  <a:lnTo>
                    <a:pt x="943" y="102"/>
                  </a:lnTo>
                  <a:lnTo>
                    <a:pt x="945" y="103"/>
                  </a:lnTo>
                  <a:lnTo>
                    <a:pt x="948" y="106"/>
                  </a:lnTo>
                  <a:lnTo>
                    <a:pt x="948" y="106"/>
                  </a:lnTo>
                  <a:lnTo>
                    <a:pt x="948" y="106"/>
                  </a:lnTo>
                  <a:lnTo>
                    <a:pt x="950" y="105"/>
                  </a:lnTo>
                  <a:lnTo>
                    <a:pt x="954" y="106"/>
                  </a:lnTo>
                  <a:lnTo>
                    <a:pt x="954" y="106"/>
                  </a:lnTo>
                  <a:lnTo>
                    <a:pt x="955" y="107"/>
                  </a:lnTo>
                  <a:lnTo>
                    <a:pt x="955" y="107"/>
                  </a:lnTo>
                  <a:lnTo>
                    <a:pt x="953" y="107"/>
                  </a:lnTo>
                  <a:lnTo>
                    <a:pt x="950" y="107"/>
                  </a:lnTo>
                  <a:lnTo>
                    <a:pt x="950" y="107"/>
                  </a:lnTo>
                  <a:lnTo>
                    <a:pt x="951" y="109"/>
                  </a:lnTo>
                  <a:lnTo>
                    <a:pt x="951" y="109"/>
                  </a:lnTo>
                  <a:lnTo>
                    <a:pt x="953" y="109"/>
                  </a:lnTo>
                  <a:lnTo>
                    <a:pt x="955" y="110"/>
                  </a:lnTo>
                  <a:lnTo>
                    <a:pt x="955" y="110"/>
                  </a:lnTo>
                  <a:lnTo>
                    <a:pt x="958" y="113"/>
                  </a:lnTo>
                  <a:lnTo>
                    <a:pt x="960" y="115"/>
                  </a:lnTo>
                  <a:lnTo>
                    <a:pt x="960" y="115"/>
                  </a:lnTo>
                  <a:lnTo>
                    <a:pt x="960" y="115"/>
                  </a:lnTo>
                  <a:lnTo>
                    <a:pt x="953" y="110"/>
                  </a:lnTo>
                  <a:lnTo>
                    <a:pt x="944" y="106"/>
                  </a:lnTo>
                  <a:lnTo>
                    <a:pt x="944" y="106"/>
                  </a:lnTo>
                  <a:lnTo>
                    <a:pt x="937" y="103"/>
                  </a:lnTo>
                  <a:lnTo>
                    <a:pt x="937" y="102"/>
                  </a:lnTo>
                  <a:lnTo>
                    <a:pt x="938" y="100"/>
                  </a:lnTo>
                  <a:lnTo>
                    <a:pt x="938" y="100"/>
                  </a:lnTo>
                  <a:lnTo>
                    <a:pt x="930" y="96"/>
                  </a:lnTo>
                  <a:lnTo>
                    <a:pt x="925" y="95"/>
                  </a:lnTo>
                  <a:lnTo>
                    <a:pt x="924" y="92"/>
                  </a:lnTo>
                  <a:lnTo>
                    <a:pt x="924" y="92"/>
                  </a:lnTo>
                  <a:lnTo>
                    <a:pt x="933" y="96"/>
                  </a:lnTo>
                  <a:lnTo>
                    <a:pt x="938" y="99"/>
                  </a:lnTo>
                  <a:lnTo>
                    <a:pt x="941" y="102"/>
                  </a:lnTo>
                  <a:close/>
                  <a:moveTo>
                    <a:pt x="948" y="103"/>
                  </a:moveTo>
                  <a:lnTo>
                    <a:pt x="948" y="103"/>
                  </a:lnTo>
                  <a:lnTo>
                    <a:pt x="944" y="102"/>
                  </a:lnTo>
                  <a:lnTo>
                    <a:pt x="944" y="102"/>
                  </a:lnTo>
                  <a:lnTo>
                    <a:pt x="941" y="99"/>
                  </a:lnTo>
                  <a:lnTo>
                    <a:pt x="941" y="99"/>
                  </a:lnTo>
                  <a:lnTo>
                    <a:pt x="933" y="95"/>
                  </a:lnTo>
                  <a:lnTo>
                    <a:pt x="933" y="95"/>
                  </a:lnTo>
                  <a:lnTo>
                    <a:pt x="941" y="97"/>
                  </a:lnTo>
                  <a:lnTo>
                    <a:pt x="941" y="97"/>
                  </a:lnTo>
                  <a:lnTo>
                    <a:pt x="945" y="100"/>
                  </a:lnTo>
                  <a:lnTo>
                    <a:pt x="945" y="100"/>
                  </a:lnTo>
                  <a:lnTo>
                    <a:pt x="948" y="103"/>
                  </a:lnTo>
                  <a:close/>
                  <a:moveTo>
                    <a:pt x="1079" y="417"/>
                  </a:moveTo>
                  <a:lnTo>
                    <a:pt x="1079" y="417"/>
                  </a:lnTo>
                  <a:lnTo>
                    <a:pt x="1082" y="426"/>
                  </a:lnTo>
                  <a:lnTo>
                    <a:pt x="1082" y="426"/>
                  </a:lnTo>
                  <a:lnTo>
                    <a:pt x="1084" y="429"/>
                  </a:lnTo>
                  <a:lnTo>
                    <a:pt x="1084" y="431"/>
                  </a:lnTo>
                  <a:lnTo>
                    <a:pt x="1084" y="431"/>
                  </a:lnTo>
                  <a:lnTo>
                    <a:pt x="1081" y="424"/>
                  </a:lnTo>
                  <a:lnTo>
                    <a:pt x="1079" y="420"/>
                  </a:lnTo>
                  <a:lnTo>
                    <a:pt x="1079" y="417"/>
                  </a:lnTo>
                  <a:close/>
                  <a:moveTo>
                    <a:pt x="967" y="113"/>
                  </a:moveTo>
                  <a:lnTo>
                    <a:pt x="967" y="113"/>
                  </a:lnTo>
                  <a:lnTo>
                    <a:pt x="968" y="116"/>
                  </a:lnTo>
                  <a:lnTo>
                    <a:pt x="968" y="117"/>
                  </a:lnTo>
                  <a:lnTo>
                    <a:pt x="968" y="117"/>
                  </a:lnTo>
                  <a:lnTo>
                    <a:pt x="968" y="117"/>
                  </a:lnTo>
                  <a:lnTo>
                    <a:pt x="964" y="113"/>
                  </a:lnTo>
                  <a:lnTo>
                    <a:pt x="960" y="112"/>
                  </a:lnTo>
                  <a:lnTo>
                    <a:pt x="960" y="112"/>
                  </a:lnTo>
                  <a:lnTo>
                    <a:pt x="960" y="110"/>
                  </a:lnTo>
                  <a:lnTo>
                    <a:pt x="961" y="110"/>
                  </a:lnTo>
                  <a:lnTo>
                    <a:pt x="967" y="113"/>
                  </a:lnTo>
                  <a:close/>
                  <a:moveTo>
                    <a:pt x="982" y="129"/>
                  </a:moveTo>
                  <a:lnTo>
                    <a:pt x="982" y="129"/>
                  </a:lnTo>
                  <a:lnTo>
                    <a:pt x="985" y="132"/>
                  </a:lnTo>
                  <a:lnTo>
                    <a:pt x="987" y="133"/>
                  </a:lnTo>
                  <a:lnTo>
                    <a:pt x="988" y="135"/>
                  </a:lnTo>
                  <a:lnTo>
                    <a:pt x="988" y="135"/>
                  </a:lnTo>
                  <a:lnTo>
                    <a:pt x="982" y="132"/>
                  </a:lnTo>
                  <a:lnTo>
                    <a:pt x="981" y="129"/>
                  </a:lnTo>
                  <a:lnTo>
                    <a:pt x="982" y="129"/>
                  </a:lnTo>
                  <a:close/>
                  <a:moveTo>
                    <a:pt x="980" y="119"/>
                  </a:moveTo>
                  <a:lnTo>
                    <a:pt x="980" y="119"/>
                  </a:lnTo>
                  <a:lnTo>
                    <a:pt x="981" y="122"/>
                  </a:lnTo>
                  <a:lnTo>
                    <a:pt x="980" y="122"/>
                  </a:lnTo>
                  <a:lnTo>
                    <a:pt x="980" y="122"/>
                  </a:lnTo>
                  <a:lnTo>
                    <a:pt x="977" y="119"/>
                  </a:lnTo>
                  <a:lnTo>
                    <a:pt x="977" y="119"/>
                  </a:lnTo>
                  <a:lnTo>
                    <a:pt x="974" y="116"/>
                  </a:lnTo>
                  <a:lnTo>
                    <a:pt x="974" y="116"/>
                  </a:lnTo>
                  <a:lnTo>
                    <a:pt x="980" y="119"/>
                  </a:lnTo>
                  <a:close/>
                  <a:moveTo>
                    <a:pt x="1097" y="463"/>
                  </a:moveTo>
                  <a:lnTo>
                    <a:pt x="1097" y="463"/>
                  </a:lnTo>
                  <a:lnTo>
                    <a:pt x="1095" y="461"/>
                  </a:lnTo>
                  <a:lnTo>
                    <a:pt x="1094" y="460"/>
                  </a:lnTo>
                  <a:lnTo>
                    <a:pt x="1094" y="460"/>
                  </a:lnTo>
                  <a:lnTo>
                    <a:pt x="1094" y="457"/>
                  </a:lnTo>
                  <a:lnTo>
                    <a:pt x="1092" y="453"/>
                  </a:lnTo>
                  <a:lnTo>
                    <a:pt x="1092" y="453"/>
                  </a:lnTo>
                  <a:lnTo>
                    <a:pt x="1095" y="457"/>
                  </a:lnTo>
                  <a:lnTo>
                    <a:pt x="1097" y="463"/>
                  </a:lnTo>
                  <a:close/>
                  <a:moveTo>
                    <a:pt x="1015" y="154"/>
                  </a:moveTo>
                  <a:lnTo>
                    <a:pt x="1015" y="154"/>
                  </a:lnTo>
                  <a:lnTo>
                    <a:pt x="1017" y="157"/>
                  </a:lnTo>
                  <a:lnTo>
                    <a:pt x="1018" y="159"/>
                  </a:lnTo>
                  <a:lnTo>
                    <a:pt x="1018" y="159"/>
                  </a:lnTo>
                  <a:lnTo>
                    <a:pt x="1020" y="159"/>
                  </a:lnTo>
                  <a:lnTo>
                    <a:pt x="1021" y="159"/>
                  </a:lnTo>
                  <a:lnTo>
                    <a:pt x="1021" y="159"/>
                  </a:lnTo>
                  <a:lnTo>
                    <a:pt x="1022" y="162"/>
                  </a:lnTo>
                  <a:lnTo>
                    <a:pt x="1024" y="163"/>
                  </a:lnTo>
                  <a:lnTo>
                    <a:pt x="1024" y="164"/>
                  </a:lnTo>
                  <a:lnTo>
                    <a:pt x="1021" y="163"/>
                  </a:lnTo>
                  <a:lnTo>
                    <a:pt x="1021" y="163"/>
                  </a:lnTo>
                  <a:lnTo>
                    <a:pt x="1014" y="157"/>
                  </a:lnTo>
                  <a:lnTo>
                    <a:pt x="1014" y="157"/>
                  </a:lnTo>
                  <a:lnTo>
                    <a:pt x="1007" y="150"/>
                  </a:lnTo>
                  <a:lnTo>
                    <a:pt x="1007" y="150"/>
                  </a:lnTo>
                  <a:lnTo>
                    <a:pt x="1015" y="154"/>
                  </a:lnTo>
                  <a:close/>
                  <a:moveTo>
                    <a:pt x="1098" y="478"/>
                  </a:moveTo>
                  <a:lnTo>
                    <a:pt x="1099" y="476"/>
                  </a:lnTo>
                  <a:lnTo>
                    <a:pt x="1099" y="476"/>
                  </a:lnTo>
                  <a:lnTo>
                    <a:pt x="1099" y="477"/>
                  </a:lnTo>
                  <a:lnTo>
                    <a:pt x="1101" y="480"/>
                  </a:lnTo>
                  <a:lnTo>
                    <a:pt x="1099" y="480"/>
                  </a:lnTo>
                  <a:lnTo>
                    <a:pt x="1098" y="478"/>
                  </a:lnTo>
                  <a:close/>
                  <a:moveTo>
                    <a:pt x="1035" y="176"/>
                  </a:moveTo>
                  <a:lnTo>
                    <a:pt x="1035" y="176"/>
                  </a:lnTo>
                  <a:lnTo>
                    <a:pt x="1040" y="179"/>
                  </a:lnTo>
                  <a:lnTo>
                    <a:pt x="1042" y="183"/>
                  </a:lnTo>
                  <a:lnTo>
                    <a:pt x="1042" y="183"/>
                  </a:lnTo>
                  <a:lnTo>
                    <a:pt x="1038" y="180"/>
                  </a:lnTo>
                  <a:lnTo>
                    <a:pt x="1035" y="176"/>
                  </a:lnTo>
                  <a:lnTo>
                    <a:pt x="1035" y="176"/>
                  </a:lnTo>
                  <a:lnTo>
                    <a:pt x="1037" y="177"/>
                  </a:lnTo>
                  <a:lnTo>
                    <a:pt x="1035" y="176"/>
                  </a:lnTo>
                  <a:close/>
                  <a:moveTo>
                    <a:pt x="1114" y="518"/>
                  </a:moveTo>
                  <a:lnTo>
                    <a:pt x="1114" y="518"/>
                  </a:lnTo>
                  <a:lnTo>
                    <a:pt x="1114" y="526"/>
                  </a:lnTo>
                  <a:lnTo>
                    <a:pt x="1114" y="526"/>
                  </a:lnTo>
                  <a:lnTo>
                    <a:pt x="1112" y="526"/>
                  </a:lnTo>
                  <a:lnTo>
                    <a:pt x="1112" y="524"/>
                  </a:lnTo>
                  <a:lnTo>
                    <a:pt x="1111" y="523"/>
                  </a:lnTo>
                  <a:lnTo>
                    <a:pt x="1111" y="523"/>
                  </a:lnTo>
                  <a:lnTo>
                    <a:pt x="1112" y="524"/>
                  </a:lnTo>
                  <a:lnTo>
                    <a:pt x="1112" y="523"/>
                  </a:lnTo>
                  <a:lnTo>
                    <a:pt x="1112" y="520"/>
                  </a:lnTo>
                  <a:lnTo>
                    <a:pt x="1112" y="520"/>
                  </a:lnTo>
                  <a:lnTo>
                    <a:pt x="1111" y="521"/>
                  </a:lnTo>
                  <a:lnTo>
                    <a:pt x="1109" y="520"/>
                  </a:lnTo>
                  <a:lnTo>
                    <a:pt x="1109" y="520"/>
                  </a:lnTo>
                  <a:lnTo>
                    <a:pt x="1109" y="517"/>
                  </a:lnTo>
                  <a:lnTo>
                    <a:pt x="1109" y="514"/>
                  </a:lnTo>
                  <a:lnTo>
                    <a:pt x="1109" y="514"/>
                  </a:lnTo>
                  <a:lnTo>
                    <a:pt x="1111" y="517"/>
                  </a:lnTo>
                  <a:lnTo>
                    <a:pt x="1111" y="517"/>
                  </a:lnTo>
                  <a:lnTo>
                    <a:pt x="1112" y="517"/>
                  </a:lnTo>
                  <a:lnTo>
                    <a:pt x="1114" y="518"/>
                  </a:lnTo>
                  <a:close/>
                  <a:moveTo>
                    <a:pt x="1062" y="199"/>
                  </a:moveTo>
                  <a:lnTo>
                    <a:pt x="1062" y="199"/>
                  </a:lnTo>
                  <a:lnTo>
                    <a:pt x="1070" y="207"/>
                  </a:lnTo>
                  <a:lnTo>
                    <a:pt x="1072" y="210"/>
                  </a:lnTo>
                  <a:lnTo>
                    <a:pt x="1074" y="213"/>
                  </a:lnTo>
                  <a:lnTo>
                    <a:pt x="1074" y="213"/>
                  </a:lnTo>
                  <a:lnTo>
                    <a:pt x="1067" y="204"/>
                  </a:lnTo>
                  <a:lnTo>
                    <a:pt x="1067" y="204"/>
                  </a:lnTo>
                  <a:lnTo>
                    <a:pt x="1070" y="210"/>
                  </a:lnTo>
                  <a:lnTo>
                    <a:pt x="1070" y="210"/>
                  </a:lnTo>
                  <a:lnTo>
                    <a:pt x="1065" y="206"/>
                  </a:lnTo>
                  <a:lnTo>
                    <a:pt x="1062" y="204"/>
                  </a:lnTo>
                  <a:lnTo>
                    <a:pt x="1062" y="204"/>
                  </a:lnTo>
                  <a:lnTo>
                    <a:pt x="1062" y="202"/>
                  </a:lnTo>
                  <a:lnTo>
                    <a:pt x="1062" y="199"/>
                  </a:lnTo>
                  <a:close/>
                  <a:moveTo>
                    <a:pt x="1117" y="538"/>
                  </a:moveTo>
                  <a:lnTo>
                    <a:pt x="1117" y="538"/>
                  </a:lnTo>
                  <a:lnTo>
                    <a:pt x="1115" y="537"/>
                  </a:lnTo>
                  <a:lnTo>
                    <a:pt x="1114" y="536"/>
                  </a:lnTo>
                  <a:lnTo>
                    <a:pt x="1114" y="536"/>
                  </a:lnTo>
                  <a:lnTo>
                    <a:pt x="1115" y="534"/>
                  </a:lnTo>
                  <a:lnTo>
                    <a:pt x="1115" y="534"/>
                  </a:lnTo>
                  <a:lnTo>
                    <a:pt x="1117" y="536"/>
                  </a:lnTo>
                  <a:lnTo>
                    <a:pt x="1117" y="538"/>
                  </a:lnTo>
                  <a:close/>
                  <a:moveTo>
                    <a:pt x="1078" y="217"/>
                  </a:moveTo>
                  <a:lnTo>
                    <a:pt x="1078" y="217"/>
                  </a:lnTo>
                  <a:lnTo>
                    <a:pt x="1079" y="222"/>
                  </a:lnTo>
                  <a:lnTo>
                    <a:pt x="1078" y="223"/>
                  </a:lnTo>
                  <a:lnTo>
                    <a:pt x="1078" y="223"/>
                  </a:lnTo>
                  <a:lnTo>
                    <a:pt x="1078" y="223"/>
                  </a:lnTo>
                  <a:lnTo>
                    <a:pt x="1077" y="223"/>
                  </a:lnTo>
                  <a:lnTo>
                    <a:pt x="1077" y="223"/>
                  </a:lnTo>
                  <a:lnTo>
                    <a:pt x="1074" y="219"/>
                  </a:lnTo>
                  <a:lnTo>
                    <a:pt x="1074" y="219"/>
                  </a:lnTo>
                  <a:lnTo>
                    <a:pt x="1075" y="219"/>
                  </a:lnTo>
                  <a:lnTo>
                    <a:pt x="1075" y="217"/>
                  </a:lnTo>
                  <a:lnTo>
                    <a:pt x="1075" y="217"/>
                  </a:lnTo>
                  <a:lnTo>
                    <a:pt x="1078" y="217"/>
                  </a:lnTo>
                  <a:close/>
                  <a:moveTo>
                    <a:pt x="1117" y="547"/>
                  </a:moveTo>
                  <a:lnTo>
                    <a:pt x="1117" y="547"/>
                  </a:lnTo>
                  <a:lnTo>
                    <a:pt x="1115" y="543"/>
                  </a:lnTo>
                  <a:lnTo>
                    <a:pt x="1115" y="540"/>
                  </a:lnTo>
                  <a:lnTo>
                    <a:pt x="1115" y="540"/>
                  </a:lnTo>
                  <a:lnTo>
                    <a:pt x="1117" y="543"/>
                  </a:lnTo>
                  <a:lnTo>
                    <a:pt x="1117" y="547"/>
                  </a:lnTo>
                  <a:close/>
                  <a:moveTo>
                    <a:pt x="1088" y="229"/>
                  </a:moveTo>
                  <a:lnTo>
                    <a:pt x="1088" y="229"/>
                  </a:lnTo>
                  <a:lnTo>
                    <a:pt x="1082" y="222"/>
                  </a:lnTo>
                  <a:lnTo>
                    <a:pt x="1077" y="214"/>
                  </a:lnTo>
                  <a:lnTo>
                    <a:pt x="1077" y="214"/>
                  </a:lnTo>
                  <a:lnTo>
                    <a:pt x="1085" y="224"/>
                  </a:lnTo>
                  <a:lnTo>
                    <a:pt x="1085" y="224"/>
                  </a:lnTo>
                  <a:lnTo>
                    <a:pt x="1085" y="224"/>
                  </a:lnTo>
                  <a:lnTo>
                    <a:pt x="1085" y="226"/>
                  </a:lnTo>
                  <a:lnTo>
                    <a:pt x="1085" y="226"/>
                  </a:lnTo>
                  <a:lnTo>
                    <a:pt x="1087" y="227"/>
                  </a:lnTo>
                  <a:lnTo>
                    <a:pt x="1088" y="229"/>
                  </a:lnTo>
                  <a:close/>
                  <a:moveTo>
                    <a:pt x="1092" y="237"/>
                  </a:moveTo>
                  <a:lnTo>
                    <a:pt x="1092" y="237"/>
                  </a:lnTo>
                  <a:lnTo>
                    <a:pt x="1092" y="237"/>
                  </a:lnTo>
                  <a:lnTo>
                    <a:pt x="1092" y="237"/>
                  </a:lnTo>
                  <a:lnTo>
                    <a:pt x="1092" y="239"/>
                  </a:lnTo>
                  <a:lnTo>
                    <a:pt x="1092" y="239"/>
                  </a:lnTo>
                  <a:lnTo>
                    <a:pt x="1085" y="232"/>
                  </a:lnTo>
                  <a:lnTo>
                    <a:pt x="1079" y="223"/>
                  </a:lnTo>
                  <a:lnTo>
                    <a:pt x="1079" y="223"/>
                  </a:lnTo>
                  <a:lnTo>
                    <a:pt x="1082" y="224"/>
                  </a:lnTo>
                  <a:lnTo>
                    <a:pt x="1085" y="226"/>
                  </a:lnTo>
                  <a:lnTo>
                    <a:pt x="1085" y="226"/>
                  </a:lnTo>
                  <a:lnTo>
                    <a:pt x="1092" y="237"/>
                  </a:lnTo>
                  <a:close/>
                  <a:moveTo>
                    <a:pt x="1121" y="570"/>
                  </a:moveTo>
                  <a:lnTo>
                    <a:pt x="1121" y="570"/>
                  </a:lnTo>
                  <a:lnTo>
                    <a:pt x="1119" y="566"/>
                  </a:lnTo>
                  <a:lnTo>
                    <a:pt x="1118" y="566"/>
                  </a:lnTo>
                  <a:lnTo>
                    <a:pt x="1118" y="566"/>
                  </a:lnTo>
                  <a:lnTo>
                    <a:pt x="1118" y="566"/>
                  </a:lnTo>
                  <a:lnTo>
                    <a:pt x="1118" y="561"/>
                  </a:lnTo>
                  <a:lnTo>
                    <a:pt x="1117" y="557"/>
                  </a:lnTo>
                  <a:lnTo>
                    <a:pt x="1117" y="557"/>
                  </a:lnTo>
                  <a:lnTo>
                    <a:pt x="1118" y="558"/>
                  </a:lnTo>
                  <a:lnTo>
                    <a:pt x="1119" y="557"/>
                  </a:lnTo>
                  <a:lnTo>
                    <a:pt x="1119" y="557"/>
                  </a:lnTo>
                  <a:lnTo>
                    <a:pt x="1119" y="557"/>
                  </a:lnTo>
                  <a:lnTo>
                    <a:pt x="1119" y="557"/>
                  </a:lnTo>
                  <a:lnTo>
                    <a:pt x="1121" y="563"/>
                  </a:lnTo>
                  <a:lnTo>
                    <a:pt x="1121" y="563"/>
                  </a:lnTo>
                  <a:lnTo>
                    <a:pt x="1121" y="570"/>
                  </a:lnTo>
                  <a:close/>
                  <a:moveTo>
                    <a:pt x="1101" y="242"/>
                  </a:moveTo>
                  <a:lnTo>
                    <a:pt x="1101" y="242"/>
                  </a:lnTo>
                  <a:lnTo>
                    <a:pt x="1101" y="243"/>
                  </a:lnTo>
                  <a:lnTo>
                    <a:pt x="1101" y="244"/>
                  </a:lnTo>
                  <a:lnTo>
                    <a:pt x="1101" y="244"/>
                  </a:lnTo>
                  <a:lnTo>
                    <a:pt x="1104" y="246"/>
                  </a:lnTo>
                  <a:lnTo>
                    <a:pt x="1104" y="246"/>
                  </a:lnTo>
                  <a:lnTo>
                    <a:pt x="1104" y="247"/>
                  </a:lnTo>
                  <a:lnTo>
                    <a:pt x="1104" y="249"/>
                  </a:lnTo>
                  <a:lnTo>
                    <a:pt x="1101" y="246"/>
                  </a:lnTo>
                  <a:lnTo>
                    <a:pt x="1101" y="246"/>
                  </a:lnTo>
                  <a:lnTo>
                    <a:pt x="1099" y="243"/>
                  </a:lnTo>
                  <a:lnTo>
                    <a:pt x="1098" y="242"/>
                  </a:lnTo>
                  <a:lnTo>
                    <a:pt x="1098" y="242"/>
                  </a:lnTo>
                  <a:lnTo>
                    <a:pt x="1098" y="242"/>
                  </a:lnTo>
                  <a:lnTo>
                    <a:pt x="1098" y="242"/>
                  </a:lnTo>
                  <a:lnTo>
                    <a:pt x="1095" y="240"/>
                  </a:lnTo>
                  <a:lnTo>
                    <a:pt x="1095" y="240"/>
                  </a:lnTo>
                  <a:lnTo>
                    <a:pt x="1094" y="237"/>
                  </a:lnTo>
                  <a:lnTo>
                    <a:pt x="1094" y="237"/>
                  </a:lnTo>
                  <a:lnTo>
                    <a:pt x="1098" y="240"/>
                  </a:lnTo>
                  <a:lnTo>
                    <a:pt x="1101" y="242"/>
                  </a:lnTo>
                  <a:close/>
                  <a:moveTo>
                    <a:pt x="1107" y="257"/>
                  </a:moveTo>
                  <a:lnTo>
                    <a:pt x="1107" y="257"/>
                  </a:lnTo>
                  <a:lnTo>
                    <a:pt x="1109" y="262"/>
                  </a:lnTo>
                  <a:lnTo>
                    <a:pt x="1114" y="266"/>
                  </a:lnTo>
                  <a:lnTo>
                    <a:pt x="1114" y="266"/>
                  </a:lnTo>
                  <a:lnTo>
                    <a:pt x="1108" y="262"/>
                  </a:lnTo>
                  <a:lnTo>
                    <a:pt x="1107" y="259"/>
                  </a:lnTo>
                  <a:lnTo>
                    <a:pt x="1107" y="257"/>
                  </a:lnTo>
                  <a:close/>
                  <a:moveTo>
                    <a:pt x="1124" y="276"/>
                  </a:moveTo>
                  <a:lnTo>
                    <a:pt x="1124" y="276"/>
                  </a:lnTo>
                  <a:lnTo>
                    <a:pt x="1127" y="280"/>
                  </a:lnTo>
                  <a:lnTo>
                    <a:pt x="1129" y="284"/>
                  </a:lnTo>
                  <a:lnTo>
                    <a:pt x="1129" y="284"/>
                  </a:lnTo>
                  <a:lnTo>
                    <a:pt x="1127" y="282"/>
                  </a:lnTo>
                  <a:lnTo>
                    <a:pt x="1124" y="277"/>
                  </a:lnTo>
                  <a:lnTo>
                    <a:pt x="1124" y="277"/>
                  </a:lnTo>
                  <a:lnTo>
                    <a:pt x="1124" y="279"/>
                  </a:lnTo>
                  <a:lnTo>
                    <a:pt x="1124" y="279"/>
                  </a:lnTo>
                  <a:lnTo>
                    <a:pt x="1124" y="279"/>
                  </a:lnTo>
                  <a:lnTo>
                    <a:pt x="1124" y="276"/>
                  </a:lnTo>
                  <a:close/>
                  <a:moveTo>
                    <a:pt x="1135" y="300"/>
                  </a:moveTo>
                  <a:lnTo>
                    <a:pt x="1135" y="300"/>
                  </a:lnTo>
                  <a:lnTo>
                    <a:pt x="1132" y="294"/>
                  </a:lnTo>
                  <a:lnTo>
                    <a:pt x="1129" y="290"/>
                  </a:lnTo>
                  <a:lnTo>
                    <a:pt x="1129" y="290"/>
                  </a:lnTo>
                  <a:lnTo>
                    <a:pt x="1134" y="296"/>
                  </a:lnTo>
                  <a:lnTo>
                    <a:pt x="1134" y="296"/>
                  </a:lnTo>
                  <a:lnTo>
                    <a:pt x="1135" y="299"/>
                  </a:lnTo>
                  <a:lnTo>
                    <a:pt x="1135" y="300"/>
                  </a:lnTo>
                  <a:close/>
                  <a:moveTo>
                    <a:pt x="1134" y="297"/>
                  </a:moveTo>
                  <a:lnTo>
                    <a:pt x="1134" y="297"/>
                  </a:lnTo>
                  <a:lnTo>
                    <a:pt x="1135" y="300"/>
                  </a:lnTo>
                  <a:lnTo>
                    <a:pt x="1135" y="300"/>
                  </a:lnTo>
                  <a:lnTo>
                    <a:pt x="1137" y="303"/>
                  </a:lnTo>
                  <a:lnTo>
                    <a:pt x="1135" y="303"/>
                  </a:lnTo>
                  <a:lnTo>
                    <a:pt x="1135" y="303"/>
                  </a:lnTo>
                  <a:lnTo>
                    <a:pt x="1132" y="299"/>
                  </a:lnTo>
                  <a:lnTo>
                    <a:pt x="1132" y="299"/>
                  </a:lnTo>
                  <a:lnTo>
                    <a:pt x="1134" y="299"/>
                  </a:lnTo>
                  <a:lnTo>
                    <a:pt x="1134" y="299"/>
                  </a:lnTo>
                  <a:lnTo>
                    <a:pt x="1134" y="297"/>
                  </a:lnTo>
                  <a:close/>
                  <a:moveTo>
                    <a:pt x="1147" y="320"/>
                  </a:moveTo>
                  <a:lnTo>
                    <a:pt x="1147" y="320"/>
                  </a:lnTo>
                  <a:lnTo>
                    <a:pt x="1141" y="313"/>
                  </a:lnTo>
                  <a:lnTo>
                    <a:pt x="1137" y="306"/>
                  </a:lnTo>
                  <a:lnTo>
                    <a:pt x="1137" y="306"/>
                  </a:lnTo>
                  <a:lnTo>
                    <a:pt x="1142" y="313"/>
                  </a:lnTo>
                  <a:lnTo>
                    <a:pt x="1147" y="320"/>
                  </a:lnTo>
                  <a:close/>
                  <a:moveTo>
                    <a:pt x="1152" y="323"/>
                  </a:moveTo>
                  <a:lnTo>
                    <a:pt x="1152" y="323"/>
                  </a:lnTo>
                  <a:lnTo>
                    <a:pt x="1149" y="321"/>
                  </a:lnTo>
                  <a:lnTo>
                    <a:pt x="1147" y="317"/>
                  </a:lnTo>
                  <a:lnTo>
                    <a:pt x="1142" y="310"/>
                  </a:lnTo>
                  <a:lnTo>
                    <a:pt x="1142" y="310"/>
                  </a:lnTo>
                  <a:lnTo>
                    <a:pt x="1148" y="316"/>
                  </a:lnTo>
                  <a:lnTo>
                    <a:pt x="1152" y="323"/>
                  </a:lnTo>
                  <a:close/>
                  <a:moveTo>
                    <a:pt x="1161" y="350"/>
                  </a:moveTo>
                  <a:lnTo>
                    <a:pt x="1161" y="350"/>
                  </a:lnTo>
                  <a:lnTo>
                    <a:pt x="1161" y="350"/>
                  </a:lnTo>
                  <a:lnTo>
                    <a:pt x="1161" y="353"/>
                  </a:lnTo>
                  <a:lnTo>
                    <a:pt x="1161" y="353"/>
                  </a:lnTo>
                  <a:lnTo>
                    <a:pt x="1157" y="347"/>
                  </a:lnTo>
                  <a:lnTo>
                    <a:pt x="1154" y="340"/>
                  </a:lnTo>
                  <a:lnTo>
                    <a:pt x="1154" y="340"/>
                  </a:lnTo>
                  <a:lnTo>
                    <a:pt x="1158" y="347"/>
                  </a:lnTo>
                  <a:lnTo>
                    <a:pt x="1161" y="350"/>
                  </a:lnTo>
                  <a:close/>
                  <a:moveTo>
                    <a:pt x="1192" y="411"/>
                  </a:moveTo>
                  <a:lnTo>
                    <a:pt x="1192" y="411"/>
                  </a:lnTo>
                  <a:lnTo>
                    <a:pt x="1191" y="410"/>
                  </a:lnTo>
                  <a:lnTo>
                    <a:pt x="1191" y="411"/>
                  </a:lnTo>
                  <a:lnTo>
                    <a:pt x="1192" y="416"/>
                  </a:lnTo>
                  <a:lnTo>
                    <a:pt x="1192" y="416"/>
                  </a:lnTo>
                  <a:lnTo>
                    <a:pt x="1189" y="410"/>
                  </a:lnTo>
                  <a:lnTo>
                    <a:pt x="1189" y="409"/>
                  </a:lnTo>
                  <a:lnTo>
                    <a:pt x="1191" y="407"/>
                  </a:lnTo>
                  <a:lnTo>
                    <a:pt x="1191" y="407"/>
                  </a:lnTo>
                  <a:lnTo>
                    <a:pt x="1191" y="410"/>
                  </a:lnTo>
                  <a:lnTo>
                    <a:pt x="1192" y="411"/>
                  </a:lnTo>
                  <a:close/>
                  <a:moveTo>
                    <a:pt x="1172" y="874"/>
                  </a:moveTo>
                  <a:lnTo>
                    <a:pt x="1172" y="874"/>
                  </a:lnTo>
                  <a:lnTo>
                    <a:pt x="1171" y="878"/>
                  </a:lnTo>
                  <a:lnTo>
                    <a:pt x="1168" y="881"/>
                  </a:lnTo>
                  <a:lnTo>
                    <a:pt x="1168" y="881"/>
                  </a:lnTo>
                  <a:lnTo>
                    <a:pt x="1169" y="874"/>
                  </a:lnTo>
                  <a:lnTo>
                    <a:pt x="1172" y="868"/>
                  </a:lnTo>
                  <a:lnTo>
                    <a:pt x="1172" y="868"/>
                  </a:lnTo>
                  <a:lnTo>
                    <a:pt x="1174" y="865"/>
                  </a:lnTo>
                  <a:lnTo>
                    <a:pt x="1174" y="865"/>
                  </a:lnTo>
                  <a:lnTo>
                    <a:pt x="1172" y="871"/>
                  </a:lnTo>
                  <a:lnTo>
                    <a:pt x="1172" y="874"/>
                  </a:lnTo>
                  <a:close/>
                  <a:moveTo>
                    <a:pt x="1154" y="907"/>
                  </a:moveTo>
                  <a:lnTo>
                    <a:pt x="1154" y="907"/>
                  </a:lnTo>
                  <a:lnTo>
                    <a:pt x="1157" y="904"/>
                  </a:lnTo>
                  <a:lnTo>
                    <a:pt x="1158" y="900"/>
                  </a:lnTo>
                  <a:lnTo>
                    <a:pt x="1159" y="898"/>
                  </a:lnTo>
                  <a:lnTo>
                    <a:pt x="1161" y="898"/>
                  </a:lnTo>
                  <a:lnTo>
                    <a:pt x="1161" y="898"/>
                  </a:lnTo>
                  <a:lnTo>
                    <a:pt x="1157" y="904"/>
                  </a:lnTo>
                  <a:lnTo>
                    <a:pt x="1155" y="907"/>
                  </a:lnTo>
                  <a:lnTo>
                    <a:pt x="1154" y="907"/>
                  </a:lnTo>
                  <a:close/>
                  <a:moveTo>
                    <a:pt x="798" y="1096"/>
                  </a:moveTo>
                  <a:lnTo>
                    <a:pt x="798" y="1096"/>
                  </a:lnTo>
                  <a:lnTo>
                    <a:pt x="800" y="1095"/>
                  </a:lnTo>
                  <a:lnTo>
                    <a:pt x="800" y="1095"/>
                  </a:lnTo>
                  <a:lnTo>
                    <a:pt x="798" y="1095"/>
                  </a:lnTo>
                  <a:lnTo>
                    <a:pt x="798" y="1095"/>
                  </a:lnTo>
                  <a:lnTo>
                    <a:pt x="796" y="1095"/>
                  </a:lnTo>
                  <a:lnTo>
                    <a:pt x="798" y="1092"/>
                  </a:lnTo>
                  <a:lnTo>
                    <a:pt x="798" y="1092"/>
                  </a:lnTo>
                  <a:lnTo>
                    <a:pt x="801" y="1092"/>
                  </a:lnTo>
                  <a:lnTo>
                    <a:pt x="804" y="1092"/>
                  </a:lnTo>
                  <a:lnTo>
                    <a:pt x="804" y="1092"/>
                  </a:lnTo>
                  <a:lnTo>
                    <a:pt x="803" y="1094"/>
                  </a:lnTo>
                  <a:lnTo>
                    <a:pt x="801" y="1095"/>
                  </a:lnTo>
                  <a:lnTo>
                    <a:pt x="798" y="1096"/>
                  </a:lnTo>
                  <a:close/>
                  <a:moveTo>
                    <a:pt x="807" y="1089"/>
                  </a:moveTo>
                  <a:lnTo>
                    <a:pt x="807" y="1089"/>
                  </a:lnTo>
                  <a:lnTo>
                    <a:pt x="810" y="1088"/>
                  </a:lnTo>
                  <a:lnTo>
                    <a:pt x="810" y="1088"/>
                  </a:lnTo>
                  <a:lnTo>
                    <a:pt x="811" y="1086"/>
                  </a:lnTo>
                  <a:lnTo>
                    <a:pt x="811" y="1085"/>
                  </a:lnTo>
                  <a:lnTo>
                    <a:pt x="813" y="1085"/>
                  </a:lnTo>
                  <a:lnTo>
                    <a:pt x="813" y="1085"/>
                  </a:lnTo>
                  <a:lnTo>
                    <a:pt x="813" y="1085"/>
                  </a:lnTo>
                  <a:lnTo>
                    <a:pt x="814" y="1086"/>
                  </a:lnTo>
                  <a:lnTo>
                    <a:pt x="814" y="1086"/>
                  </a:lnTo>
                  <a:lnTo>
                    <a:pt x="814" y="1086"/>
                  </a:lnTo>
                  <a:lnTo>
                    <a:pt x="813" y="1088"/>
                  </a:lnTo>
                  <a:lnTo>
                    <a:pt x="811" y="1089"/>
                  </a:lnTo>
                  <a:lnTo>
                    <a:pt x="810" y="1091"/>
                  </a:lnTo>
                  <a:lnTo>
                    <a:pt x="807" y="1094"/>
                  </a:lnTo>
                  <a:lnTo>
                    <a:pt x="807" y="1094"/>
                  </a:lnTo>
                  <a:lnTo>
                    <a:pt x="804" y="1092"/>
                  </a:lnTo>
                  <a:lnTo>
                    <a:pt x="806" y="1091"/>
                  </a:lnTo>
                  <a:lnTo>
                    <a:pt x="807" y="1089"/>
                  </a:lnTo>
                  <a:close/>
                  <a:moveTo>
                    <a:pt x="1094" y="1001"/>
                  </a:moveTo>
                  <a:lnTo>
                    <a:pt x="1094" y="1001"/>
                  </a:lnTo>
                  <a:lnTo>
                    <a:pt x="1091" y="1007"/>
                  </a:lnTo>
                  <a:lnTo>
                    <a:pt x="1087" y="1009"/>
                  </a:lnTo>
                  <a:lnTo>
                    <a:pt x="1087" y="1009"/>
                  </a:lnTo>
                  <a:lnTo>
                    <a:pt x="1088" y="1007"/>
                  </a:lnTo>
                  <a:lnTo>
                    <a:pt x="1091" y="1002"/>
                  </a:lnTo>
                  <a:lnTo>
                    <a:pt x="1091" y="1002"/>
                  </a:lnTo>
                  <a:lnTo>
                    <a:pt x="1092" y="1001"/>
                  </a:lnTo>
                  <a:lnTo>
                    <a:pt x="1092" y="1001"/>
                  </a:lnTo>
                  <a:lnTo>
                    <a:pt x="1092" y="1002"/>
                  </a:lnTo>
                  <a:lnTo>
                    <a:pt x="1094" y="1001"/>
                  </a:lnTo>
                  <a:close/>
                  <a:moveTo>
                    <a:pt x="786" y="1101"/>
                  </a:moveTo>
                  <a:lnTo>
                    <a:pt x="786" y="1101"/>
                  </a:lnTo>
                  <a:lnTo>
                    <a:pt x="784" y="1101"/>
                  </a:lnTo>
                  <a:lnTo>
                    <a:pt x="783" y="1101"/>
                  </a:lnTo>
                  <a:lnTo>
                    <a:pt x="783" y="1099"/>
                  </a:lnTo>
                  <a:lnTo>
                    <a:pt x="783" y="1099"/>
                  </a:lnTo>
                  <a:lnTo>
                    <a:pt x="786" y="1098"/>
                  </a:lnTo>
                  <a:lnTo>
                    <a:pt x="789" y="1096"/>
                  </a:lnTo>
                  <a:lnTo>
                    <a:pt x="790" y="1096"/>
                  </a:lnTo>
                  <a:lnTo>
                    <a:pt x="790" y="1096"/>
                  </a:lnTo>
                  <a:lnTo>
                    <a:pt x="786" y="1101"/>
                  </a:lnTo>
                  <a:close/>
                  <a:moveTo>
                    <a:pt x="1077" y="1019"/>
                  </a:moveTo>
                  <a:lnTo>
                    <a:pt x="1077" y="1019"/>
                  </a:lnTo>
                  <a:lnTo>
                    <a:pt x="1079" y="1015"/>
                  </a:lnTo>
                  <a:lnTo>
                    <a:pt x="1082" y="1012"/>
                  </a:lnTo>
                  <a:lnTo>
                    <a:pt x="1082" y="1012"/>
                  </a:lnTo>
                  <a:lnTo>
                    <a:pt x="1081" y="1017"/>
                  </a:lnTo>
                  <a:lnTo>
                    <a:pt x="1078" y="1019"/>
                  </a:lnTo>
                  <a:lnTo>
                    <a:pt x="1078" y="1019"/>
                  </a:lnTo>
                  <a:lnTo>
                    <a:pt x="1077" y="1019"/>
                  </a:lnTo>
                  <a:close/>
                  <a:moveTo>
                    <a:pt x="783" y="1102"/>
                  </a:moveTo>
                  <a:lnTo>
                    <a:pt x="783" y="1102"/>
                  </a:lnTo>
                  <a:lnTo>
                    <a:pt x="780" y="1104"/>
                  </a:lnTo>
                  <a:lnTo>
                    <a:pt x="777" y="1104"/>
                  </a:lnTo>
                  <a:lnTo>
                    <a:pt x="777" y="1104"/>
                  </a:lnTo>
                  <a:lnTo>
                    <a:pt x="779" y="1102"/>
                  </a:lnTo>
                  <a:lnTo>
                    <a:pt x="780" y="1101"/>
                  </a:lnTo>
                  <a:lnTo>
                    <a:pt x="780" y="1101"/>
                  </a:lnTo>
                  <a:lnTo>
                    <a:pt x="780" y="1102"/>
                  </a:lnTo>
                  <a:lnTo>
                    <a:pt x="783" y="1102"/>
                  </a:lnTo>
                  <a:close/>
                  <a:moveTo>
                    <a:pt x="800" y="1206"/>
                  </a:moveTo>
                  <a:lnTo>
                    <a:pt x="800" y="1206"/>
                  </a:lnTo>
                  <a:lnTo>
                    <a:pt x="806" y="1204"/>
                  </a:lnTo>
                  <a:lnTo>
                    <a:pt x="811" y="1202"/>
                  </a:lnTo>
                  <a:lnTo>
                    <a:pt x="811" y="1202"/>
                  </a:lnTo>
                  <a:lnTo>
                    <a:pt x="808" y="1204"/>
                  </a:lnTo>
                  <a:lnTo>
                    <a:pt x="808" y="1204"/>
                  </a:lnTo>
                  <a:lnTo>
                    <a:pt x="804" y="1206"/>
                  </a:lnTo>
                  <a:lnTo>
                    <a:pt x="804" y="1206"/>
                  </a:lnTo>
                  <a:lnTo>
                    <a:pt x="801" y="1206"/>
                  </a:lnTo>
                  <a:lnTo>
                    <a:pt x="800" y="1206"/>
                  </a:lnTo>
                  <a:close/>
                  <a:moveTo>
                    <a:pt x="781" y="1212"/>
                  </a:moveTo>
                  <a:lnTo>
                    <a:pt x="781" y="1212"/>
                  </a:lnTo>
                  <a:lnTo>
                    <a:pt x="790" y="1209"/>
                  </a:lnTo>
                  <a:lnTo>
                    <a:pt x="798" y="1208"/>
                  </a:lnTo>
                  <a:lnTo>
                    <a:pt x="798" y="1208"/>
                  </a:lnTo>
                  <a:lnTo>
                    <a:pt x="790" y="1211"/>
                  </a:lnTo>
                  <a:lnTo>
                    <a:pt x="781" y="1212"/>
                  </a:lnTo>
                  <a:close/>
                  <a:moveTo>
                    <a:pt x="774" y="1215"/>
                  </a:moveTo>
                  <a:lnTo>
                    <a:pt x="774" y="1215"/>
                  </a:lnTo>
                  <a:lnTo>
                    <a:pt x="779" y="1214"/>
                  </a:lnTo>
                  <a:lnTo>
                    <a:pt x="779" y="1214"/>
                  </a:lnTo>
                  <a:lnTo>
                    <a:pt x="781" y="1214"/>
                  </a:lnTo>
                  <a:lnTo>
                    <a:pt x="781" y="1214"/>
                  </a:lnTo>
                  <a:lnTo>
                    <a:pt x="779" y="1215"/>
                  </a:lnTo>
                  <a:lnTo>
                    <a:pt x="774" y="1215"/>
                  </a:lnTo>
                  <a:close/>
                  <a:moveTo>
                    <a:pt x="432" y="1148"/>
                  </a:moveTo>
                  <a:lnTo>
                    <a:pt x="432" y="1148"/>
                  </a:lnTo>
                  <a:lnTo>
                    <a:pt x="431" y="1146"/>
                  </a:lnTo>
                  <a:lnTo>
                    <a:pt x="431" y="1145"/>
                  </a:lnTo>
                  <a:lnTo>
                    <a:pt x="435" y="1145"/>
                  </a:lnTo>
                  <a:lnTo>
                    <a:pt x="435" y="1145"/>
                  </a:lnTo>
                  <a:lnTo>
                    <a:pt x="443" y="1148"/>
                  </a:lnTo>
                  <a:lnTo>
                    <a:pt x="455" y="1149"/>
                  </a:lnTo>
                  <a:lnTo>
                    <a:pt x="455" y="1149"/>
                  </a:lnTo>
                  <a:lnTo>
                    <a:pt x="456" y="1151"/>
                  </a:lnTo>
                  <a:lnTo>
                    <a:pt x="456" y="1151"/>
                  </a:lnTo>
                  <a:lnTo>
                    <a:pt x="456" y="1152"/>
                  </a:lnTo>
                  <a:lnTo>
                    <a:pt x="456" y="1152"/>
                  </a:lnTo>
                  <a:lnTo>
                    <a:pt x="450" y="1151"/>
                  </a:lnTo>
                  <a:lnTo>
                    <a:pt x="450" y="1151"/>
                  </a:lnTo>
                  <a:lnTo>
                    <a:pt x="445" y="1151"/>
                  </a:lnTo>
                  <a:lnTo>
                    <a:pt x="445" y="1151"/>
                  </a:lnTo>
                  <a:lnTo>
                    <a:pt x="432" y="1148"/>
                  </a:lnTo>
                  <a:close/>
                  <a:moveTo>
                    <a:pt x="405" y="1136"/>
                  </a:moveTo>
                  <a:lnTo>
                    <a:pt x="405" y="1136"/>
                  </a:lnTo>
                  <a:lnTo>
                    <a:pt x="403" y="1135"/>
                  </a:lnTo>
                  <a:lnTo>
                    <a:pt x="403" y="1134"/>
                  </a:lnTo>
                  <a:lnTo>
                    <a:pt x="403" y="1134"/>
                  </a:lnTo>
                  <a:lnTo>
                    <a:pt x="423" y="1141"/>
                  </a:lnTo>
                  <a:lnTo>
                    <a:pt x="423" y="1141"/>
                  </a:lnTo>
                  <a:lnTo>
                    <a:pt x="405" y="1136"/>
                  </a:lnTo>
                  <a:close/>
                  <a:moveTo>
                    <a:pt x="563" y="1236"/>
                  </a:moveTo>
                  <a:lnTo>
                    <a:pt x="563" y="1236"/>
                  </a:lnTo>
                  <a:lnTo>
                    <a:pt x="569" y="1235"/>
                  </a:lnTo>
                  <a:lnTo>
                    <a:pt x="569" y="1235"/>
                  </a:lnTo>
                  <a:lnTo>
                    <a:pt x="573" y="1235"/>
                  </a:lnTo>
                  <a:lnTo>
                    <a:pt x="573" y="1235"/>
                  </a:lnTo>
                  <a:lnTo>
                    <a:pt x="577" y="1236"/>
                  </a:lnTo>
                  <a:lnTo>
                    <a:pt x="577" y="1236"/>
                  </a:lnTo>
                  <a:lnTo>
                    <a:pt x="570" y="1236"/>
                  </a:lnTo>
                  <a:lnTo>
                    <a:pt x="563" y="1236"/>
                  </a:lnTo>
                  <a:close/>
                  <a:moveTo>
                    <a:pt x="373" y="1126"/>
                  </a:moveTo>
                  <a:lnTo>
                    <a:pt x="373" y="1126"/>
                  </a:lnTo>
                  <a:lnTo>
                    <a:pt x="386" y="1129"/>
                  </a:lnTo>
                  <a:lnTo>
                    <a:pt x="392" y="1131"/>
                  </a:lnTo>
                  <a:lnTo>
                    <a:pt x="396" y="1131"/>
                  </a:lnTo>
                  <a:lnTo>
                    <a:pt x="396" y="1131"/>
                  </a:lnTo>
                  <a:lnTo>
                    <a:pt x="399" y="1134"/>
                  </a:lnTo>
                  <a:lnTo>
                    <a:pt x="399" y="1134"/>
                  </a:lnTo>
                  <a:lnTo>
                    <a:pt x="388" y="1132"/>
                  </a:lnTo>
                  <a:lnTo>
                    <a:pt x="388" y="1132"/>
                  </a:lnTo>
                  <a:lnTo>
                    <a:pt x="382" y="1129"/>
                  </a:lnTo>
                  <a:lnTo>
                    <a:pt x="373" y="1126"/>
                  </a:lnTo>
                  <a:close/>
                  <a:moveTo>
                    <a:pt x="479" y="1232"/>
                  </a:moveTo>
                  <a:lnTo>
                    <a:pt x="479" y="1232"/>
                  </a:lnTo>
                  <a:lnTo>
                    <a:pt x="472" y="1231"/>
                  </a:lnTo>
                  <a:lnTo>
                    <a:pt x="472" y="1231"/>
                  </a:lnTo>
                  <a:lnTo>
                    <a:pt x="470" y="1229"/>
                  </a:lnTo>
                  <a:lnTo>
                    <a:pt x="472" y="1229"/>
                  </a:lnTo>
                  <a:lnTo>
                    <a:pt x="473" y="1228"/>
                  </a:lnTo>
                  <a:lnTo>
                    <a:pt x="470" y="1226"/>
                  </a:lnTo>
                  <a:lnTo>
                    <a:pt x="470" y="1226"/>
                  </a:lnTo>
                  <a:lnTo>
                    <a:pt x="476" y="1226"/>
                  </a:lnTo>
                  <a:lnTo>
                    <a:pt x="482" y="1229"/>
                  </a:lnTo>
                  <a:lnTo>
                    <a:pt x="482" y="1229"/>
                  </a:lnTo>
                  <a:lnTo>
                    <a:pt x="478" y="1228"/>
                  </a:lnTo>
                  <a:lnTo>
                    <a:pt x="475" y="1228"/>
                  </a:lnTo>
                  <a:lnTo>
                    <a:pt x="475" y="1229"/>
                  </a:lnTo>
                  <a:lnTo>
                    <a:pt x="479" y="1232"/>
                  </a:lnTo>
                  <a:close/>
                  <a:moveTo>
                    <a:pt x="308" y="1085"/>
                  </a:moveTo>
                  <a:lnTo>
                    <a:pt x="308" y="1085"/>
                  </a:lnTo>
                  <a:lnTo>
                    <a:pt x="306" y="1084"/>
                  </a:lnTo>
                  <a:lnTo>
                    <a:pt x="308" y="1084"/>
                  </a:lnTo>
                  <a:lnTo>
                    <a:pt x="309" y="1084"/>
                  </a:lnTo>
                  <a:lnTo>
                    <a:pt x="309" y="1084"/>
                  </a:lnTo>
                  <a:lnTo>
                    <a:pt x="312" y="1085"/>
                  </a:lnTo>
                  <a:lnTo>
                    <a:pt x="315" y="1088"/>
                  </a:lnTo>
                  <a:lnTo>
                    <a:pt x="315" y="1088"/>
                  </a:lnTo>
                  <a:lnTo>
                    <a:pt x="311" y="1086"/>
                  </a:lnTo>
                  <a:lnTo>
                    <a:pt x="308" y="1085"/>
                  </a:lnTo>
                  <a:close/>
                  <a:moveTo>
                    <a:pt x="328" y="1129"/>
                  </a:moveTo>
                  <a:lnTo>
                    <a:pt x="328" y="1129"/>
                  </a:lnTo>
                  <a:lnTo>
                    <a:pt x="324" y="1128"/>
                  </a:lnTo>
                  <a:lnTo>
                    <a:pt x="319" y="1128"/>
                  </a:lnTo>
                  <a:lnTo>
                    <a:pt x="319" y="1128"/>
                  </a:lnTo>
                  <a:lnTo>
                    <a:pt x="318" y="1126"/>
                  </a:lnTo>
                  <a:lnTo>
                    <a:pt x="318" y="1125"/>
                  </a:lnTo>
                  <a:lnTo>
                    <a:pt x="319" y="1125"/>
                  </a:lnTo>
                  <a:lnTo>
                    <a:pt x="319" y="1125"/>
                  </a:lnTo>
                  <a:lnTo>
                    <a:pt x="319" y="1125"/>
                  </a:lnTo>
                  <a:lnTo>
                    <a:pt x="316" y="1124"/>
                  </a:lnTo>
                  <a:lnTo>
                    <a:pt x="316" y="1124"/>
                  </a:lnTo>
                  <a:lnTo>
                    <a:pt x="322" y="1126"/>
                  </a:lnTo>
                  <a:lnTo>
                    <a:pt x="325" y="1126"/>
                  </a:lnTo>
                  <a:lnTo>
                    <a:pt x="325" y="1125"/>
                  </a:lnTo>
                  <a:lnTo>
                    <a:pt x="325" y="1125"/>
                  </a:lnTo>
                  <a:lnTo>
                    <a:pt x="326" y="1128"/>
                  </a:lnTo>
                  <a:lnTo>
                    <a:pt x="328" y="1129"/>
                  </a:lnTo>
                  <a:close/>
                  <a:moveTo>
                    <a:pt x="349" y="1176"/>
                  </a:moveTo>
                  <a:lnTo>
                    <a:pt x="349" y="1176"/>
                  </a:lnTo>
                  <a:lnTo>
                    <a:pt x="353" y="1178"/>
                  </a:lnTo>
                  <a:lnTo>
                    <a:pt x="356" y="1179"/>
                  </a:lnTo>
                  <a:lnTo>
                    <a:pt x="356" y="1179"/>
                  </a:lnTo>
                  <a:lnTo>
                    <a:pt x="351" y="1178"/>
                  </a:lnTo>
                  <a:lnTo>
                    <a:pt x="349" y="1176"/>
                  </a:lnTo>
                  <a:lnTo>
                    <a:pt x="349" y="1176"/>
                  </a:lnTo>
                  <a:close/>
                  <a:moveTo>
                    <a:pt x="321" y="1161"/>
                  </a:moveTo>
                  <a:lnTo>
                    <a:pt x="321" y="1161"/>
                  </a:lnTo>
                  <a:lnTo>
                    <a:pt x="329" y="1164"/>
                  </a:lnTo>
                  <a:lnTo>
                    <a:pt x="336" y="1168"/>
                  </a:lnTo>
                  <a:lnTo>
                    <a:pt x="336" y="1168"/>
                  </a:lnTo>
                  <a:lnTo>
                    <a:pt x="328" y="1165"/>
                  </a:lnTo>
                  <a:lnTo>
                    <a:pt x="321" y="1161"/>
                  </a:lnTo>
                  <a:close/>
                  <a:moveTo>
                    <a:pt x="301" y="1148"/>
                  </a:moveTo>
                  <a:lnTo>
                    <a:pt x="301" y="1148"/>
                  </a:lnTo>
                  <a:lnTo>
                    <a:pt x="305" y="1149"/>
                  </a:lnTo>
                  <a:lnTo>
                    <a:pt x="309" y="1154"/>
                  </a:lnTo>
                  <a:lnTo>
                    <a:pt x="309" y="1154"/>
                  </a:lnTo>
                  <a:lnTo>
                    <a:pt x="305" y="1151"/>
                  </a:lnTo>
                  <a:lnTo>
                    <a:pt x="301" y="1148"/>
                  </a:lnTo>
                  <a:close/>
                  <a:moveTo>
                    <a:pt x="298" y="1154"/>
                  </a:moveTo>
                  <a:lnTo>
                    <a:pt x="298" y="1154"/>
                  </a:lnTo>
                  <a:lnTo>
                    <a:pt x="296" y="1152"/>
                  </a:lnTo>
                  <a:lnTo>
                    <a:pt x="295" y="1152"/>
                  </a:lnTo>
                  <a:lnTo>
                    <a:pt x="295" y="1152"/>
                  </a:lnTo>
                  <a:lnTo>
                    <a:pt x="294" y="1151"/>
                  </a:lnTo>
                  <a:lnTo>
                    <a:pt x="296" y="1151"/>
                  </a:lnTo>
                  <a:lnTo>
                    <a:pt x="301" y="1155"/>
                  </a:lnTo>
                  <a:lnTo>
                    <a:pt x="301" y="1155"/>
                  </a:lnTo>
                  <a:lnTo>
                    <a:pt x="298" y="1154"/>
                  </a:lnTo>
                  <a:close/>
                  <a:moveTo>
                    <a:pt x="152" y="1009"/>
                  </a:moveTo>
                  <a:lnTo>
                    <a:pt x="152" y="1009"/>
                  </a:lnTo>
                  <a:lnTo>
                    <a:pt x="155" y="1011"/>
                  </a:lnTo>
                  <a:lnTo>
                    <a:pt x="159" y="1015"/>
                  </a:lnTo>
                  <a:lnTo>
                    <a:pt x="159" y="1015"/>
                  </a:lnTo>
                  <a:lnTo>
                    <a:pt x="157" y="1014"/>
                  </a:lnTo>
                  <a:lnTo>
                    <a:pt x="152" y="10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2" name="Freeform 714"/>
            <p:cNvSpPr/>
            <p:nvPr/>
          </p:nvSpPr>
          <p:spPr bwMode="auto">
            <a:xfrm>
              <a:off x="1635797" y="1546020"/>
              <a:ext cx="3784411" cy="3815131"/>
            </a:xfrm>
            <a:custGeom>
              <a:avLst/>
              <a:gdLst>
                <a:gd name="T0" fmla="*/ 88 w 1231"/>
                <a:gd name="T1" fmla="*/ 651 h 1242"/>
                <a:gd name="T2" fmla="*/ 98 w 1231"/>
                <a:gd name="T3" fmla="*/ 551 h 1242"/>
                <a:gd name="T4" fmla="*/ 184 w 1231"/>
                <a:gd name="T5" fmla="*/ 344 h 1242"/>
                <a:gd name="T6" fmla="*/ 1057 w 1231"/>
                <a:gd name="T7" fmla="*/ 376 h 1242"/>
                <a:gd name="T8" fmla="*/ 808 w 1231"/>
                <a:gd name="T9" fmla="*/ 162 h 1242"/>
                <a:gd name="T10" fmla="*/ 455 w 1231"/>
                <a:gd name="T11" fmla="*/ 147 h 1242"/>
                <a:gd name="T12" fmla="*/ 224 w 1231"/>
                <a:gd name="T13" fmla="*/ 306 h 1242"/>
                <a:gd name="T14" fmla="*/ 134 w 1231"/>
                <a:gd name="T15" fmla="*/ 473 h 1242"/>
                <a:gd name="T16" fmla="*/ 108 w 1231"/>
                <a:gd name="T17" fmla="*/ 637 h 1242"/>
                <a:gd name="T18" fmla="*/ 120 w 1231"/>
                <a:gd name="T19" fmla="*/ 570 h 1242"/>
                <a:gd name="T20" fmla="*/ 177 w 1231"/>
                <a:gd name="T21" fmla="*/ 397 h 1242"/>
                <a:gd name="T22" fmla="*/ 445 w 1231"/>
                <a:gd name="T23" fmla="*/ 169 h 1242"/>
                <a:gd name="T24" fmla="*/ 984 w 1231"/>
                <a:gd name="T25" fmla="*/ 304 h 1242"/>
                <a:gd name="T26" fmla="*/ 964 w 1231"/>
                <a:gd name="T27" fmla="*/ 978 h 1242"/>
                <a:gd name="T28" fmla="*/ 820 w 1231"/>
                <a:gd name="T29" fmla="*/ 1078 h 1242"/>
                <a:gd name="T30" fmla="*/ 438 w 1231"/>
                <a:gd name="T31" fmla="*/ 1121 h 1242"/>
                <a:gd name="T32" fmla="*/ 369 w 1231"/>
                <a:gd name="T33" fmla="*/ 1122 h 1242"/>
                <a:gd name="T34" fmla="*/ 264 w 1231"/>
                <a:gd name="T35" fmla="*/ 1084 h 1242"/>
                <a:gd name="T36" fmla="*/ 130 w 1231"/>
                <a:gd name="T37" fmla="*/ 977 h 1242"/>
                <a:gd name="T38" fmla="*/ 224 w 1231"/>
                <a:gd name="T39" fmla="*/ 1099 h 1242"/>
                <a:gd name="T40" fmla="*/ 315 w 1231"/>
                <a:gd name="T41" fmla="*/ 1171 h 1242"/>
                <a:gd name="T42" fmla="*/ 506 w 1231"/>
                <a:gd name="T43" fmla="*/ 1239 h 1242"/>
                <a:gd name="T44" fmla="*/ 677 w 1231"/>
                <a:gd name="T45" fmla="*/ 1239 h 1242"/>
                <a:gd name="T46" fmla="*/ 841 w 1231"/>
                <a:gd name="T47" fmla="*/ 1189 h 1242"/>
                <a:gd name="T48" fmla="*/ 1031 w 1231"/>
                <a:gd name="T49" fmla="*/ 1067 h 1242"/>
                <a:gd name="T50" fmla="*/ 1121 w 1231"/>
                <a:gd name="T51" fmla="*/ 964 h 1242"/>
                <a:gd name="T52" fmla="*/ 1208 w 1231"/>
                <a:gd name="T53" fmla="*/ 777 h 1242"/>
                <a:gd name="T54" fmla="*/ 1229 w 1231"/>
                <a:gd name="T55" fmla="*/ 593 h 1242"/>
                <a:gd name="T56" fmla="*/ 1199 w 1231"/>
                <a:gd name="T57" fmla="*/ 424 h 1242"/>
                <a:gd name="T58" fmla="*/ 1118 w 1231"/>
                <a:gd name="T59" fmla="*/ 264 h 1242"/>
                <a:gd name="T60" fmla="*/ 1030 w 1231"/>
                <a:gd name="T61" fmla="*/ 164 h 1242"/>
                <a:gd name="T62" fmla="*/ 988 w 1231"/>
                <a:gd name="T63" fmla="*/ 122 h 1242"/>
                <a:gd name="T64" fmla="*/ 893 w 1231"/>
                <a:gd name="T65" fmla="*/ 72 h 1242"/>
                <a:gd name="T66" fmla="*/ 816 w 1231"/>
                <a:gd name="T67" fmla="*/ 39 h 1242"/>
                <a:gd name="T68" fmla="*/ 642 w 1231"/>
                <a:gd name="T69" fmla="*/ 6 h 1242"/>
                <a:gd name="T70" fmla="*/ 509 w 1231"/>
                <a:gd name="T71" fmla="*/ 12 h 1242"/>
                <a:gd name="T72" fmla="*/ 402 w 1231"/>
                <a:gd name="T73" fmla="*/ 43 h 1242"/>
                <a:gd name="T74" fmla="*/ 199 w 1231"/>
                <a:gd name="T75" fmla="*/ 160 h 1242"/>
                <a:gd name="T76" fmla="*/ 82 w 1231"/>
                <a:gd name="T77" fmla="*/ 300 h 1242"/>
                <a:gd name="T78" fmla="*/ 27 w 1231"/>
                <a:gd name="T79" fmla="*/ 409 h 1242"/>
                <a:gd name="T80" fmla="*/ 63 w 1231"/>
                <a:gd name="T81" fmla="*/ 346 h 1242"/>
                <a:gd name="T82" fmla="*/ 165 w 1231"/>
                <a:gd name="T83" fmla="*/ 212 h 1242"/>
                <a:gd name="T84" fmla="*/ 269 w 1231"/>
                <a:gd name="T85" fmla="*/ 129 h 1242"/>
                <a:gd name="T86" fmla="*/ 308 w 1231"/>
                <a:gd name="T87" fmla="*/ 110 h 1242"/>
                <a:gd name="T88" fmla="*/ 215 w 1231"/>
                <a:gd name="T89" fmla="*/ 174 h 1242"/>
                <a:gd name="T90" fmla="*/ 95 w 1231"/>
                <a:gd name="T91" fmla="*/ 316 h 1242"/>
                <a:gd name="T92" fmla="*/ 13 w 1231"/>
                <a:gd name="T93" fmla="*/ 520 h 1242"/>
                <a:gd name="T94" fmla="*/ 5 w 1231"/>
                <a:gd name="T95" fmla="*/ 624 h 1242"/>
                <a:gd name="T96" fmla="*/ 11 w 1231"/>
                <a:gd name="T97" fmla="*/ 723 h 1242"/>
                <a:gd name="T98" fmla="*/ 21 w 1231"/>
                <a:gd name="T99" fmla="*/ 568 h 1242"/>
                <a:gd name="T100" fmla="*/ 24 w 1231"/>
                <a:gd name="T101" fmla="*/ 675 h 1242"/>
                <a:gd name="T102" fmla="*/ 47 w 1231"/>
                <a:gd name="T103" fmla="*/ 506 h 1242"/>
                <a:gd name="T104" fmla="*/ 138 w 1231"/>
                <a:gd name="T105" fmla="*/ 304 h 1242"/>
                <a:gd name="T106" fmla="*/ 256 w 1231"/>
                <a:gd name="T107" fmla="*/ 180 h 1242"/>
                <a:gd name="T108" fmla="*/ 482 w 1231"/>
                <a:gd name="T109" fmla="*/ 77 h 1242"/>
                <a:gd name="T110" fmla="*/ 449 w 1231"/>
                <a:gd name="T111" fmla="*/ 89 h 1242"/>
                <a:gd name="T112" fmla="*/ 308 w 1231"/>
                <a:gd name="T113" fmla="*/ 153 h 1242"/>
                <a:gd name="T114" fmla="*/ 179 w 1231"/>
                <a:gd name="T115" fmla="*/ 272 h 1242"/>
                <a:gd name="T116" fmla="*/ 87 w 1231"/>
                <a:gd name="T117" fmla="*/ 440 h 1242"/>
                <a:gd name="T118" fmla="*/ 71 w 1231"/>
                <a:gd name="T119" fmla="*/ 517 h 1242"/>
                <a:gd name="T120" fmla="*/ 64 w 1231"/>
                <a:gd name="T121" fmla="*/ 615 h 1242"/>
                <a:gd name="T122" fmla="*/ 77 w 1231"/>
                <a:gd name="T123" fmla="*/ 570 h 1242"/>
                <a:gd name="T124" fmla="*/ 87 w 1231"/>
                <a:gd name="T125" fmla="*/ 751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1" h="1242">
                  <a:moveTo>
                    <a:pt x="111" y="805"/>
                  </a:moveTo>
                  <a:lnTo>
                    <a:pt x="111" y="805"/>
                  </a:lnTo>
                  <a:lnTo>
                    <a:pt x="110" y="802"/>
                  </a:lnTo>
                  <a:lnTo>
                    <a:pt x="110" y="804"/>
                  </a:lnTo>
                  <a:lnTo>
                    <a:pt x="110" y="804"/>
                  </a:lnTo>
                  <a:lnTo>
                    <a:pt x="108" y="800"/>
                  </a:lnTo>
                  <a:lnTo>
                    <a:pt x="108" y="800"/>
                  </a:lnTo>
                  <a:lnTo>
                    <a:pt x="107" y="797"/>
                  </a:lnTo>
                  <a:lnTo>
                    <a:pt x="105" y="795"/>
                  </a:lnTo>
                  <a:lnTo>
                    <a:pt x="105" y="795"/>
                  </a:lnTo>
                  <a:lnTo>
                    <a:pt x="102" y="787"/>
                  </a:lnTo>
                  <a:lnTo>
                    <a:pt x="102" y="787"/>
                  </a:lnTo>
                  <a:lnTo>
                    <a:pt x="98" y="778"/>
                  </a:lnTo>
                  <a:lnTo>
                    <a:pt x="98" y="778"/>
                  </a:lnTo>
                  <a:lnTo>
                    <a:pt x="98" y="772"/>
                  </a:lnTo>
                  <a:lnTo>
                    <a:pt x="97" y="767"/>
                  </a:lnTo>
                  <a:lnTo>
                    <a:pt x="95" y="761"/>
                  </a:lnTo>
                  <a:lnTo>
                    <a:pt x="94" y="755"/>
                  </a:lnTo>
                  <a:lnTo>
                    <a:pt x="94" y="755"/>
                  </a:lnTo>
                  <a:lnTo>
                    <a:pt x="95" y="758"/>
                  </a:lnTo>
                  <a:lnTo>
                    <a:pt x="97" y="761"/>
                  </a:lnTo>
                  <a:lnTo>
                    <a:pt x="97" y="761"/>
                  </a:lnTo>
                  <a:lnTo>
                    <a:pt x="98" y="765"/>
                  </a:lnTo>
                  <a:lnTo>
                    <a:pt x="101" y="768"/>
                  </a:lnTo>
                  <a:lnTo>
                    <a:pt x="101" y="768"/>
                  </a:lnTo>
                  <a:lnTo>
                    <a:pt x="98" y="760"/>
                  </a:lnTo>
                  <a:lnTo>
                    <a:pt x="97" y="753"/>
                  </a:lnTo>
                  <a:lnTo>
                    <a:pt x="97" y="753"/>
                  </a:lnTo>
                  <a:lnTo>
                    <a:pt x="95" y="745"/>
                  </a:lnTo>
                  <a:lnTo>
                    <a:pt x="92" y="738"/>
                  </a:lnTo>
                  <a:lnTo>
                    <a:pt x="92" y="738"/>
                  </a:lnTo>
                  <a:lnTo>
                    <a:pt x="92" y="734"/>
                  </a:lnTo>
                  <a:lnTo>
                    <a:pt x="92" y="731"/>
                  </a:lnTo>
                  <a:lnTo>
                    <a:pt x="91" y="728"/>
                  </a:lnTo>
                  <a:lnTo>
                    <a:pt x="91" y="728"/>
                  </a:lnTo>
                  <a:lnTo>
                    <a:pt x="92" y="727"/>
                  </a:lnTo>
                  <a:lnTo>
                    <a:pt x="92" y="727"/>
                  </a:lnTo>
                  <a:lnTo>
                    <a:pt x="95" y="731"/>
                  </a:lnTo>
                  <a:lnTo>
                    <a:pt x="95" y="731"/>
                  </a:lnTo>
                  <a:lnTo>
                    <a:pt x="95" y="728"/>
                  </a:lnTo>
                  <a:lnTo>
                    <a:pt x="94" y="725"/>
                  </a:lnTo>
                  <a:lnTo>
                    <a:pt x="94" y="725"/>
                  </a:lnTo>
                  <a:lnTo>
                    <a:pt x="94" y="725"/>
                  </a:lnTo>
                  <a:lnTo>
                    <a:pt x="92" y="725"/>
                  </a:lnTo>
                  <a:lnTo>
                    <a:pt x="91" y="724"/>
                  </a:lnTo>
                  <a:lnTo>
                    <a:pt x="91" y="725"/>
                  </a:lnTo>
                  <a:lnTo>
                    <a:pt x="91" y="725"/>
                  </a:lnTo>
                  <a:lnTo>
                    <a:pt x="91" y="721"/>
                  </a:lnTo>
                  <a:lnTo>
                    <a:pt x="90" y="715"/>
                  </a:lnTo>
                  <a:lnTo>
                    <a:pt x="90" y="715"/>
                  </a:lnTo>
                  <a:lnTo>
                    <a:pt x="88" y="710"/>
                  </a:lnTo>
                  <a:lnTo>
                    <a:pt x="88" y="710"/>
                  </a:lnTo>
                  <a:lnTo>
                    <a:pt x="87" y="704"/>
                  </a:lnTo>
                  <a:lnTo>
                    <a:pt x="87" y="704"/>
                  </a:lnTo>
                  <a:lnTo>
                    <a:pt x="90" y="711"/>
                  </a:lnTo>
                  <a:lnTo>
                    <a:pt x="90" y="711"/>
                  </a:lnTo>
                  <a:lnTo>
                    <a:pt x="91" y="715"/>
                  </a:lnTo>
                  <a:lnTo>
                    <a:pt x="91" y="715"/>
                  </a:lnTo>
                  <a:lnTo>
                    <a:pt x="92" y="721"/>
                  </a:lnTo>
                  <a:lnTo>
                    <a:pt x="92" y="721"/>
                  </a:lnTo>
                  <a:lnTo>
                    <a:pt x="94" y="718"/>
                  </a:lnTo>
                  <a:lnTo>
                    <a:pt x="92" y="713"/>
                  </a:lnTo>
                  <a:lnTo>
                    <a:pt x="92" y="713"/>
                  </a:lnTo>
                  <a:lnTo>
                    <a:pt x="90" y="707"/>
                  </a:lnTo>
                  <a:lnTo>
                    <a:pt x="90" y="707"/>
                  </a:lnTo>
                  <a:lnTo>
                    <a:pt x="88" y="701"/>
                  </a:lnTo>
                  <a:lnTo>
                    <a:pt x="88" y="701"/>
                  </a:lnTo>
                  <a:lnTo>
                    <a:pt x="90" y="700"/>
                  </a:lnTo>
                  <a:lnTo>
                    <a:pt x="88" y="697"/>
                  </a:lnTo>
                  <a:lnTo>
                    <a:pt x="88" y="690"/>
                  </a:lnTo>
                  <a:lnTo>
                    <a:pt x="88" y="690"/>
                  </a:lnTo>
                  <a:lnTo>
                    <a:pt x="87" y="690"/>
                  </a:lnTo>
                  <a:lnTo>
                    <a:pt x="87" y="690"/>
                  </a:lnTo>
                  <a:lnTo>
                    <a:pt x="87" y="690"/>
                  </a:lnTo>
                  <a:lnTo>
                    <a:pt x="85" y="687"/>
                  </a:lnTo>
                  <a:lnTo>
                    <a:pt x="85" y="687"/>
                  </a:lnTo>
                  <a:lnTo>
                    <a:pt x="87" y="687"/>
                  </a:lnTo>
                  <a:lnTo>
                    <a:pt x="87" y="685"/>
                  </a:lnTo>
                  <a:lnTo>
                    <a:pt x="87" y="685"/>
                  </a:lnTo>
                  <a:lnTo>
                    <a:pt x="84" y="660"/>
                  </a:lnTo>
                  <a:lnTo>
                    <a:pt x="84" y="660"/>
                  </a:lnTo>
                  <a:lnTo>
                    <a:pt x="84" y="660"/>
                  </a:lnTo>
                  <a:lnTo>
                    <a:pt x="84" y="660"/>
                  </a:lnTo>
                  <a:lnTo>
                    <a:pt x="88" y="680"/>
                  </a:lnTo>
                  <a:lnTo>
                    <a:pt x="88" y="680"/>
                  </a:lnTo>
                  <a:lnTo>
                    <a:pt x="88" y="668"/>
                  </a:lnTo>
                  <a:lnTo>
                    <a:pt x="88" y="658"/>
                  </a:lnTo>
                  <a:lnTo>
                    <a:pt x="88" y="658"/>
                  </a:lnTo>
                  <a:lnTo>
                    <a:pt x="87" y="658"/>
                  </a:lnTo>
                  <a:lnTo>
                    <a:pt x="87" y="660"/>
                  </a:lnTo>
                  <a:lnTo>
                    <a:pt x="87" y="663"/>
                  </a:lnTo>
                  <a:lnTo>
                    <a:pt x="87" y="663"/>
                  </a:lnTo>
                  <a:lnTo>
                    <a:pt x="85" y="657"/>
                  </a:lnTo>
                  <a:lnTo>
                    <a:pt x="85" y="657"/>
                  </a:lnTo>
                  <a:lnTo>
                    <a:pt x="87" y="655"/>
                  </a:lnTo>
                  <a:lnTo>
                    <a:pt x="87" y="654"/>
                  </a:lnTo>
                  <a:lnTo>
                    <a:pt x="88" y="654"/>
                  </a:lnTo>
                  <a:lnTo>
                    <a:pt x="88" y="651"/>
                  </a:lnTo>
                  <a:lnTo>
                    <a:pt x="88" y="651"/>
                  </a:lnTo>
                  <a:lnTo>
                    <a:pt x="87" y="648"/>
                  </a:lnTo>
                  <a:lnTo>
                    <a:pt x="87" y="648"/>
                  </a:lnTo>
                  <a:lnTo>
                    <a:pt x="87" y="651"/>
                  </a:lnTo>
                  <a:lnTo>
                    <a:pt x="87" y="651"/>
                  </a:lnTo>
                  <a:lnTo>
                    <a:pt x="85" y="653"/>
                  </a:lnTo>
                  <a:lnTo>
                    <a:pt x="85" y="654"/>
                  </a:lnTo>
                  <a:lnTo>
                    <a:pt x="85" y="655"/>
                  </a:lnTo>
                  <a:lnTo>
                    <a:pt x="85" y="655"/>
                  </a:lnTo>
                  <a:lnTo>
                    <a:pt x="85" y="657"/>
                  </a:lnTo>
                  <a:lnTo>
                    <a:pt x="84" y="655"/>
                  </a:lnTo>
                  <a:lnTo>
                    <a:pt x="84" y="650"/>
                  </a:lnTo>
                  <a:lnTo>
                    <a:pt x="84" y="650"/>
                  </a:lnTo>
                  <a:lnTo>
                    <a:pt x="84" y="651"/>
                  </a:lnTo>
                  <a:lnTo>
                    <a:pt x="84" y="650"/>
                  </a:lnTo>
                  <a:lnTo>
                    <a:pt x="85" y="647"/>
                  </a:lnTo>
                  <a:lnTo>
                    <a:pt x="85" y="648"/>
                  </a:lnTo>
                  <a:lnTo>
                    <a:pt x="85" y="648"/>
                  </a:lnTo>
                  <a:lnTo>
                    <a:pt x="85" y="644"/>
                  </a:lnTo>
                  <a:lnTo>
                    <a:pt x="84" y="640"/>
                  </a:lnTo>
                  <a:lnTo>
                    <a:pt x="84" y="640"/>
                  </a:lnTo>
                  <a:lnTo>
                    <a:pt x="85" y="640"/>
                  </a:lnTo>
                  <a:lnTo>
                    <a:pt x="85" y="641"/>
                  </a:lnTo>
                  <a:lnTo>
                    <a:pt x="87" y="647"/>
                  </a:lnTo>
                  <a:lnTo>
                    <a:pt x="87" y="647"/>
                  </a:lnTo>
                  <a:lnTo>
                    <a:pt x="87" y="648"/>
                  </a:lnTo>
                  <a:lnTo>
                    <a:pt x="88" y="647"/>
                  </a:lnTo>
                  <a:lnTo>
                    <a:pt x="88" y="647"/>
                  </a:lnTo>
                  <a:lnTo>
                    <a:pt x="90" y="647"/>
                  </a:lnTo>
                  <a:lnTo>
                    <a:pt x="90" y="647"/>
                  </a:lnTo>
                  <a:lnTo>
                    <a:pt x="90" y="641"/>
                  </a:lnTo>
                  <a:lnTo>
                    <a:pt x="90" y="637"/>
                  </a:lnTo>
                  <a:lnTo>
                    <a:pt x="90" y="637"/>
                  </a:lnTo>
                  <a:lnTo>
                    <a:pt x="91" y="638"/>
                  </a:lnTo>
                  <a:lnTo>
                    <a:pt x="92" y="643"/>
                  </a:lnTo>
                  <a:lnTo>
                    <a:pt x="92" y="643"/>
                  </a:lnTo>
                  <a:lnTo>
                    <a:pt x="92" y="640"/>
                  </a:lnTo>
                  <a:lnTo>
                    <a:pt x="92" y="637"/>
                  </a:lnTo>
                  <a:lnTo>
                    <a:pt x="92" y="634"/>
                  </a:lnTo>
                  <a:lnTo>
                    <a:pt x="92" y="631"/>
                  </a:lnTo>
                  <a:lnTo>
                    <a:pt x="92" y="631"/>
                  </a:lnTo>
                  <a:lnTo>
                    <a:pt x="92" y="631"/>
                  </a:lnTo>
                  <a:lnTo>
                    <a:pt x="92" y="634"/>
                  </a:lnTo>
                  <a:lnTo>
                    <a:pt x="91" y="637"/>
                  </a:lnTo>
                  <a:lnTo>
                    <a:pt x="91" y="637"/>
                  </a:lnTo>
                  <a:lnTo>
                    <a:pt x="91" y="633"/>
                  </a:lnTo>
                  <a:lnTo>
                    <a:pt x="91" y="628"/>
                  </a:lnTo>
                  <a:lnTo>
                    <a:pt x="91" y="628"/>
                  </a:lnTo>
                  <a:lnTo>
                    <a:pt x="90" y="631"/>
                  </a:lnTo>
                  <a:lnTo>
                    <a:pt x="90" y="631"/>
                  </a:lnTo>
                  <a:lnTo>
                    <a:pt x="88" y="630"/>
                  </a:lnTo>
                  <a:lnTo>
                    <a:pt x="88" y="630"/>
                  </a:lnTo>
                  <a:lnTo>
                    <a:pt x="87" y="625"/>
                  </a:lnTo>
                  <a:lnTo>
                    <a:pt x="87" y="625"/>
                  </a:lnTo>
                  <a:lnTo>
                    <a:pt x="88" y="624"/>
                  </a:lnTo>
                  <a:lnTo>
                    <a:pt x="88" y="625"/>
                  </a:lnTo>
                  <a:lnTo>
                    <a:pt x="90" y="625"/>
                  </a:lnTo>
                  <a:lnTo>
                    <a:pt x="90" y="624"/>
                  </a:lnTo>
                  <a:lnTo>
                    <a:pt x="90" y="624"/>
                  </a:lnTo>
                  <a:lnTo>
                    <a:pt x="88" y="618"/>
                  </a:lnTo>
                  <a:lnTo>
                    <a:pt x="90" y="608"/>
                  </a:lnTo>
                  <a:lnTo>
                    <a:pt x="90" y="608"/>
                  </a:lnTo>
                  <a:lnTo>
                    <a:pt x="91" y="601"/>
                  </a:lnTo>
                  <a:lnTo>
                    <a:pt x="91" y="598"/>
                  </a:lnTo>
                  <a:lnTo>
                    <a:pt x="92" y="598"/>
                  </a:lnTo>
                  <a:lnTo>
                    <a:pt x="92" y="598"/>
                  </a:lnTo>
                  <a:lnTo>
                    <a:pt x="91" y="594"/>
                  </a:lnTo>
                  <a:lnTo>
                    <a:pt x="91" y="593"/>
                  </a:lnTo>
                  <a:lnTo>
                    <a:pt x="91" y="593"/>
                  </a:lnTo>
                  <a:lnTo>
                    <a:pt x="91" y="593"/>
                  </a:lnTo>
                  <a:lnTo>
                    <a:pt x="91" y="590"/>
                  </a:lnTo>
                  <a:lnTo>
                    <a:pt x="92" y="590"/>
                  </a:lnTo>
                  <a:lnTo>
                    <a:pt x="92" y="588"/>
                  </a:lnTo>
                  <a:lnTo>
                    <a:pt x="94" y="588"/>
                  </a:lnTo>
                  <a:lnTo>
                    <a:pt x="94" y="588"/>
                  </a:lnTo>
                  <a:lnTo>
                    <a:pt x="94" y="596"/>
                  </a:lnTo>
                  <a:lnTo>
                    <a:pt x="94" y="603"/>
                  </a:lnTo>
                  <a:lnTo>
                    <a:pt x="94" y="603"/>
                  </a:lnTo>
                  <a:lnTo>
                    <a:pt x="95" y="594"/>
                  </a:lnTo>
                  <a:lnTo>
                    <a:pt x="95" y="583"/>
                  </a:lnTo>
                  <a:lnTo>
                    <a:pt x="95" y="583"/>
                  </a:lnTo>
                  <a:lnTo>
                    <a:pt x="97" y="581"/>
                  </a:lnTo>
                  <a:lnTo>
                    <a:pt x="97" y="581"/>
                  </a:lnTo>
                  <a:lnTo>
                    <a:pt x="97" y="583"/>
                  </a:lnTo>
                  <a:lnTo>
                    <a:pt x="98" y="581"/>
                  </a:lnTo>
                  <a:lnTo>
                    <a:pt x="98" y="581"/>
                  </a:lnTo>
                  <a:lnTo>
                    <a:pt x="97" y="574"/>
                  </a:lnTo>
                  <a:lnTo>
                    <a:pt x="100" y="566"/>
                  </a:lnTo>
                  <a:lnTo>
                    <a:pt x="100" y="566"/>
                  </a:lnTo>
                  <a:lnTo>
                    <a:pt x="98" y="563"/>
                  </a:lnTo>
                  <a:lnTo>
                    <a:pt x="97" y="563"/>
                  </a:lnTo>
                  <a:lnTo>
                    <a:pt x="97" y="563"/>
                  </a:lnTo>
                  <a:lnTo>
                    <a:pt x="97" y="563"/>
                  </a:lnTo>
                  <a:lnTo>
                    <a:pt x="97" y="561"/>
                  </a:lnTo>
                  <a:lnTo>
                    <a:pt x="97" y="558"/>
                  </a:lnTo>
                  <a:lnTo>
                    <a:pt x="97" y="554"/>
                  </a:lnTo>
                  <a:lnTo>
                    <a:pt x="98" y="551"/>
                  </a:lnTo>
                  <a:lnTo>
                    <a:pt x="98" y="551"/>
                  </a:lnTo>
                  <a:lnTo>
                    <a:pt x="98" y="551"/>
                  </a:lnTo>
                  <a:lnTo>
                    <a:pt x="97" y="551"/>
                  </a:lnTo>
                  <a:lnTo>
                    <a:pt x="98" y="548"/>
                  </a:lnTo>
                  <a:lnTo>
                    <a:pt x="98" y="544"/>
                  </a:lnTo>
                  <a:lnTo>
                    <a:pt x="97" y="543"/>
                  </a:lnTo>
                  <a:lnTo>
                    <a:pt x="97" y="543"/>
                  </a:lnTo>
                  <a:lnTo>
                    <a:pt x="98" y="540"/>
                  </a:lnTo>
                  <a:lnTo>
                    <a:pt x="100" y="541"/>
                  </a:lnTo>
                  <a:lnTo>
                    <a:pt x="100" y="544"/>
                  </a:lnTo>
                  <a:lnTo>
                    <a:pt x="100" y="543"/>
                  </a:lnTo>
                  <a:lnTo>
                    <a:pt x="100" y="543"/>
                  </a:lnTo>
                  <a:lnTo>
                    <a:pt x="100" y="538"/>
                  </a:lnTo>
                  <a:lnTo>
                    <a:pt x="101" y="533"/>
                  </a:lnTo>
                  <a:lnTo>
                    <a:pt x="101" y="533"/>
                  </a:lnTo>
                  <a:lnTo>
                    <a:pt x="102" y="534"/>
                  </a:lnTo>
                  <a:lnTo>
                    <a:pt x="102" y="536"/>
                  </a:lnTo>
                  <a:lnTo>
                    <a:pt x="102" y="536"/>
                  </a:lnTo>
                  <a:lnTo>
                    <a:pt x="101" y="550"/>
                  </a:lnTo>
                  <a:lnTo>
                    <a:pt x="101" y="550"/>
                  </a:lnTo>
                  <a:lnTo>
                    <a:pt x="100" y="557"/>
                  </a:lnTo>
                  <a:lnTo>
                    <a:pt x="100" y="557"/>
                  </a:lnTo>
                  <a:lnTo>
                    <a:pt x="100" y="563"/>
                  </a:lnTo>
                  <a:lnTo>
                    <a:pt x="100" y="563"/>
                  </a:lnTo>
                  <a:lnTo>
                    <a:pt x="101" y="560"/>
                  </a:lnTo>
                  <a:lnTo>
                    <a:pt x="101" y="558"/>
                  </a:lnTo>
                  <a:lnTo>
                    <a:pt x="101" y="556"/>
                  </a:lnTo>
                  <a:lnTo>
                    <a:pt x="101" y="556"/>
                  </a:lnTo>
                  <a:lnTo>
                    <a:pt x="102" y="547"/>
                  </a:lnTo>
                  <a:lnTo>
                    <a:pt x="104" y="537"/>
                  </a:lnTo>
                  <a:lnTo>
                    <a:pt x="104" y="537"/>
                  </a:lnTo>
                  <a:lnTo>
                    <a:pt x="107" y="527"/>
                  </a:lnTo>
                  <a:lnTo>
                    <a:pt x="107" y="527"/>
                  </a:lnTo>
                  <a:lnTo>
                    <a:pt x="108" y="518"/>
                  </a:lnTo>
                  <a:lnTo>
                    <a:pt x="108" y="518"/>
                  </a:lnTo>
                  <a:lnTo>
                    <a:pt x="111" y="507"/>
                  </a:lnTo>
                  <a:lnTo>
                    <a:pt x="111" y="507"/>
                  </a:lnTo>
                  <a:lnTo>
                    <a:pt x="114" y="496"/>
                  </a:lnTo>
                  <a:lnTo>
                    <a:pt x="114" y="496"/>
                  </a:lnTo>
                  <a:lnTo>
                    <a:pt x="118" y="486"/>
                  </a:lnTo>
                  <a:lnTo>
                    <a:pt x="118" y="486"/>
                  </a:lnTo>
                  <a:lnTo>
                    <a:pt x="120" y="481"/>
                  </a:lnTo>
                  <a:lnTo>
                    <a:pt x="121" y="478"/>
                  </a:lnTo>
                  <a:lnTo>
                    <a:pt x="121" y="478"/>
                  </a:lnTo>
                  <a:lnTo>
                    <a:pt x="125" y="468"/>
                  </a:lnTo>
                  <a:lnTo>
                    <a:pt x="125" y="468"/>
                  </a:lnTo>
                  <a:lnTo>
                    <a:pt x="125" y="466"/>
                  </a:lnTo>
                  <a:lnTo>
                    <a:pt x="125" y="461"/>
                  </a:lnTo>
                  <a:lnTo>
                    <a:pt x="128" y="454"/>
                  </a:lnTo>
                  <a:lnTo>
                    <a:pt x="128" y="454"/>
                  </a:lnTo>
                  <a:lnTo>
                    <a:pt x="130" y="456"/>
                  </a:lnTo>
                  <a:lnTo>
                    <a:pt x="130" y="454"/>
                  </a:lnTo>
                  <a:lnTo>
                    <a:pt x="130" y="454"/>
                  </a:lnTo>
                  <a:lnTo>
                    <a:pt x="130" y="453"/>
                  </a:lnTo>
                  <a:lnTo>
                    <a:pt x="131" y="450"/>
                  </a:lnTo>
                  <a:lnTo>
                    <a:pt x="131" y="449"/>
                  </a:lnTo>
                  <a:lnTo>
                    <a:pt x="132" y="447"/>
                  </a:lnTo>
                  <a:lnTo>
                    <a:pt x="132" y="447"/>
                  </a:lnTo>
                  <a:lnTo>
                    <a:pt x="134" y="440"/>
                  </a:lnTo>
                  <a:lnTo>
                    <a:pt x="138" y="433"/>
                  </a:lnTo>
                  <a:lnTo>
                    <a:pt x="141" y="426"/>
                  </a:lnTo>
                  <a:lnTo>
                    <a:pt x="144" y="417"/>
                  </a:lnTo>
                  <a:lnTo>
                    <a:pt x="144" y="417"/>
                  </a:lnTo>
                  <a:lnTo>
                    <a:pt x="144" y="419"/>
                  </a:lnTo>
                  <a:lnTo>
                    <a:pt x="144" y="417"/>
                  </a:lnTo>
                  <a:lnTo>
                    <a:pt x="144" y="413"/>
                  </a:lnTo>
                  <a:lnTo>
                    <a:pt x="144" y="413"/>
                  </a:lnTo>
                  <a:lnTo>
                    <a:pt x="145" y="413"/>
                  </a:lnTo>
                  <a:lnTo>
                    <a:pt x="145" y="414"/>
                  </a:lnTo>
                  <a:lnTo>
                    <a:pt x="144" y="416"/>
                  </a:lnTo>
                  <a:lnTo>
                    <a:pt x="145" y="417"/>
                  </a:lnTo>
                  <a:lnTo>
                    <a:pt x="145" y="417"/>
                  </a:lnTo>
                  <a:lnTo>
                    <a:pt x="147" y="414"/>
                  </a:lnTo>
                  <a:lnTo>
                    <a:pt x="147" y="414"/>
                  </a:lnTo>
                  <a:lnTo>
                    <a:pt x="148" y="411"/>
                  </a:lnTo>
                  <a:lnTo>
                    <a:pt x="148" y="411"/>
                  </a:lnTo>
                  <a:lnTo>
                    <a:pt x="151" y="404"/>
                  </a:lnTo>
                  <a:lnTo>
                    <a:pt x="151" y="404"/>
                  </a:lnTo>
                  <a:lnTo>
                    <a:pt x="157" y="391"/>
                  </a:lnTo>
                  <a:lnTo>
                    <a:pt x="157" y="391"/>
                  </a:lnTo>
                  <a:lnTo>
                    <a:pt x="158" y="391"/>
                  </a:lnTo>
                  <a:lnTo>
                    <a:pt x="161" y="389"/>
                  </a:lnTo>
                  <a:lnTo>
                    <a:pt x="162" y="384"/>
                  </a:lnTo>
                  <a:lnTo>
                    <a:pt x="162" y="381"/>
                  </a:lnTo>
                  <a:lnTo>
                    <a:pt x="162" y="381"/>
                  </a:lnTo>
                  <a:lnTo>
                    <a:pt x="165" y="379"/>
                  </a:lnTo>
                  <a:lnTo>
                    <a:pt x="167" y="377"/>
                  </a:lnTo>
                  <a:lnTo>
                    <a:pt x="167" y="377"/>
                  </a:lnTo>
                  <a:lnTo>
                    <a:pt x="167" y="374"/>
                  </a:lnTo>
                  <a:lnTo>
                    <a:pt x="168" y="370"/>
                  </a:lnTo>
                  <a:lnTo>
                    <a:pt x="168" y="370"/>
                  </a:lnTo>
                  <a:lnTo>
                    <a:pt x="174" y="363"/>
                  </a:lnTo>
                  <a:lnTo>
                    <a:pt x="174" y="363"/>
                  </a:lnTo>
                  <a:lnTo>
                    <a:pt x="179" y="354"/>
                  </a:lnTo>
                  <a:lnTo>
                    <a:pt x="179" y="354"/>
                  </a:lnTo>
                  <a:lnTo>
                    <a:pt x="182" y="349"/>
                  </a:lnTo>
                  <a:lnTo>
                    <a:pt x="182" y="349"/>
                  </a:lnTo>
                  <a:lnTo>
                    <a:pt x="184" y="344"/>
                  </a:lnTo>
                  <a:lnTo>
                    <a:pt x="184" y="344"/>
                  </a:lnTo>
                  <a:lnTo>
                    <a:pt x="189" y="340"/>
                  </a:lnTo>
                  <a:lnTo>
                    <a:pt x="194" y="331"/>
                  </a:lnTo>
                  <a:lnTo>
                    <a:pt x="194" y="331"/>
                  </a:lnTo>
                  <a:lnTo>
                    <a:pt x="197" y="329"/>
                  </a:lnTo>
                  <a:lnTo>
                    <a:pt x="197" y="329"/>
                  </a:lnTo>
                  <a:lnTo>
                    <a:pt x="198" y="324"/>
                  </a:lnTo>
                  <a:lnTo>
                    <a:pt x="198" y="324"/>
                  </a:lnTo>
                  <a:lnTo>
                    <a:pt x="201" y="321"/>
                  </a:lnTo>
                  <a:lnTo>
                    <a:pt x="204" y="320"/>
                  </a:lnTo>
                  <a:lnTo>
                    <a:pt x="204" y="320"/>
                  </a:lnTo>
                  <a:lnTo>
                    <a:pt x="198" y="327"/>
                  </a:lnTo>
                  <a:lnTo>
                    <a:pt x="198" y="327"/>
                  </a:lnTo>
                  <a:lnTo>
                    <a:pt x="201" y="326"/>
                  </a:lnTo>
                  <a:lnTo>
                    <a:pt x="204" y="321"/>
                  </a:lnTo>
                  <a:lnTo>
                    <a:pt x="209" y="311"/>
                  </a:lnTo>
                  <a:lnTo>
                    <a:pt x="209" y="311"/>
                  </a:lnTo>
                  <a:lnTo>
                    <a:pt x="215" y="306"/>
                  </a:lnTo>
                  <a:lnTo>
                    <a:pt x="218" y="303"/>
                  </a:lnTo>
                  <a:lnTo>
                    <a:pt x="219" y="300"/>
                  </a:lnTo>
                  <a:lnTo>
                    <a:pt x="219" y="300"/>
                  </a:lnTo>
                  <a:lnTo>
                    <a:pt x="221" y="299"/>
                  </a:lnTo>
                  <a:lnTo>
                    <a:pt x="224" y="297"/>
                  </a:lnTo>
                  <a:lnTo>
                    <a:pt x="224" y="297"/>
                  </a:lnTo>
                  <a:lnTo>
                    <a:pt x="229" y="289"/>
                  </a:lnTo>
                  <a:lnTo>
                    <a:pt x="229" y="289"/>
                  </a:lnTo>
                  <a:lnTo>
                    <a:pt x="237" y="280"/>
                  </a:lnTo>
                  <a:lnTo>
                    <a:pt x="237" y="280"/>
                  </a:lnTo>
                  <a:lnTo>
                    <a:pt x="242" y="276"/>
                  </a:lnTo>
                  <a:lnTo>
                    <a:pt x="242" y="276"/>
                  </a:lnTo>
                  <a:lnTo>
                    <a:pt x="248" y="269"/>
                  </a:lnTo>
                  <a:lnTo>
                    <a:pt x="248" y="269"/>
                  </a:lnTo>
                  <a:lnTo>
                    <a:pt x="264" y="254"/>
                  </a:lnTo>
                  <a:lnTo>
                    <a:pt x="264" y="254"/>
                  </a:lnTo>
                  <a:lnTo>
                    <a:pt x="286" y="234"/>
                  </a:lnTo>
                  <a:lnTo>
                    <a:pt x="311" y="216"/>
                  </a:lnTo>
                  <a:lnTo>
                    <a:pt x="336" y="200"/>
                  </a:lnTo>
                  <a:lnTo>
                    <a:pt x="362" y="184"/>
                  </a:lnTo>
                  <a:lnTo>
                    <a:pt x="362" y="184"/>
                  </a:lnTo>
                  <a:lnTo>
                    <a:pt x="376" y="177"/>
                  </a:lnTo>
                  <a:lnTo>
                    <a:pt x="389" y="170"/>
                  </a:lnTo>
                  <a:lnTo>
                    <a:pt x="389" y="170"/>
                  </a:lnTo>
                  <a:lnTo>
                    <a:pt x="403" y="164"/>
                  </a:lnTo>
                  <a:lnTo>
                    <a:pt x="418" y="157"/>
                  </a:lnTo>
                  <a:lnTo>
                    <a:pt x="431" y="152"/>
                  </a:lnTo>
                  <a:lnTo>
                    <a:pt x="431" y="152"/>
                  </a:lnTo>
                  <a:lnTo>
                    <a:pt x="445" y="147"/>
                  </a:lnTo>
                  <a:lnTo>
                    <a:pt x="445" y="147"/>
                  </a:lnTo>
                  <a:lnTo>
                    <a:pt x="459" y="143"/>
                  </a:lnTo>
                  <a:lnTo>
                    <a:pt x="475" y="139"/>
                  </a:lnTo>
                  <a:lnTo>
                    <a:pt x="475" y="139"/>
                  </a:lnTo>
                  <a:lnTo>
                    <a:pt x="503" y="130"/>
                  </a:lnTo>
                  <a:lnTo>
                    <a:pt x="533" y="125"/>
                  </a:lnTo>
                  <a:lnTo>
                    <a:pt x="563" y="122"/>
                  </a:lnTo>
                  <a:lnTo>
                    <a:pt x="593" y="119"/>
                  </a:lnTo>
                  <a:lnTo>
                    <a:pt x="607" y="119"/>
                  </a:lnTo>
                  <a:lnTo>
                    <a:pt x="607" y="119"/>
                  </a:lnTo>
                  <a:lnTo>
                    <a:pt x="616" y="119"/>
                  </a:lnTo>
                  <a:lnTo>
                    <a:pt x="623" y="119"/>
                  </a:lnTo>
                  <a:lnTo>
                    <a:pt x="630" y="119"/>
                  </a:lnTo>
                  <a:lnTo>
                    <a:pt x="634" y="119"/>
                  </a:lnTo>
                  <a:lnTo>
                    <a:pt x="639" y="119"/>
                  </a:lnTo>
                  <a:lnTo>
                    <a:pt x="653" y="120"/>
                  </a:lnTo>
                  <a:lnTo>
                    <a:pt x="653" y="120"/>
                  </a:lnTo>
                  <a:lnTo>
                    <a:pt x="669" y="122"/>
                  </a:lnTo>
                  <a:lnTo>
                    <a:pt x="683" y="123"/>
                  </a:lnTo>
                  <a:lnTo>
                    <a:pt x="697" y="126"/>
                  </a:lnTo>
                  <a:lnTo>
                    <a:pt x="706" y="127"/>
                  </a:lnTo>
                  <a:lnTo>
                    <a:pt x="706" y="127"/>
                  </a:lnTo>
                  <a:lnTo>
                    <a:pt x="713" y="129"/>
                  </a:lnTo>
                  <a:lnTo>
                    <a:pt x="713" y="129"/>
                  </a:lnTo>
                  <a:lnTo>
                    <a:pt x="741" y="135"/>
                  </a:lnTo>
                  <a:lnTo>
                    <a:pt x="771" y="143"/>
                  </a:lnTo>
                  <a:lnTo>
                    <a:pt x="800" y="153"/>
                  </a:lnTo>
                  <a:lnTo>
                    <a:pt x="827" y="164"/>
                  </a:lnTo>
                  <a:lnTo>
                    <a:pt x="854" y="177"/>
                  </a:lnTo>
                  <a:lnTo>
                    <a:pt x="880" y="193"/>
                  </a:lnTo>
                  <a:lnTo>
                    <a:pt x="905" y="209"/>
                  </a:lnTo>
                  <a:lnTo>
                    <a:pt x="930" y="227"/>
                  </a:lnTo>
                  <a:lnTo>
                    <a:pt x="930" y="227"/>
                  </a:lnTo>
                  <a:lnTo>
                    <a:pt x="953" y="246"/>
                  </a:lnTo>
                  <a:lnTo>
                    <a:pt x="975" y="266"/>
                  </a:lnTo>
                  <a:lnTo>
                    <a:pt x="995" y="289"/>
                  </a:lnTo>
                  <a:lnTo>
                    <a:pt x="1015" y="311"/>
                  </a:lnTo>
                  <a:lnTo>
                    <a:pt x="1015" y="311"/>
                  </a:lnTo>
                  <a:lnTo>
                    <a:pt x="1034" y="336"/>
                  </a:lnTo>
                  <a:lnTo>
                    <a:pt x="1050" y="361"/>
                  </a:lnTo>
                  <a:lnTo>
                    <a:pt x="1065" y="387"/>
                  </a:lnTo>
                  <a:lnTo>
                    <a:pt x="1078" y="414"/>
                  </a:lnTo>
                  <a:lnTo>
                    <a:pt x="1078" y="414"/>
                  </a:lnTo>
                  <a:lnTo>
                    <a:pt x="1078" y="416"/>
                  </a:lnTo>
                  <a:lnTo>
                    <a:pt x="1078" y="416"/>
                  </a:lnTo>
                  <a:lnTo>
                    <a:pt x="1075" y="414"/>
                  </a:lnTo>
                  <a:lnTo>
                    <a:pt x="1075" y="414"/>
                  </a:lnTo>
                  <a:lnTo>
                    <a:pt x="1070" y="397"/>
                  </a:lnTo>
                  <a:lnTo>
                    <a:pt x="1070" y="397"/>
                  </a:lnTo>
                  <a:lnTo>
                    <a:pt x="1060" y="381"/>
                  </a:lnTo>
                  <a:lnTo>
                    <a:pt x="1058" y="377"/>
                  </a:lnTo>
                  <a:lnTo>
                    <a:pt x="1057" y="376"/>
                  </a:lnTo>
                  <a:lnTo>
                    <a:pt x="1055" y="374"/>
                  </a:lnTo>
                  <a:lnTo>
                    <a:pt x="1055" y="374"/>
                  </a:lnTo>
                  <a:lnTo>
                    <a:pt x="1051" y="366"/>
                  </a:lnTo>
                  <a:lnTo>
                    <a:pt x="1051" y="366"/>
                  </a:lnTo>
                  <a:lnTo>
                    <a:pt x="1047" y="359"/>
                  </a:lnTo>
                  <a:lnTo>
                    <a:pt x="1047" y="359"/>
                  </a:lnTo>
                  <a:lnTo>
                    <a:pt x="1041" y="350"/>
                  </a:lnTo>
                  <a:lnTo>
                    <a:pt x="1041" y="350"/>
                  </a:lnTo>
                  <a:lnTo>
                    <a:pt x="1040" y="349"/>
                  </a:lnTo>
                  <a:lnTo>
                    <a:pt x="1037" y="346"/>
                  </a:lnTo>
                  <a:lnTo>
                    <a:pt x="1037" y="346"/>
                  </a:lnTo>
                  <a:lnTo>
                    <a:pt x="1037" y="346"/>
                  </a:lnTo>
                  <a:lnTo>
                    <a:pt x="1040" y="347"/>
                  </a:lnTo>
                  <a:lnTo>
                    <a:pt x="1040" y="347"/>
                  </a:lnTo>
                  <a:lnTo>
                    <a:pt x="1035" y="343"/>
                  </a:lnTo>
                  <a:lnTo>
                    <a:pt x="1034" y="340"/>
                  </a:lnTo>
                  <a:lnTo>
                    <a:pt x="1032" y="337"/>
                  </a:lnTo>
                  <a:lnTo>
                    <a:pt x="1032" y="337"/>
                  </a:lnTo>
                  <a:lnTo>
                    <a:pt x="1031" y="337"/>
                  </a:lnTo>
                  <a:lnTo>
                    <a:pt x="1031" y="337"/>
                  </a:lnTo>
                  <a:lnTo>
                    <a:pt x="1031" y="337"/>
                  </a:lnTo>
                  <a:lnTo>
                    <a:pt x="1030" y="337"/>
                  </a:lnTo>
                  <a:lnTo>
                    <a:pt x="1030" y="337"/>
                  </a:lnTo>
                  <a:lnTo>
                    <a:pt x="1025" y="330"/>
                  </a:lnTo>
                  <a:lnTo>
                    <a:pt x="1021" y="321"/>
                  </a:lnTo>
                  <a:lnTo>
                    <a:pt x="1021" y="321"/>
                  </a:lnTo>
                  <a:lnTo>
                    <a:pt x="1014" y="313"/>
                  </a:lnTo>
                  <a:lnTo>
                    <a:pt x="1014" y="313"/>
                  </a:lnTo>
                  <a:lnTo>
                    <a:pt x="1007" y="306"/>
                  </a:lnTo>
                  <a:lnTo>
                    <a:pt x="1007" y="306"/>
                  </a:lnTo>
                  <a:lnTo>
                    <a:pt x="997" y="293"/>
                  </a:lnTo>
                  <a:lnTo>
                    <a:pt x="997" y="293"/>
                  </a:lnTo>
                  <a:lnTo>
                    <a:pt x="985" y="282"/>
                  </a:lnTo>
                  <a:lnTo>
                    <a:pt x="985" y="282"/>
                  </a:lnTo>
                  <a:lnTo>
                    <a:pt x="984" y="280"/>
                  </a:lnTo>
                  <a:lnTo>
                    <a:pt x="985" y="280"/>
                  </a:lnTo>
                  <a:lnTo>
                    <a:pt x="985" y="280"/>
                  </a:lnTo>
                  <a:lnTo>
                    <a:pt x="980" y="276"/>
                  </a:lnTo>
                  <a:lnTo>
                    <a:pt x="980" y="276"/>
                  </a:lnTo>
                  <a:lnTo>
                    <a:pt x="975" y="270"/>
                  </a:lnTo>
                  <a:lnTo>
                    <a:pt x="975" y="270"/>
                  </a:lnTo>
                  <a:lnTo>
                    <a:pt x="965" y="260"/>
                  </a:lnTo>
                  <a:lnTo>
                    <a:pt x="965" y="260"/>
                  </a:lnTo>
                  <a:lnTo>
                    <a:pt x="955" y="252"/>
                  </a:lnTo>
                  <a:lnTo>
                    <a:pt x="955" y="252"/>
                  </a:lnTo>
                  <a:lnTo>
                    <a:pt x="947" y="246"/>
                  </a:lnTo>
                  <a:lnTo>
                    <a:pt x="947" y="246"/>
                  </a:lnTo>
                  <a:lnTo>
                    <a:pt x="947" y="243"/>
                  </a:lnTo>
                  <a:lnTo>
                    <a:pt x="945" y="242"/>
                  </a:lnTo>
                  <a:lnTo>
                    <a:pt x="945" y="242"/>
                  </a:lnTo>
                  <a:lnTo>
                    <a:pt x="945" y="243"/>
                  </a:lnTo>
                  <a:lnTo>
                    <a:pt x="945" y="244"/>
                  </a:lnTo>
                  <a:lnTo>
                    <a:pt x="945" y="244"/>
                  </a:lnTo>
                  <a:lnTo>
                    <a:pt x="943" y="242"/>
                  </a:lnTo>
                  <a:lnTo>
                    <a:pt x="943" y="242"/>
                  </a:lnTo>
                  <a:lnTo>
                    <a:pt x="940" y="239"/>
                  </a:lnTo>
                  <a:lnTo>
                    <a:pt x="940" y="239"/>
                  </a:lnTo>
                  <a:lnTo>
                    <a:pt x="934" y="234"/>
                  </a:lnTo>
                  <a:lnTo>
                    <a:pt x="934" y="234"/>
                  </a:lnTo>
                  <a:lnTo>
                    <a:pt x="923" y="224"/>
                  </a:lnTo>
                  <a:lnTo>
                    <a:pt x="923" y="224"/>
                  </a:lnTo>
                  <a:lnTo>
                    <a:pt x="911" y="216"/>
                  </a:lnTo>
                  <a:lnTo>
                    <a:pt x="911" y="216"/>
                  </a:lnTo>
                  <a:lnTo>
                    <a:pt x="904" y="212"/>
                  </a:lnTo>
                  <a:lnTo>
                    <a:pt x="904" y="212"/>
                  </a:lnTo>
                  <a:lnTo>
                    <a:pt x="898" y="207"/>
                  </a:lnTo>
                  <a:lnTo>
                    <a:pt x="898" y="207"/>
                  </a:lnTo>
                  <a:lnTo>
                    <a:pt x="895" y="206"/>
                  </a:lnTo>
                  <a:lnTo>
                    <a:pt x="891" y="203"/>
                  </a:lnTo>
                  <a:lnTo>
                    <a:pt x="883" y="197"/>
                  </a:lnTo>
                  <a:lnTo>
                    <a:pt x="883" y="197"/>
                  </a:lnTo>
                  <a:lnTo>
                    <a:pt x="873" y="192"/>
                  </a:lnTo>
                  <a:lnTo>
                    <a:pt x="870" y="190"/>
                  </a:lnTo>
                  <a:lnTo>
                    <a:pt x="867" y="187"/>
                  </a:lnTo>
                  <a:lnTo>
                    <a:pt x="867" y="187"/>
                  </a:lnTo>
                  <a:lnTo>
                    <a:pt x="856" y="183"/>
                  </a:lnTo>
                  <a:lnTo>
                    <a:pt x="856" y="183"/>
                  </a:lnTo>
                  <a:lnTo>
                    <a:pt x="847" y="176"/>
                  </a:lnTo>
                  <a:lnTo>
                    <a:pt x="847" y="176"/>
                  </a:lnTo>
                  <a:lnTo>
                    <a:pt x="846" y="176"/>
                  </a:lnTo>
                  <a:lnTo>
                    <a:pt x="846" y="177"/>
                  </a:lnTo>
                  <a:lnTo>
                    <a:pt x="846" y="177"/>
                  </a:lnTo>
                  <a:lnTo>
                    <a:pt x="844" y="177"/>
                  </a:lnTo>
                  <a:lnTo>
                    <a:pt x="844" y="177"/>
                  </a:lnTo>
                  <a:lnTo>
                    <a:pt x="841" y="176"/>
                  </a:lnTo>
                  <a:lnTo>
                    <a:pt x="841" y="176"/>
                  </a:lnTo>
                  <a:lnTo>
                    <a:pt x="841" y="174"/>
                  </a:lnTo>
                  <a:lnTo>
                    <a:pt x="841" y="174"/>
                  </a:lnTo>
                  <a:lnTo>
                    <a:pt x="841" y="174"/>
                  </a:lnTo>
                  <a:lnTo>
                    <a:pt x="834" y="172"/>
                  </a:lnTo>
                  <a:lnTo>
                    <a:pt x="827" y="169"/>
                  </a:lnTo>
                  <a:lnTo>
                    <a:pt x="827" y="169"/>
                  </a:lnTo>
                  <a:lnTo>
                    <a:pt x="827" y="167"/>
                  </a:lnTo>
                  <a:lnTo>
                    <a:pt x="828" y="167"/>
                  </a:lnTo>
                  <a:lnTo>
                    <a:pt x="828" y="167"/>
                  </a:lnTo>
                  <a:lnTo>
                    <a:pt x="818" y="164"/>
                  </a:lnTo>
                  <a:lnTo>
                    <a:pt x="818" y="164"/>
                  </a:lnTo>
                  <a:lnTo>
                    <a:pt x="808" y="162"/>
                  </a:lnTo>
                  <a:lnTo>
                    <a:pt x="808" y="162"/>
                  </a:lnTo>
                  <a:lnTo>
                    <a:pt x="808" y="160"/>
                  </a:lnTo>
                  <a:lnTo>
                    <a:pt x="808" y="160"/>
                  </a:lnTo>
                  <a:lnTo>
                    <a:pt x="804" y="157"/>
                  </a:lnTo>
                  <a:lnTo>
                    <a:pt x="804" y="157"/>
                  </a:lnTo>
                  <a:lnTo>
                    <a:pt x="803" y="159"/>
                  </a:lnTo>
                  <a:lnTo>
                    <a:pt x="800" y="157"/>
                  </a:lnTo>
                  <a:lnTo>
                    <a:pt x="800" y="157"/>
                  </a:lnTo>
                  <a:lnTo>
                    <a:pt x="797" y="154"/>
                  </a:lnTo>
                  <a:lnTo>
                    <a:pt x="797" y="154"/>
                  </a:lnTo>
                  <a:lnTo>
                    <a:pt x="793" y="154"/>
                  </a:lnTo>
                  <a:lnTo>
                    <a:pt x="789" y="152"/>
                  </a:lnTo>
                  <a:lnTo>
                    <a:pt x="783" y="150"/>
                  </a:lnTo>
                  <a:lnTo>
                    <a:pt x="776" y="149"/>
                  </a:lnTo>
                  <a:lnTo>
                    <a:pt x="776" y="149"/>
                  </a:lnTo>
                  <a:lnTo>
                    <a:pt x="774" y="147"/>
                  </a:lnTo>
                  <a:lnTo>
                    <a:pt x="776" y="147"/>
                  </a:lnTo>
                  <a:lnTo>
                    <a:pt x="776" y="147"/>
                  </a:lnTo>
                  <a:lnTo>
                    <a:pt x="753" y="140"/>
                  </a:lnTo>
                  <a:lnTo>
                    <a:pt x="753" y="140"/>
                  </a:lnTo>
                  <a:lnTo>
                    <a:pt x="743" y="137"/>
                  </a:lnTo>
                  <a:lnTo>
                    <a:pt x="736" y="137"/>
                  </a:lnTo>
                  <a:lnTo>
                    <a:pt x="736" y="137"/>
                  </a:lnTo>
                  <a:lnTo>
                    <a:pt x="729" y="135"/>
                  </a:lnTo>
                  <a:lnTo>
                    <a:pt x="729" y="135"/>
                  </a:lnTo>
                  <a:lnTo>
                    <a:pt x="724" y="135"/>
                  </a:lnTo>
                  <a:lnTo>
                    <a:pt x="720" y="135"/>
                  </a:lnTo>
                  <a:lnTo>
                    <a:pt x="720" y="135"/>
                  </a:lnTo>
                  <a:lnTo>
                    <a:pt x="710" y="130"/>
                  </a:lnTo>
                  <a:lnTo>
                    <a:pt x="710" y="130"/>
                  </a:lnTo>
                  <a:lnTo>
                    <a:pt x="706" y="130"/>
                  </a:lnTo>
                  <a:lnTo>
                    <a:pt x="706" y="130"/>
                  </a:lnTo>
                  <a:lnTo>
                    <a:pt x="703" y="130"/>
                  </a:lnTo>
                  <a:lnTo>
                    <a:pt x="703" y="130"/>
                  </a:lnTo>
                  <a:lnTo>
                    <a:pt x="690" y="127"/>
                  </a:lnTo>
                  <a:lnTo>
                    <a:pt x="690" y="127"/>
                  </a:lnTo>
                  <a:lnTo>
                    <a:pt x="677" y="126"/>
                  </a:lnTo>
                  <a:lnTo>
                    <a:pt x="677" y="126"/>
                  </a:lnTo>
                  <a:lnTo>
                    <a:pt x="664" y="125"/>
                  </a:lnTo>
                  <a:lnTo>
                    <a:pt x="659" y="123"/>
                  </a:lnTo>
                  <a:lnTo>
                    <a:pt x="652" y="123"/>
                  </a:lnTo>
                  <a:lnTo>
                    <a:pt x="652" y="123"/>
                  </a:lnTo>
                  <a:lnTo>
                    <a:pt x="626" y="122"/>
                  </a:lnTo>
                  <a:lnTo>
                    <a:pt x="626" y="122"/>
                  </a:lnTo>
                  <a:lnTo>
                    <a:pt x="613" y="122"/>
                  </a:lnTo>
                  <a:lnTo>
                    <a:pt x="613" y="122"/>
                  </a:lnTo>
                  <a:lnTo>
                    <a:pt x="606" y="122"/>
                  </a:lnTo>
                  <a:lnTo>
                    <a:pt x="606" y="122"/>
                  </a:lnTo>
                  <a:lnTo>
                    <a:pt x="599" y="122"/>
                  </a:lnTo>
                  <a:lnTo>
                    <a:pt x="599" y="122"/>
                  </a:lnTo>
                  <a:lnTo>
                    <a:pt x="597" y="123"/>
                  </a:lnTo>
                  <a:lnTo>
                    <a:pt x="597" y="123"/>
                  </a:lnTo>
                  <a:lnTo>
                    <a:pt x="597" y="123"/>
                  </a:lnTo>
                  <a:lnTo>
                    <a:pt x="589" y="122"/>
                  </a:lnTo>
                  <a:lnTo>
                    <a:pt x="589" y="122"/>
                  </a:lnTo>
                  <a:lnTo>
                    <a:pt x="580" y="123"/>
                  </a:lnTo>
                  <a:lnTo>
                    <a:pt x="580" y="123"/>
                  </a:lnTo>
                  <a:lnTo>
                    <a:pt x="572" y="123"/>
                  </a:lnTo>
                  <a:lnTo>
                    <a:pt x="572" y="123"/>
                  </a:lnTo>
                  <a:lnTo>
                    <a:pt x="563" y="125"/>
                  </a:lnTo>
                  <a:lnTo>
                    <a:pt x="563" y="125"/>
                  </a:lnTo>
                  <a:lnTo>
                    <a:pt x="555" y="126"/>
                  </a:lnTo>
                  <a:lnTo>
                    <a:pt x="555" y="126"/>
                  </a:lnTo>
                  <a:lnTo>
                    <a:pt x="536" y="127"/>
                  </a:lnTo>
                  <a:lnTo>
                    <a:pt x="536" y="127"/>
                  </a:lnTo>
                  <a:lnTo>
                    <a:pt x="519" y="132"/>
                  </a:lnTo>
                  <a:lnTo>
                    <a:pt x="519" y="132"/>
                  </a:lnTo>
                  <a:lnTo>
                    <a:pt x="516" y="130"/>
                  </a:lnTo>
                  <a:lnTo>
                    <a:pt x="516" y="130"/>
                  </a:lnTo>
                  <a:lnTo>
                    <a:pt x="509" y="133"/>
                  </a:lnTo>
                  <a:lnTo>
                    <a:pt x="503" y="135"/>
                  </a:lnTo>
                  <a:lnTo>
                    <a:pt x="503" y="135"/>
                  </a:lnTo>
                  <a:lnTo>
                    <a:pt x="490" y="137"/>
                  </a:lnTo>
                  <a:lnTo>
                    <a:pt x="490" y="137"/>
                  </a:lnTo>
                  <a:lnTo>
                    <a:pt x="490" y="139"/>
                  </a:lnTo>
                  <a:lnTo>
                    <a:pt x="490" y="139"/>
                  </a:lnTo>
                  <a:lnTo>
                    <a:pt x="489" y="142"/>
                  </a:lnTo>
                  <a:lnTo>
                    <a:pt x="485" y="143"/>
                  </a:lnTo>
                  <a:lnTo>
                    <a:pt x="485" y="143"/>
                  </a:lnTo>
                  <a:lnTo>
                    <a:pt x="483" y="142"/>
                  </a:lnTo>
                  <a:lnTo>
                    <a:pt x="479" y="142"/>
                  </a:lnTo>
                  <a:lnTo>
                    <a:pt x="479" y="142"/>
                  </a:lnTo>
                  <a:lnTo>
                    <a:pt x="479" y="142"/>
                  </a:lnTo>
                  <a:lnTo>
                    <a:pt x="482" y="140"/>
                  </a:lnTo>
                  <a:lnTo>
                    <a:pt x="483" y="139"/>
                  </a:lnTo>
                  <a:lnTo>
                    <a:pt x="486" y="139"/>
                  </a:lnTo>
                  <a:lnTo>
                    <a:pt x="486" y="139"/>
                  </a:lnTo>
                  <a:lnTo>
                    <a:pt x="486" y="139"/>
                  </a:lnTo>
                  <a:lnTo>
                    <a:pt x="486" y="139"/>
                  </a:lnTo>
                  <a:lnTo>
                    <a:pt x="483" y="139"/>
                  </a:lnTo>
                  <a:lnTo>
                    <a:pt x="480" y="139"/>
                  </a:lnTo>
                  <a:lnTo>
                    <a:pt x="480" y="140"/>
                  </a:lnTo>
                  <a:lnTo>
                    <a:pt x="480" y="140"/>
                  </a:lnTo>
                  <a:lnTo>
                    <a:pt x="472" y="142"/>
                  </a:lnTo>
                  <a:lnTo>
                    <a:pt x="472" y="142"/>
                  </a:lnTo>
                  <a:lnTo>
                    <a:pt x="463" y="144"/>
                  </a:lnTo>
                  <a:lnTo>
                    <a:pt x="463" y="144"/>
                  </a:lnTo>
                  <a:lnTo>
                    <a:pt x="455" y="147"/>
                  </a:lnTo>
                  <a:lnTo>
                    <a:pt x="446" y="150"/>
                  </a:lnTo>
                  <a:lnTo>
                    <a:pt x="446" y="150"/>
                  </a:lnTo>
                  <a:lnTo>
                    <a:pt x="443" y="152"/>
                  </a:lnTo>
                  <a:lnTo>
                    <a:pt x="439" y="153"/>
                  </a:lnTo>
                  <a:lnTo>
                    <a:pt x="431" y="156"/>
                  </a:lnTo>
                  <a:lnTo>
                    <a:pt x="431" y="156"/>
                  </a:lnTo>
                  <a:lnTo>
                    <a:pt x="429" y="156"/>
                  </a:lnTo>
                  <a:lnTo>
                    <a:pt x="431" y="156"/>
                  </a:lnTo>
                  <a:lnTo>
                    <a:pt x="431" y="156"/>
                  </a:lnTo>
                  <a:lnTo>
                    <a:pt x="423" y="159"/>
                  </a:lnTo>
                  <a:lnTo>
                    <a:pt x="419" y="160"/>
                  </a:lnTo>
                  <a:lnTo>
                    <a:pt x="419" y="160"/>
                  </a:lnTo>
                  <a:lnTo>
                    <a:pt x="415" y="162"/>
                  </a:lnTo>
                  <a:lnTo>
                    <a:pt x="415" y="162"/>
                  </a:lnTo>
                  <a:lnTo>
                    <a:pt x="401" y="167"/>
                  </a:lnTo>
                  <a:lnTo>
                    <a:pt x="401" y="167"/>
                  </a:lnTo>
                  <a:lnTo>
                    <a:pt x="401" y="169"/>
                  </a:lnTo>
                  <a:lnTo>
                    <a:pt x="401" y="170"/>
                  </a:lnTo>
                  <a:lnTo>
                    <a:pt x="401" y="170"/>
                  </a:lnTo>
                  <a:lnTo>
                    <a:pt x="389" y="174"/>
                  </a:lnTo>
                  <a:lnTo>
                    <a:pt x="389" y="174"/>
                  </a:lnTo>
                  <a:lnTo>
                    <a:pt x="378" y="182"/>
                  </a:lnTo>
                  <a:lnTo>
                    <a:pt x="378" y="182"/>
                  </a:lnTo>
                  <a:lnTo>
                    <a:pt x="366" y="187"/>
                  </a:lnTo>
                  <a:lnTo>
                    <a:pt x="366" y="187"/>
                  </a:lnTo>
                  <a:lnTo>
                    <a:pt x="356" y="192"/>
                  </a:lnTo>
                  <a:lnTo>
                    <a:pt x="356" y="192"/>
                  </a:lnTo>
                  <a:lnTo>
                    <a:pt x="356" y="192"/>
                  </a:lnTo>
                  <a:lnTo>
                    <a:pt x="358" y="192"/>
                  </a:lnTo>
                  <a:lnTo>
                    <a:pt x="358" y="192"/>
                  </a:lnTo>
                  <a:lnTo>
                    <a:pt x="346" y="197"/>
                  </a:lnTo>
                  <a:lnTo>
                    <a:pt x="336" y="204"/>
                  </a:lnTo>
                  <a:lnTo>
                    <a:pt x="336" y="204"/>
                  </a:lnTo>
                  <a:lnTo>
                    <a:pt x="314" y="219"/>
                  </a:lnTo>
                  <a:lnTo>
                    <a:pt x="314" y="219"/>
                  </a:lnTo>
                  <a:lnTo>
                    <a:pt x="306" y="226"/>
                  </a:lnTo>
                  <a:lnTo>
                    <a:pt x="306" y="226"/>
                  </a:lnTo>
                  <a:lnTo>
                    <a:pt x="296" y="233"/>
                  </a:lnTo>
                  <a:lnTo>
                    <a:pt x="296" y="233"/>
                  </a:lnTo>
                  <a:lnTo>
                    <a:pt x="286" y="242"/>
                  </a:lnTo>
                  <a:lnTo>
                    <a:pt x="286" y="242"/>
                  </a:lnTo>
                  <a:lnTo>
                    <a:pt x="276" y="249"/>
                  </a:lnTo>
                  <a:lnTo>
                    <a:pt x="276" y="249"/>
                  </a:lnTo>
                  <a:lnTo>
                    <a:pt x="276" y="250"/>
                  </a:lnTo>
                  <a:lnTo>
                    <a:pt x="276" y="250"/>
                  </a:lnTo>
                  <a:lnTo>
                    <a:pt x="276" y="252"/>
                  </a:lnTo>
                  <a:lnTo>
                    <a:pt x="276" y="253"/>
                  </a:lnTo>
                  <a:lnTo>
                    <a:pt x="276" y="253"/>
                  </a:lnTo>
                  <a:lnTo>
                    <a:pt x="274" y="256"/>
                  </a:lnTo>
                  <a:lnTo>
                    <a:pt x="274" y="256"/>
                  </a:lnTo>
                  <a:lnTo>
                    <a:pt x="274" y="254"/>
                  </a:lnTo>
                  <a:lnTo>
                    <a:pt x="272" y="254"/>
                  </a:lnTo>
                  <a:lnTo>
                    <a:pt x="268" y="257"/>
                  </a:lnTo>
                  <a:lnTo>
                    <a:pt x="268" y="257"/>
                  </a:lnTo>
                  <a:lnTo>
                    <a:pt x="259" y="264"/>
                  </a:lnTo>
                  <a:lnTo>
                    <a:pt x="259" y="264"/>
                  </a:lnTo>
                  <a:lnTo>
                    <a:pt x="259" y="266"/>
                  </a:lnTo>
                  <a:lnTo>
                    <a:pt x="261" y="264"/>
                  </a:lnTo>
                  <a:lnTo>
                    <a:pt x="264" y="262"/>
                  </a:lnTo>
                  <a:lnTo>
                    <a:pt x="264" y="262"/>
                  </a:lnTo>
                  <a:lnTo>
                    <a:pt x="265" y="263"/>
                  </a:lnTo>
                  <a:lnTo>
                    <a:pt x="264" y="264"/>
                  </a:lnTo>
                  <a:lnTo>
                    <a:pt x="261" y="267"/>
                  </a:lnTo>
                  <a:lnTo>
                    <a:pt x="261" y="267"/>
                  </a:lnTo>
                  <a:lnTo>
                    <a:pt x="255" y="270"/>
                  </a:lnTo>
                  <a:lnTo>
                    <a:pt x="249" y="274"/>
                  </a:lnTo>
                  <a:lnTo>
                    <a:pt x="249" y="274"/>
                  </a:lnTo>
                  <a:lnTo>
                    <a:pt x="244" y="280"/>
                  </a:lnTo>
                  <a:lnTo>
                    <a:pt x="239" y="286"/>
                  </a:lnTo>
                  <a:lnTo>
                    <a:pt x="239" y="286"/>
                  </a:lnTo>
                  <a:lnTo>
                    <a:pt x="238" y="287"/>
                  </a:lnTo>
                  <a:lnTo>
                    <a:pt x="238" y="287"/>
                  </a:lnTo>
                  <a:lnTo>
                    <a:pt x="239" y="287"/>
                  </a:lnTo>
                  <a:lnTo>
                    <a:pt x="238" y="289"/>
                  </a:lnTo>
                  <a:lnTo>
                    <a:pt x="238" y="289"/>
                  </a:lnTo>
                  <a:lnTo>
                    <a:pt x="235" y="292"/>
                  </a:lnTo>
                  <a:lnTo>
                    <a:pt x="235" y="292"/>
                  </a:lnTo>
                  <a:lnTo>
                    <a:pt x="235" y="292"/>
                  </a:lnTo>
                  <a:lnTo>
                    <a:pt x="237" y="289"/>
                  </a:lnTo>
                  <a:lnTo>
                    <a:pt x="237" y="289"/>
                  </a:lnTo>
                  <a:lnTo>
                    <a:pt x="234" y="292"/>
                  </a:lnTo>
                  <a:lnTo>
                    <a:pt x="231" y="296"/>
                  </a:lnTo>
                  <a:lnTo>
                    <a:pt x="231" y="296"/>
                  </a:lnTo>
                  <a:lnTo>
                    <a:pt x="232" y="294"/>
                  </a:lnTo>
                  <a:lnTo>
                    <a:pt x="232" y="296"/>
                  </a:lnTo>
                  <a:lnTo>
                    <a:pt x="232" y="297"/>
                  </a:lnTo>
                  <a:lnTo>
                    <a:pt x="232" y="297"/>
                  </a:lnTo>
                  <a:lnTo>
                    <a:pt x="234" y="294"/>
                  </a:lnTo>
                  <a:lnTo>
                    <a:pt x="237" y="293"/>
                  </a:lnTo>
                  <a:lnTo>
                    <a:pt x="237" y="293"/>
                  </a:lnTo>
                  <a:lnTo>
                    <a:pt x="234" y="297"/>
                  </a:lnTo>
                  <a:lnTo>
                    <a:pt x="234" y="297"/>
                  </a:lnTo>
                  <a:lnTo>
                    <a:pt x="231" y="301"/>
                  </a:lnTo>
                  <a:lnTo>
                    <a:pt x="231" y="301"/>
                  </a:lnTo>
                  <a:lnTo>
                    <a:pt x="228" y="304"/>
                  </a:lnTo>
                  <a:lnTo>
                    <a:pt x="224" y="307"/>
                  </a:lnTo>
                  <a:lnTo>
                    <a:pt x="224" y="307"/>
                  </a:lnTo>
                  <a:lnTo>
                    <a:pt x="224" y="306"/>
                  </a:lnTo>
                  <a:lnTo>
                    <a:pt x="225" y="304"/>
                  </a:lnTo>
                  <a:lnTo>
                    <a:pt x="229" y="300"/>
                  </a:lnTo>
                  <a:lnTo>
                    <a:pt x="229" y="300"/>
                  </a:lnTo>
                  <a:lnTo>
                    <a:pt x="227" y="301"/>
                  </a:lnTo>
                  <a:lnTo>
                    <a:pt x="228" y="300"/>
                  </a:lnTo>
                  <a:lnTo>
                    <a:pt x="231" y="296"/>
                  </a:lnTo>
                  <a:lnTo>
                    <a:pt x="231" y="296"/>
                  </a:lnTo>
                  <a:lnTo>
                    <a:pt x="227" y="299"/>
                  </a:lnTo>
                  <a:lnTo>
                    <a:pt x="225" y="301"/>
                  </a:lnTo>
                  <a:lnTo>
                    <a:pt x="222" y="304"/>
                  </a:lnTo>
                  <a:lnTo>
                    <a:pt x="219" y="307"/>
                  </a:lnTo>
                  <a:lnTo>
                    <a:pt x="219" y="307"/>
                  </a:lnTo>
                  <a:lnTo>
                    <a:pt x="219" y="309"/>
                  </a:lnTo>
                  <a:lnTo>
                    <a:pt x="221" y="307"/>
                  </a:lnTo>
                  <a:lnTo>
                    <a:pt x="222" y="307"/>
                  </a:lnTo>
                  <a:lnTo>
                    <a:pt x="222" y="307"/>
                  </a:lnTo>
                  <a:lnTo>
                    <a:pt x="219" y="310"/>
                  </a:lnTo>
                  <a:lnTo>
                    <a:pt x="219" y="310"/>
                  </a:lnTo>
                  <a:lnTo>
                    <a:pt x="219" y="310"/>
                  </a:lnTo>
                  <a:lnTo>
                    <a:pt x="222" y="309"/>
                  </a:lnTo>
                  <a:lnTo>
                    <a:pt x="222" y="309"/>
                  </a:lnTo>
                  <a:lnTo>
                    <a:pt x="218" y="316"/>
                  </a:lnTo>
                  <a:lnTo>
                    <a:pt x="215" y="323"/>
                  </a:lnTo>
                  <a:lnTo>
                    <a:pt x="215" y="323"/>
                  </a:lnTo>
                  <a:lnTo>
                    <a:pt x="212" y="324"/>
                  </a:lnTo>
                  <a:lnTo>
                    <a:pt x="212" y="324"/>
                  </a:lnTo>
                  <a:lnTo>
                    <a:pt x="211" y="324"/>
                  </a:lnTo>
                  <a:lnTo>
                    <a:pt x="211" y="324"/>
                  </a:lnTo>
                  <a:lnTo>
                    <a:pt x="208" y="330"/>
                  </a:lnTo>
                  <a:lnTo>
                    <a:pt x="207" y="333"/>
                  </a:lnTo>
                  <a:lnTo>
                    <a:pt x="205" y="336"/>
                  </a:lnTo>
                  <a:lnTo>
                    <a:pt x="205" y="336"/>
                  </a:lnTo>
                  <a:lnTo>
                    <a:pt x="204" y="336"/>
                  </a:lnTo>
                  <a:lnTo>
                    <a:pt x="205" y="334"/>
                  </a:lnTo>
                  <a:lnTo>
                    <a:pt x="205" y="334"/>
                  </a:lnTo>
                  <a:lnTo>
                    <a:pt x="205" y="330"/>
                  </a:lnTo>
                  <a:lnTo>
                    <a:pt x="205" y="330"/>
                  </a:lnTo>
                  <a:lnTo>
                    <a:pt x="204" y="334"/>
                  </a:lnTo>
                  <a:lnTo>
                    <a:pt x="204" y="336"/>
                  </a:lnTo>
                  <a:lnTo>
                    <a:pt x="204" y="336"/>
                  </a:lnTo>
                  <a:lnTo>
                    <a:pt x="204" y="336"/>
                  </a:lnTo>
                  <a:lnTo>
                    <a:pt x="202" y="339"/>
                  </a:lnTo>
                  <a:lnTo>
                    <a:pt x="199" y="343"/>
                  </a:lnTo>
                  <a:lnTo>
                    <a:pt x="199" y="343"/>
                  </a:lnTo>
                  <a:lnTo>
                    <a:pt x="198" y="343"/>
                  </a:lnTo>
                  <a:lnTo>
                    <a:pt x="198" y="341"/>
                  </a:lnTo>
                  <a:lnTo>
                    <a:pt x="198" y="341"/>
                  </a:lnTo>
                  <a:lnTo>
                    <a:pt x="197" y="343"/>
                  </a:lnTo>
                  <a:lnTo>
                    <a:pt x="197" y="343"/>
                  </a:lnTo>
                  <a:lnTo>
                    <a:pt x="195" y="347"/>
                  </a:lnTo>
                  <a:lnTo>
                    <a:pt x="192" y="353"/>
                  </a:lnTo>
                  <a:lnTo>
                    <a:pt x="192" y="353"/>
                  </a:lnTo>
                  <a:lnTo>
                    <a:pt x="189" y="359"/>
                  </a:lnTo>
                  <a:lnTo>
                    <a:pt x="187" y="359"/>
                  </a:lnTo>
                  <a:lnTo>
                    <a:pt x="187" y="359"/>
                  </a:lnTo>
                  <a:lnTo>
                    <a:pt x="184" y="364"/>
                  </a:lnTo>
                  <a:lnTo>
                    <a:pt x="181" y="370"/>
                  </a:lnTo>
                  <a:lnTo>
                    <a:pt x="181" y="370"/>
                  </a:lnTo>
                  <a:lnTo>
                    <a:pt x="178" y="373"/>
                  </a:lnTo>
                  <a:lnTo>
                    <a:pt x="175" y="377"/>
                  </a:lnTo>
                  <a:lnTo>
                    <a:pt x="174" y="381"/>
                  </a:lnTo>
                  <a:lnTo>
                    <a:pt x="172" y="383"/>
                  </a:lnTo>
                  <a:lnTo>
                    <a:pt x="172" y="383"/>
                  </a:lnTo>
                  <a:lnTo>
                    <a:pt x="171" y="386"/>
                  </a:lnTo>
                  <a:lnTo>
                    <a:pt x="171" y="389"/>
                  </a:lnTo>
                  <a:lnTo>
                    <a:pt x="167" y="393"/>
                  </a:lnTo>
                  <a:lnTo>
                    <a:pt x="167" y="393"/>
                  </a:lnTo>
                  <a:lnTo>
                    <a:pt x="162" y="400"/>
                  </a:lnTo>
                  <a:lnTo>
                    <a:pt x="162" y="400"/>
                  </a:lnTo>
                  <a:lnTo>
                    <a:pt x="161" y="406"/>
                  </a:lnTo>
                  <a:lnTo>
                    <a:pt x="161" y="406"/>
                  </a:lnTo>
                  <a:lnTo>
                    <a:pt x="155" y="417"/>
                  </a:lnTo>
                  <a:lnTo>
                    <a:pt x="155" y="417"/>
                  </a:lnTo>
                  <a:lnTo>
                    <a:pt x="150" y="427"/>
                  </a:lnTo>
                  <a:lnTo>
                    <a:pt x="150" y="427"/>
                  </a:lnTo>
                  <a:lnTo>
                    <a:pt x="150" y="429"/>
                  </a:lnTo>
                  <a:lnTo>
                    <a:pt x="150" y="427"/>
                  </a:lnTo>
                  <a:lnTo>
                    <a:pt x="150" y="426"/>
                  </a:lnTo>
                  <a:lnTo>
                    <a:pt x="148" y="427"/>
                  </a:lnTo>
                  <a:lnTo>
                    <a:pt x="148" y="427"/>
                  </a:lnTo>
                  <a:lnTo>
                    <a:pt x="145" y="437"/>
                  </a:lnTo>
                  <a:lnTo>
                    <a:pt x="142" y="446"/>
                  </a:lnTo>
                  <a:lnTo>
                    <a:pt x="138" y="454"/>
                  </a:lnTo>
                  <a:lnTo>
                    <a:pt x="135" y="463"/>
                  </a:lnTo>
                  <a:lnTo>
                    <a:pt x="135" y="463"/>
                  </a:lnTo>
                  <a:lnTo>
                    <a:pt x="138" y="458"/>
                  </a:lnTo>
                  <a:lnTo>
                    <a:pt x="138" y="458"/>
                  </a:lnTo>
                  <a:lnTo>
                    <a:pt x="138" y="460"/>
                  </a:lnTo>
                  <a:lnTo>
                    <a:pt x="140" y="460"/>
                  </a:lnTo>
                  <a:lnTo>
                    <a:pt x="140" y="460"/>
                  </a:lnTo>
                  <a:lnTo>
                    <a:pt x="137" y="464"/>
                  </a:lnTo>
                  <a:lnTo>
                    <a:pt x="135" y="467"/>
                  </a:lnTo>
                  <a:lnTo>
                    <a:pt x="135" y="467"/>
                  </a:lnTo>
                  <a:lnTo>
                    <a:pt x="131" y="476"/>
                  </a:lnTo>
                  <a:lnTo>
                    <a:pt x="131" y="476"/>
                  </a:lnTo>
                  <a:lnTo>
                    <a:pt x="132" y="476"/>
                  </a:lnTo>
                  <a:lnTo>
                    <a:pt x="132" y="476"/>
                  </a:lnTo>
                  <a:lnTo>
                    <a:pt x="134" y="473"/>
                  </a:lnTo>
                  <a:lnTo>
                    <a:pt x="134" y="473"/>
                  </a:lnTo>
                  <a:lnTo>
                    <a:pt x="134" y="473"/>
                  </a:lnTo>
                  <a:lnTo>
                    <a:pt x="134" y="474"/>
                  </a:lnTo>
                  <a:lnTo>
                    <a:pt x="132" y="477"/>
                  </a:lnTo>
                  <a:lnTo>
                    <a:pt x="132" y="478"/>
                  </a:lnTo>
                  <a:lnTo>
                    <a:pt x="132" y="478"/>
                  </a:lnTo>
                  <a:lnTo>
                    <a:pt x="131" y="480"/>
                  </a:lnTo>
                  <a:lnTo>
                    <a:pt x="131" y="483"/>
                  </a:lnTo>
                  <a:lnTo>
                    <a:pt x="131" y="483"/>
                  </a:lnTo>
                  <a:lnTo>
                    <a:pt x="131" y="487"/>
                  </a:lnTo>
                  <a:lnTo>
                    <a:pt x="131" y="487"/>
                  </a:lnTo>
                  <a:lnTo>
                    <a:pt x="128" y="493"/>
                  </a:lnTo>
                  <a:lnTo>
                    <a:pt x="128" y="493"/>
                  </a:lnTo>
                  <a:lnTo>
                    <a:pt x="127" y="498"/>
                  </a:lnTo>
                  <a:lnTo>
                    <a:pt x="125" y="506"/>
                  </a:lnTo>
                  <a:lnTo>
                    <a:pt x="125" y="506"/>
                  </a:lnTo>
                  <a:lnTo>
                    <a:pt x="124" y="507"/>
                  </a:lnTo>
                  <a:lnTo>
                    <a:pt x="122" y="504"/>
                  </a:lnTo>
                  <a:lnTo>
                    <a:pt x="122" y="504"/>
                  </a:lnTo>
                  <a:lnTo>
                    <a:pt x="121" y="507"/>
                  </a:lnTo>
                  <a:lnTo>
                    <a:pt x="121" y="511"/>
                  </a:lnTo>
                  <a:lnTo>
                    <a:pt x="121" y="511"/>
                  </a:lnTo>
                  <a:lnTo>
                    <a:pt x="121" y="511"/>
                  </a:lnTo>
                  <a:lnTo>
                    <a:pt x="121" y="511"/>
                  </a:lnTo>
                  <a:lnTo>
                    <a:pt x="122" y="508"/>
                  </a:lnTo>
                  <a:lnTo>
                    <a:pt x="122" y="508"/>
                  </a:lnTo>
                  <a:lnTo>
                    <a:pt x="122" y="513"/>
                  </a:lnTo>
                  <a:lnTo>
                    <a:pt x="122" y="517"/>
                  </a:lnTo>
                  <a:lnTo>
                    <a:pt x="122" y="517"/>
                  </a:lnTo>
                  <a:lnTo>
                    <a:pt x="121" y="517"/>
                  </a:lnTo>
                  <a:lnTo>
                    <a:pt x="121" y="514"/>
                  </a:lnTo>
                  <a:lnTo>
                    <a:pt x="121" y="514"/>
                  </a:lnTo>
                  <a:lnTo>
                    <a:pt x="120" y="524"/>
                  </a:lnTo>
                  <a:lnTo>
                    <a:pt x="117" y="534"/>
                  </a:lnTo>
                  <a:lnTo>
                    <a:pt x="117" y="534"/>
                  </a:lnTo>
                  <a:lnTo>
                    <a:pt x="117" y="534"/>
                  </a:lnTo>
                  <a:lnTo>
                    <a:pt x="117" y="534"/>
                  </a:lnTo>
                  <a:lnTo>
                    <a:pt x="115" y="534"/>
                  </a:lnTo>
                  <a:lnTo>
                    <a:pt x="115" y="536"/>
                  </a:lnTo>
                  <a:lnTo>
                    <a:pt x="115" y="536"/>
                  </a:lnTo>
                  <a:lnTo>
                    <a:pt x="115" y="541"/>
                  </a:lnTo>
                  <a:lnTo>
                    <a:pt x="114" y="551"/>
                  </a:lnTo>
                  <a:lnTo>
                    <a:pt x="112" y="560"/>
                  </a:lnTo>
                  <a:lnTo>
                    <a:pt x="112" y="567"/>
                  </a:lnTo>
                  <a:lnTo>
                    <a:pt x="112" y="567"/>
                  </a:lnTo>
                  <a:lnTo>
                    <a:pt x="111" y="571"/>
                  </a:lnTo>
                  <a:lnTo>
                    <a:pt x="110" y="573"/>
                  </a:lnTo>
                  <a:lnTo>
                    <a:pt x="110" y="570"/>
                  </a:lnTo>
                  <a:lnTo>
                    <a:pt x="110" y="570"/>
                  </a:lnTo>
                  <a:lnTo>
                    <a:pt x="110" y="574"/>
                  </a:lnTo>
                  <a:lnTo>
                    <a:pt x="111" y="576"/>
                  </a:lnTo>
                  <a:lnTo>
                    <a:pt x="111" y="576"/>
                  </a:lnTo>
                  <a:lnTo>
                    <a:pt x="110" y="578"/>
                  </a:lnTo>
                  <a:lnTo>
                    <a:pt x="108" y="580"/>
                  </a:lnTo>
                  <a:lnTo>
                    <a:pt x="108" y="580"/>
                  </a:lnTo>
                  <a:lnTo>
                    <a:pt x="108" y="583"/>
                  </a:lnTo>
                  <a:lnTo>
                    <a:pt x="108" y="583"/>
                  </a:lnTo>
                  <a:lnTo>
                    <a:pt x="108" y="586"/>
                  </a:lnTo>
                  <a:lnTo>
                    <a:pt x="108" y="586"/>
                  </a:lnTo>
                  <a:lnTo>
                    <a:pt x="108" y="583"/>
                  </a:lnTo>
                  <a:lnTo>
                    <a:pt x="110" y="580"/>
                  </a:lnTo>
                  <a:lnTo>
                    <a:pt x="110" y="580"/>
                  </a:lnTo>
                  <a:lnTo>
                    <a:pt x="110" y="581"/>
                  </a:lnTo>
                  <a:lnTo>
                    <a:pt x="110" y="581"/>
                  </a:lnTo>
                  <a:lnTo>
                    <a:pt x="110" y="581"/>
                  </a:lnTo>
                  <a:lnTo>
                    <a:pt x="108" y="596"/>
                  </a:lnTo>
                  <a:lnTo>
                    <a:pt x="108" y="596"/>
                  </a:lnTo>
                  <a:lnTo>
                    <a:pt x="108" y="603"/>
                  </a:lnTo>
                  <a:lnTo>
                    <a:pt x="108" y="603"/>
                  </a:lnTo>
                  <a:lnTo>
                    <a:pt x="108" y="607"/>
                  </a:lnTo>
                  <a:lnTo>
                    <a:pt x="108" y="607"/>
                  </a:lnTo>
                  <a:lnTo>
                    <a:pt x="108" y="611"/>
                  </a:lnTo>
                  <a:lnTo>
                    <a:pt x="108" y="611"/>
                  </a:lnTo>
                  <a:lnTo>
                    <a:pt x="107" y="611"/>
                  </a:lnTo>
                  <a:lnTo>
                    <a:pt x="105" y="614"/>
                  </a:lnTo>
                  <a:lnTo>
                    <a:pt x="105" y="614"/>
                  </a:lnTo>
                  <a:lnTo>
                    <a:pt x="107" y="615"/>
                  </a:lnTo>
                  <a:lnTo>
                    <a:pt x="107" y="614"/>
                  </a:lnTo>
                  <a:lnTo>
                    <a:pt x="108" y="611"/>
                  </a:lnTo>
                  <a:lnTo>
                    <a:pt x="108" y="611"/>
                  </a:lnTo>
                  <a:lnTo>
                    <a:pt x="110" y="615"/>
                  </a:lnTo>
                  <a:lnTo>
                    <a:pt x="108" y="620"/>
                  </a:lnTo>
                  <a:lnTo>
                    <a:pt x="108" y="623"/>
                  </a:lnTo>
                  <a:lnTo>
                    <a:pt x="108" y="627"/>
                  </a:lnTo>
                  <a:lnTo>
                    <a:pt x="108" y="627"/>
                  </a:lnTo>
                  <a:lnTo>
                    <a:pt x="108" y="630"/>
                  </a:lnTo>
                  <a:lnTo>
                    <a:pt x="107" y="628"/>
                  </a:lnTo>
                  <a:lnTo>
                    <a:pt x="105" y="627"/>
                  </a:lnTo>
                  <a:lnTo>
                    <a:pt x="105" y="627"/>
                  </a:lnTo>
                  <a:lnTo>
                    <a:pt x="105" y="627"/>
                  </a:lnTo>
                  <a:lnTo>
                    <a:pt x="105" y="630"/>
                  </a:lnTo>
                  <a:lnTo>
                    <a:pt x="107" y="630"/>
                  </a:lnTo>
                  <a:lnTo>
                    <a:pt x="108" y="631"/>
                  </a:lnTo>
                  <a:lnTo>
                    <a:pt x="108" y="631"/>
                  </a:lnTo>
                  <a:lnTo>
                    <a:pt x="110" y="633"/>
                  </a:lnTo>
                  <a:lnTo>
                    <a:pt x="108" y="634"/>
                  </a:lnTo>
                  <a:lnTo>
                    <a:pt x="108" y="637"/>
                  </a:lnTo>
                  <a:lnTo>
                    <a:pt x="108" y="637"/>
                  </a:lnTo>
                  <a:lnTo>
                    <a:pt x="107" y="635"/>
                  </a:lnTo>
                  <a:lnTo>
                    <a:pt x="107" y="634"/>
                  </a:lnTo>
                  <a:lnTo>
                    <a:pt x="107" y="634"/>
                  </a:lnTo>
                  <a:lnTo>
                    <a:pt x="107" y="638"/>
                  </a:lnTo>
                  <a:lnTo>
                    <a:pt x="107" y="641"/>
                  </a:lnTo>
                  <a:lnTo>
                    <a:pt x="108" y="641"/>
                  </a:lnTo>
                  <a:lnTo>
                    <a:pt x="108" y="641"/>
                  </a:lnTo>
                  <a:lnTo>
                    <a:pt x="107" y="647"/>
                  </a:lnTo>
                  <a:lnTo>
                    <a:pt x="105" y="653"/>
                  </a:lnTo>
                  <a:lnTo>
                    <a:pt x="105" y="653"/>
                  </a:lnTo>
                  <a:lnTo>
                    <a:pt x="107" y="658"/>
                  </a:lnTo>
                  <a:lnTo>
                    <a:pt x="107" y="665"/>
                  </a:lnTo>
                  <a:lnTo>
                    <a:pt x="107" y="665"/>
                  </a:lnTo>
                  <a:lnTo>
                    <a:pt x="108" y="665"/>
                  </a:lnTo>
                  <a:lnTo>
                    <a:pt x="108" y="665"/>
                  </a:lnTo>
                  <a:lnTo>
                    <a:pt x="110" y="668"/>
                  </a:lnTo>
                  <a:lnTo>
                    <a:pt x="111" y="663"/>
                  </a:lnTo>
                  <a:lnTo>
                    <a:pt x="111" y="663"/>
                  </a:lnTo>
                  <a:lnTo>
                    <a:pt x="110" y="660"/>
                  </a:lnTo>
                  <a:lnTo>
                    <a:pt x="110" y="657"/>
                  </a:lnTo>
                  <a:lnTo>
                    <a:pt x="110" y="657"/>
                  </a:lnTo>
                  <a:lnTo>
                    <a:pt x="110" y="655"/>
                  </a:lnTo>
                  <a:lnTo>
                    <a:pt x="110" y="657"/>
                  </a:lnTo>
                  <a:lnTo>
                    <a:pt x="110" y="657"/>
                  </a:lnTo>
                  <a:lnTo>
                    <a:pt x="108" y="643"/>
                  </a:lnTo>
                  <a:lnTo>
                    <a:pt x="110" y="637"/>
                  </a:lnTo>
                  <a:lnTo>
                    <a:pt x="110" y="635"/>
                  </a:lnTo>
                  <a:lnTo>
                    <a:pt x="111" y="635"/>
                  </a:lnTo>
                  <a:lnTo>
                    <a:pt x="111" y="635"/>
                  </a:lnTo>
                  <a:lnTo>
                    <a:pt x="111" y="633"/>
                  </a:lnTo>
                  <a:lnTo>
                    <a:pt x="110" y="630"/>
                  </a:lnTo>
                  <a:lnTo>
                    <a:pt x="110" y="630"/>
                  </a:lnTo>
                  <a:lnTo>
                    <a:pt x="111" y="628"/>
                  </a:lnTo>
                  <a:lnTo>
                    <a:pt x="111" y="630"/>
                  </a:lnTo>
                  <a:lnTo>
                    <a:pt x="112" y="634"/>
                  </a:lnTo>
                  <a:lnTo>
                    <a:pt x="112" y="634"/>
                  </a:lnTo>
                  <a:lnTo>
                    <a:pt x="112" y="627"/>
                  </a:lnTo>
                  <a:lnTo>
                    <a:pt x="112" y="625"/>
                  </a:lnTo>
                  <a:lnTo>
                    <a:pt x="111" y="625"/>
                  </a:lnTo>
                  <a:lnTo>
                    <a:pt x="111" y="625"/>
                  </a:lnTo>
                  <a:lnTo>
                    <a:pt x="111" y="620"/>
                  </a:lnTo>
                  <a:lnTo>
                    <a:pt x="111" y="615"/>
                  </a:lnTo>
                  <a:lnTo>
                    <a:pt x="111" y="613"/>
                  </a:lnTo>
                  <a:lnTo>
                    <a:pt x="111" y="613"/>
                  </a:lnTo>
                  <a:lnTo>
                    <a:pt x="111" y="613"/>
                  </a:lnTo>
                  <a:lnTo>
                    <a:pt x="111" y="614"/>
                  </a:lnTo>
                  <a:lnTo>
                    <a:pt x="112" y="615"/>
                  </a:lnTo>
                  <a:lnTo>
                    <a:pt x="112" y="615"/>
                  </a:lnTo>
                  <a:lnTo>
                    <a:pt x="112" y="615"/>
                  </a:lnTo>
                  <a:lnTo>
                    <a:pt x="114" y="613"/>
                  </a:lnTo>
                  <a:lnTo>
                    <a:pt x="112" y="608"/>
                  </a:lnTo>
                  <a:lnTo>
                    <a:pt x="112" y="608"/>
                  </a:lnTo>
                  <a:lnTo>
                    <a:pt x="114" y="606"/>
                  </a:lnTo>
                  <a:lnTo>
                    <a:pt x="114" y="606"/>
                  </a:lnTo>
                  <a:lnTo>
                    <a:pt x="115" y="606"/>
                  </a:lnTo>
                  <a:lnTo>
                    <a:pt x="115" y="606"/>
                  </a:lnTo>
                  <a:lnTo>
                    <a:pt x="114" y="603"/>
                  </a:lnTo>
                  <a:lnTo>
                    <a:pt x="114" y="603"/>
                  </a:lnTo>
                  <a:lnTo>
                    <a:pt x="114" y="604"/>
                  </a:lnTo>
                  <a:lnTo>
                    <a:pt x="114" y="604"/>
                  </a:lnTo>
                  <a:lnTo>
                    <a:pt x="114" y="598"/>
                  </a:lnTo>
                  <a:lnTo>
                    <a:pt x="115" y="593"/>
                  </a:lnTo>
                  <a:lnTo>
                    <a:pt x="115" y="593"/>
                  </a:lnTo>
                  <a:lnTo>
                    <a:pt x="114" y="593"/>
                  </a:lnTo>
                  <a:lnTo>
                    <a:pt x="114" y="593"/>
                  </a:lnTo>
                  <a:lnTo>
                    <a:pt x="114" y="593"/>
                  </a:lnTo>
                  <a:lnTo>
                    <a:pt x="114" y="586"/>
                  </a:lnTo>
                  <a:lnTo>
                    <a:pt x="114" y="586"/>
                  </a:lnTo>
                  <a:lnTo>
                    <a:pt x="115" y="587"/>
                  </a:lnTo>
                  <a:lnTo>
                    <a:pt x="115" y="587"/>
                  </a:lnTo>
                  <a:lnTo>
                    <a:pt x="115" y="580"/>
                  </a:lnTo>
                  <a:lnTo>
                    <a:pt x="115" y="574"/>
                  </a:lnTo>
                  <a:lnTo>
                    <a:pt x="115" y="574"/>
                  </a:lnTo>
                  <a:lnTo>
                    <a:pt x="118" y="561"/>
                  </a:lnTo>
                  <a:lnTo>
                    <a:pt x="118" y="561"/>
                  </a:lnTo>
                  <a:lnTo>
                    <a:pt x="118" y="561"/>
                  </a:lnTo>
                  <a:lnTo>
                    <a:pt x="118" y="563"/>
                  </a:lnTo>
                  <a:lnTo>
                    <a:pt x="118" y="566"/>
                  </a:lnTo>
                  <a:lnTo>
                    <a:pt x="118" y="566"/>
                  </a:lnTo>
                  <a:lnTo>
                    <a:pt x="120" y="561"/>
                  </a:lnTo>
                  <a:lnTo>
                    <a:pt x="120" y="557"/>
                  </a:lnTo>
                  <a:lnTo>
                    <a:pt x="120" y="557"/>
                  </a:lnTo>
                  <a:lnTo>
                    <a:pt x="120" y="563"/>
                  </a:lnTo>
                  <a:lnTo>
                    <a:pt x="118" y="568"/>
                  </a:lnTo>
                  <a:lnTo>
                    <a:pt x="118" y="568"/>
                  </a:lnTo>
                  <a:lnTo>
                    <a:pt x="120" y="573"/>
                  </a:lnTo>
                  <a:lnTo>
                    <a:pt x="118" y="577"/>
                  </a:lnTo>
                  <a:lnTo>
                    <a:pt x="118" y="577"/>
                  </a:lnTo>
                  <a:lnTo>
                    <a:pt x="117" y="583"/>
                  </a:lnTo>
                  <a:lnTo>
                    <a:pt x="117" y="583"/>
                  </a:lnTo>
                  <a:lnTo>
                    <a:pt x="118" y="588"/>
                  </a:lnTo>
                  <a:lnTo>
                    <a:pt x="118" y="588"/>
                  </a:lnTo>
                  <a:lnTo>
                    <a:pt x="118" y="583"/>
                  </a:lnTo>
                  <a:lnTo>
                    <a:pt x="118" y="583"/>
                  </a:lnTo>
                  <a:lnTo>
                    <a:pt x="118" y="578"/>
                  </a:lnTo>
                  <a:lnTo>
                    <a:pt x="118" y="578"/>
                  </a:lnTo>
                  <a:lnTo>
                    <a:pt x="120" y="570"/>
                  </a:lnTo>
                  <a:lnTo>
                    <a:pt x="120" y="570"/>
                  </a:lnTo>
                  <a:lnTo>
                    <a:pt x="122" y="554"/>
                  </a:lnTo>
                  <a:lnTo>
                    <a:pt x="122" y="554"/>
                  </a:lnTo>
                  <a:lnTo>
                    <a:pt x="121" y="554"/>
                  </a:lnTo>
                  <a:lnTo>
                    <a:pt x="121" y="554"/>
                  </a:lnTo>
                  <a:lnTo>
                    <a:pt x="120" y="557"/>
                  </a:lnTo>
                  <a:lnTo>
                    <a:pt x="120" y="557"/>
                  </a:lnTo>
                  <a:lnTo>
                    <a:pt x="121" y="554"/>
                  </a:lnTo>
                  <a:lnTo>
                    <a:pt x="122" y="551"/>
                  </a:lnTo>
                  <a:lnTo>
                    <a:pt x="122" y="550"/>
                  </a:lnTo>
                  <a:lnTo>
                    <a:pt x="124" y="546"/>
                  </a:lnTo>
                  <a:lnTo>
                    <a:pt x="124" y="546"/>
                  </a:lnTo>
                  <a:lnTo>
                    <a:pt x="121" y="551"/>
                  </a:lnTo>
                  <a:lnTo>
                    <a:pt x="121" y="551"/>
                  </a:lnTo>
                  <a:lnTo>
                    <a:pt x="121" y="548"/>
                  </a:lnTo>
                  <a:lnTo>
                    <a:pt x="121" y="547"/>
                  </a:lnTo>
                  <a:lnTo>
                    <a:pt x="122" y="546"/>
                  </a:lnTo>
                  <a:lnTo>
                    <a:pt x="121" y="543"/>
                  </a:lnTo>
                  <a:lnTo>
                    <a:pt x="121" y="543"/>
                  </a:lnTo>
                  <a:lnTo>
                    <a:pt x="122" y="543"/>
                  </a:lnTo>
                  <a:lnTo>
                    <a:pt x="122" y="543"/>
                  </a:lnTo>
                  <a:lnTo>
                    <a:pt x="122" y="544"/>
                  </a:lnTo>
                  <a:lnTo>
                    <a:pt x="122" y="544"/>
                  </a:lnTo>
                  <a:lnTo>
                    <a:pt x="124" y="543"/>
                  </a:lnTo>
                  <a:lnTo>
                    <a:pt x="124" y="540"/>
                  </a:lnTo>
                  <a:lnTo>
                    <a:pt x="124" y="540"/>
                  </a:lnTo>
                  <a:lnTo>
                    <a:pt x="124" y="536"/>
                  </a:lnTo>
                  <a:lnTo>
                    <a:pt x="125" y="528"/>
                  </a:lnTo>
                  <a:lnTo>
                    <a:pt x="130" y="514"/>
                  </a:lnTo>
                  <a:lnTo>
                    <a:pt x="130" y="514"/>
                  </a:lnTo>
                  <a:lnTo>
                    <a:pt x="130" y="514"/>
                  </a:lnTo>
                  <a:lnTo>
                    <a:pt x="130" y="517"/>
                  </a:lnTo>
                  <a:lnTo>
                    <a:pt x="128" y="518"/>
                  </a:lnTo>
                  <a:lnTo>
                    <a:pt x="128" y="520"/>
                  </a:lnTo>
                  <a:lnTo>
                    <a:pt x="128" y="520"/>
                  </a:lnTo>
                  <a:lnTo>
                    <a:pt x="131" y="511"/>
                  </a:lnTo>
                  <a:lnTo>
                    <a:pt x="131" y="511"/>
                  </a:lnTo>
                  <a:lnTo>
                    <a:pt x="132" y="501"/>
                  </a:lnTo>
                  <a:lnTo>
                    <a:pt x="132" y="501"/>
                  </a:lnTo>
                  <a:lnTo>
                    <a:pt x="135" y="491"/>
                  </a:lnTo>
                  <a:lnTo>
                    <a:pt x="138" y="483"/>
                  </a:lnTo>
                  <a:lnTo>
                    <a:pt x="138" y="483"/>
                  </a:lnTo>
                  <a:lnTo>
                    <a:pt x="140" y="484"/>
                  </a:lnTo>
                  <a:lnTo>
                    <a:pt x="140" y="486"/>
                  </a:lnTo>
                  <a:lnTo>
                    <a:pt x="140" y="486"/>
                  </a:lnTo>
                  <a:lnTo>
                    <a:pt x="141" y="484"/>
                  </a:lnTo>
                  <a:lnTo>
                    <a:pt x="141" y="481"/>
                  </a:lnTo>
                  <a:lnTo>
                    <a:pt x="140" y="480"/>
                  </a:lnTo>
                  <a:lnTo>
                    <a:pt x="140" y="480"/>
                  </a:lnTo>
                  <a:lnTo>
                    <a:pt x="141" y="477"/>
                  </a:lnTo>
                  <a:lnTo>
                    <a:pt x="141" y="477"/>
                  </a:lnTo>
                  <a:lnTo>
                    <a:pt x="142" y="477"/>
                  </a:lnTo>
                  <a:lnTo>
                    <a:pt x="144" y="474"/>
                  </a:lnTo>
                  <a:lnTo>
                    <a:pt x="144" y="474"/>
                  </a:lnTo>
                  <a:lnTo>
                    <a:pt x="144" y="473"/>
                  </a:lnTo>
                  <a:lnTo>
                    <a:pt x="142" y="474"/>
                  </a:lnTo>
                  <a:lnTo>
                    <a:pt x="142" y="476"/>
                  </a:lnTo>
                  <a:lnTo>
                    <a:pt x="141" y="474"/>
                  </a:lnTo>
                  <a:lnTo>
                    <a:pt x="141" y="474"/>
                  </a:lnTo>
                  <a:lnTo>
                    <a:pt x="144" y="468"/>
                  </a:lnTo>
                  <a:lnTo>
                    <a:pt x="144" y="468"/>
                  </a:lnTo>
                  <a:lnTo>
                    <a:pt x="145" y="463"/>
                  </a:lnTo>
                  <a:lnTo>
                    <a:pt x="145" y="463"/>
                  </a:lnTo>
                  <a:lnTo>
                    <a:pt x="147" y="457"/>
                  </a:lnTo>
                  <a:lnTo>
                    <a:pt x="150" y="453"/>
                  </a:lnTo>
                  <a:lnTo>
                    <a:pt x="150" y="453"/>
                  </a:lnTo>
                  <a:lnTo>
                    <a:pt x="150" y="450"/>
                  </a:lnTo>
                  <a:lnTo>
                    <a:pt x="150" y="447"/>
                  </a:lnTo>
                  <a:lnTo>
                    <a:pt x="152" y="441"/>
                  </a:lnTo>
                  <a:lnTo>
                    <a:pt x="152" y="441"/>
                  </a:lnTo>
                  <a:lnTo>
                    <a:pt x="154" y="440"/>
                  </a:lnTo>
                  <a:lnTo>
                    <a:pt x="155" y="439"/>
                  </a:lnTo>
                  <a:lnTo>
                    <a:pt x="155" y="439"/>
                  </a:lnTo>
                  <a:lnTo>
                    <a:pt x="158" y="430"/>
                  </a:lnTo>
                  <a:lnTo>
                    <a:pt x="161" y="421"/>
                  </a:lnTo>
                  <a:lnTo>
                    <a:pt x="161" y="421"/>
                  </a:lnTo>
                  <a:lnTo>
                    <a:pt x="162" y="421"/>
                  </a:lnTo>
                  <a:lnTo>
                    <a:pt x="161" y="424"/>
                  </a:lnTo>
                  <a:lnTo>
                    <a:pt x="159" y="429"/>
                  </a:lnTo>
                  <a:lnTo>
                    <a:pt x="159" y="429"/>
                  </a:lnTo>
                  <a:lnTo>
                    <a:pt x="164" y="421"/>
                  </a:lnTo>
                  <a:lnTo>
                    <a:pt x="164" y="421"/>
                  </a:lnTo>
                  <a:lnTo>
                    <a:pt x="165" y="413"/>
                  </a:lnTo>
                  <a:lnTo>
                    <a:pt x="165" y="413"/>
                  </a:lnTo>
                  <a:lnTo>
                    <a:pt x="167" y="411"/>
                  </a:lnTo>
                  <a:lnTo>
                    <a:pt x="167" y="413"/>
                  </a:lnTo>
                  <a:lnTo>
                    <a:pt x="168" y="413"/>
                  </a:lnTo>
                  <a:lnTo>
                    <a:pt x="168" y="411"/>
                  </a:lnTo>
                  <a:lnTo>
                    <a:pt x="168" y="411"/>
                  </a:lnTo>
                  <a:lnTo>
                    <a:pt x="168" y="416"/>
                  </a:lnTo>
                  <a:lnTo>
                    <a:pt x="167" y="417"/>
                  </a:lnTo>
                  <a:lnTo>
                    <a:pt x="167" y="419"/>
                  </a:lnTo>
                  <a:lnTo>
                    <a:pt x="167" y="419"/>
                  </a:lnTo>
                  <a:lnTo>
                    <a:pt x="174" y="404"/>
                  </a:lnTo>
                  <a:lnTo>
                    <a:pt x="174" y="404"/>
                  </a:lnTo>
                  <a:lnTo>
                    <a:pt x="175" y="400"/>
                  </a:lnTo>
                  <a:lnTo>
                    <a:pt x="175" y="400"/>
                  </a:lnTo>
                  <a:lnTo>
                    <a:pt x="177" y="397"/>
                  </a:lnTo>
                  <a:lnTo>
                    <a:pt x="177" y="397"/>
                  </a:lnTo>
                  <a:lnTo>
                    <a:pt x="178" y="390"/>
                  </a:lnTo>
                  <a:lnTo>
                    <a:pt x="178" y="390"/>
                  </a:lnTo>
                  <a:lnTo>
                    <a:pt x="179" y="389"/>
                  </a:lnTo>
                  <a:lnTo>
                    <a:pt x="181" y="390"/>
                  </a:lnTo>
                  <a:lnTo>
                    <a:pt x="181" y="391"/>
                  </a:lnTo>
                  <a:lnTo>
                    <a:pt x="181" y="391"/>
                  </a:lnTo>
                  <a:lnTo>
                    <a:pt x="185" y="384"/>
                  </a:lnTo>
                  <a:lnTo>
                    <a:pt x="185" y="384"/>
                  </a:lnTo>
                  <a:lnTo>
                    <a:pt x="188" y="377"/>
                  </a:lnTo>
                  <a:lnTo>
                    <a:pt x="188" y="377"/>
                  </a:lnTo>
                  <a:lnTo>
                    <a:pt x="198" y="366"/>
                  </a:lnTo>
                  <a:lnTo>
                    <a:pt x="198" y="366"/>
                  </a:lnTo>
                  <a:lnTo>
                    <a:pt x="198" y="363"/>
                  </a:lnTo>
                  <a:lnTo>
                    <a:pt x="201" y="360"/>
                  </a:lnTo>
                  <a:lnTo>
                    <a:pt x="201" y="360"/>
                  </a:lnTo>
                  <a:lnTo>
                    <a:pt x="204" y="356"/>
                  </a:lnTo>
                  <a:lnTo>
                    <a:pt x="204" y="356"/>
                  </a:lnTo>
                  <a:lnTo>
                    <a:pt x="204" y="356"/>
                  </a:lnTo>
                  <a:lnTo>
                    <a:pt x="204" y="356"/>
                  </a:lnTo>
                  <a:lnTo>
                    <a:pt x="202" y="356"/>
                  </a:lnTo>
                  <a:lnTo>
                    <a:pt x="204" y="354"/>
                  </a:lnTo>
                  <a:lnTo>
                    <a:pt x="204" y="354"/>
                  </a:lnTo>
                  <a:lnTo>
                    <a:pt x="208" y="349"/>
                  </a:lnTo>
                  <a:lnTo>
                    <a:pt x="212" y="341"/>
                  </a:lnTo>
                  <a:lnTo>
                    <a:pt x="212" y="341"/>
                  </a:lnTo>
                  <a:lnTo>
                    <a:pt x="217" y="336"/>
                  </a:lnTo>
                  <a:lnTo>
                    <a:pt x="217" y="336"/>
                  </a:lnTo>
                  <a:lnTo>
                    <a:pt x="218" y="334"/>
                  </a:lnTo>
                  <a:lnTo>
                    <a:pt x="219" y="334"/>
                  </a:lnTo>
                  <a:lnTo>
                    <a:pt x="219" y="334"/>
                  </a:lnTo>
                  <a:lnTo>
                    <a:pt x="225" y="327"/>
                  </a:lnTo>
                  <a:lnTo>
                    <a:pt x="225" y="327"/>
                  </a:lnTo>
                  <a:lnTo>
                    <a:pt x="231" y="319"/>
                  </a:lnTo>
                  <a:lnTo>
                    <a:pt x="231" y="319"/>
                  </a:lnTo>
                  <a:lnTo>
                    <a:pt x="237" y="311"/>
                  </a:lnTo>
                  <a:lnTo>
                    <a:pt x="241" y="306"/>
                  </a:lnTo>
                  <a:lnTo>
                    <a:pt x="241" y="306"/>
                  </a:lnTo>
                  <a:lnTo>
                    <a:pt x="245" y="303"/>
                  </a:lnTo>
                  <a:lnTo>
                    <a:pt x="245" y="303"/>
                  </a:lnTo>
                  <a:lnTo>
                    <a:pt x="248" y="300"/>
                  </a:lnTo>
                  <a:lnTo>
                    <a:pt x="248" y="300"/>
                  </a:lnTo>
                  <a:lnTo>
                    <a:pt x="251" y="296"/>
                  </a:lnTo>
                  <a:lnTo>
                    <a:pt x="255" y="294"/>
                  </a:lnTo>
                  <a:lnTo>
                    <a:pt x="255" y="294"/>
                  </a:lnTo>
                  <a:lnTo>
                    <a:pt x="258" y="289"/>
                  </a:lnTo>
                  <a:lnTo>
                    <a:pt x="262" y="283"/>
                  </a:lnTo>
                  <a:lnTo>
                    <a:pt x="262" y="283"/>
                  </a:lnTo>
                  <a:lnTo>
                    <a:pt x="264" y="283"/>
                  </a:lnTo>
                  <a:lnTo>
                    <a:pt x="265" y="283"/>
                  </a:lnTo>
                  <a:lnTo>
                    <a:pt x="265" y="283"/>
                  </a:lnTo>
                  <a:lnTo>
                    <a:pt x="276" y="272"/>
                  </a:lnTo>
                  <a:lnTo>
                    <a:pt x="276" y="272"/>
                  </a:lnTo>
                  <a:lnTo>
                    <a:pt x="284" y="266"/>
                  </a:lnTo>
                  <a:lnTo>
                    <a:pt x="289" y="260"/>
                  </a:lnTo>
                  <a:lnTo>
                    <a:pt x="295" y="254"/>
                  </a:lnTo>
                  <a:lnTo>
                    <a:pt x="295" y="254"/>
                  </a:lnTo>
                  <a:lnTo>
                    <a:pt x="298" y="252"/>
                  </a:lnTo>
                  <a:lnTo>
                    <a:pt x="302" y="250"/>
                  </a:lnTo>
                  <a:lnTo>
                    <a:pt x="302" y="250"/>
                  </a:lnTo>
                  <a:lnTo>
                    <a:pt x="315" y="240"/>
                  </a:lnTo>
                  <a:lnTo>
                    <a:pt x="315" y="240"/>
                  </a:lnTo>
                  <a:lnTo>
                    <a:pt x="315" y="239"/>
                  </a:lnTo>
                  <a:lnTo>
                    <a:pt x="314" y="240"/>
                  </a:lnTo>
                  <a:lnTo>
                    <a:pt x="314" y="240"/>
                  </a:lnTo>
                  <a:lnTo>
                    <a:pt x="325" y="232"/>
                  </a:lnTo>
                  <a:lnTo>
                    <a:pt x="325" y="232"/>
                  </a:lnTo>
                  <a:lnTo>
                    <a:pt x="335" y="224"/>
                  </a:lnTo>
                  <a:lnTo>
                    <a:pt x="338" y="223"/>
                  </a:lnTo>
                  <a:lnTo>
                    <a:pt x="341" y="222"/>
                  </a:lnTo>
                  <a:lnTo>
                    <a:pt x="341" y="222"/>
                  </a:lnTo>
                  <a:lnTo>
                    <a:pt x="346" y="217"/>
                  </a:lnTo>
                  <a:lnTo>
                    <a:pt x="346" y="217"/>
                  </a:lnTo>
                  <a:lnTo>
                    <a:pt x="358" y="210"/>
                  </a:lnTo>
                  <a:lnTo>
                    <a:pt x="358" y="210"/>
                  </a:lnTo>
                  <a:lnTo>
                    <a:pt x="361" y="207"/>
                  </a:lnTo>
                  <a:lnTo>
                    <a:pt x="363" y="207"/>
                  </a:lnTo>
                  <a:lnTo>
                    <a:pt x="369" y="204"/>
                  </a:lnTo>
                  <a:lnTo>
                    <a:pt x="369" y="204"/>
                  </a:lnTo>
                  <a:lnTo>
                    <a:pt x="369" y="203"/>
                  </a:lnTo>
                  <a:lnTo>
                    <a:pt x="369" y="203"/>
                  </a:lnTo>
                  <a:lnTo>
                    <a:pt x="369" y="203"/>
                  </a:lnTo>
                  <a:lnTo>
                    <a:pt x="378" y="199"/>
                  </a:lnTo>
                  <a:lnTo>
                    <a:pt x="378" y="199"/>
                  </a:lnTo>
                  <a:lnTo>
                    <a:pt x="382" y="196"/>
                  </a:lnTo>
                  <a:lnTo>
                    <a:pt x="382" y="196"/>
                  </a:lnTo>
                  <a:lnTo>
                    <a:pt x="386" y="193"/>
                  </a:lnTo>
                  <a:lnTo>
                    <a:pt x="386" y="193"/>
                  </a:lnTo>
                  <a:lnTo>
                    <a:pt x="392" y="193"/>
                  </a:lnTo>
                  <a:lnTo>
                    <a:pt x="392" y="193"/>
                  </a:lnTo>
                  <a:lnTo>
                    <a:pt x="405" y="186"/>
                  </a:lnTo>
                  <a:lnTo>
                    <a:pt x="405" y="186"/>
                  </a:lnTo>
                  <a:lnTo>
                    <a:pt x="418" y="180"/>
                  </a:lnTo>
                  <a:lnTo>
                    <a:pt x="418" y="180"/>
                  </a:lnTo>
                  <a:lnTo>
                    <a:pt x="431" y="174"/>
                  </a:lnTo>
                  <a:lnTo>
                    <a:pt x="443" y="170"/>
                  </a:lnTo>
                  <a:lnTo>
                    <a:pt x="443" y="170"/>
                  </a:lnTo>
                  <a:lnTo>
                    <a:pt x="445" y="169"/>
                  </a:lnTo>
                  <a:lnTo>
                    <a:pt x="445" y="169"/>
                  </a:lnTo>
                  <a:lnTo>
                    <a:pt x="490" y="154"/>
                  </a:lnTo>
                  <a:lnTo>
                    <a:pt x="515" y="149"/>
                  </a:lnTo>
                  <a:lnTo>
                    <a:pt x="537" y="144"/>
                  </a:lnTo>
                  <a:lnTo>
                    <a:pt x="537" y="144"/>
                  </a:lnTo>
                  <a:lnTo>
                    <a:pt x="540" y="144"/>
                  </a:lnTo>
                  <a:lnTo>
                    <a:pt x="540" y="144"/>
                  </a:lnTo>
                  <a:lnTo>
                    <a:pt x="545" y="143"/>
                  </a:lnTo>
                  <a:lnTo>
                    <a:pt x="545" y="143"/>
                  </a:lnTo>
                  <a:lnTo>
                    <a:pt x="555" y="142"/>
                  </a:lnTo>
                  <a:lnTo>
                    <a:pt x="555" y="142"/>
                  </a:lnTo>
                  <a:lnTo>
                    <a:pt x="562" y="142"/>
                  </a:lnTo>
                  <a:lnTo>
                    <a:pt x="562" y="142"/>
                  </a:lnTo>
                  <a:lnTo>
                    <a:pt x="565" y="142"/>
                  </a:lnTo>
                  <a:lnTo>
                    <a:pt x="565" y="142"/>
                  </a:lnTo>
                  <a:lnTo>
                    <a:pt x="567" y="140"/>
                  </a:lnTo>
                  <a:lnTo>
                    <a:pt x="567" y="140"/>
                  </a:lnTo>
                  <a:lnTo>
                    <a:pt x="579" y="140"/>
                  </a:lnTo>
                  <a:lnTo>
                    <a:pt x="579" y="140"/>
                  </a:lnTo>
                  <a:lnTo>
                    <a:pt x="589" y="139"/>
                  </a:lnTo>
                  <a:lnTo>
                    <a:pt x="589" y="139"/>
                  </a:lnTo>
                  <a:lnTo>
                    <a:pt x="597" y="140"/>
                  </a:lnTo>
                  <a:lnTo>
                    <a:pt x="597" y="140"/>
                  </a:lnTo>
                  <a:lnTo>
                    <a:pt x="602" y="139"/>
                  </a:lnTo>
                  <a:lnTo>
                    <a:pt x="602" y="139"/>
                  </a:lnTo>
                  <a:lnTo>
                    <a:pt x="606" y="139"/>
                  </a:lnTo>
                  <a:lnTo>
                    <a:pt x="610" y="139"/>
                  </a:lnTo>
                  <a:lnTo>
                    <a:pt x="610" y="139"/>
                  </a:lnTo>
                  <a:lnTo>
                    <a:pt x="615" y="139"/>
                  </a:lnTo>
                  <a:lnTo>
                    <a:pt x="620" y="140"/>
                  </a:lnTo>
                  <a:lnTo>
                    <a:pt x="620" y="140"/>
                  </a:lnTo>
                  <a:lnTo>
                    <a:pt x="633" y="139"/>
                  </a:lnTo>
                  <a:lnTo>
                    <a:pt x="633" y="139"/>
                  </a:lnTo>
                  <a:lnTo>
                    <a:pt x="647" y="140"/>
                  </a:lnTo>
                  <a:lnTo>
                    <a:pt x="647" y="140"/>
                  </a:lnTo>
                  <a:lnTo>
                    <a:pt x="662" y="142"/>
                  </a:lnTo>
                  <a:lnTo>
                    <a:pt x="676" y="142"/>
                  </a:lnTo>
                  <a:lnTo>
                    <a:pt x="676" y="142"/>
                  </a:lnTo>
                  <a:lnTo>
                    <a:pt x="679" y="143"/>
                  </a:lnTo>
                  <a:lnTo>
                    <a:pt x="679" y="143"/>
                  </a:lnTo>
                  <a:lnTo>
                    <a:pt x="697" y="146"/>
                  </a:lnTo>
                  <a:lnTo>
                    <a:pt x="697" y="146"/>
                  </a:lnTo>
                  <a:lnTo>
                    <a:pt x="714" y="149"/>
                  </a:lnTo>
                  <a:lnTo>
                    <a:pt x="714" y="149"/>
                  </a:lnTo>
                  <a:lnTo>
                    <a:pt x="731" y="153"/>
                  </a:lnTo>
                  <a:lnTo>
                    <a:pt x="749" y="156"/>
                  </a:lnTo>
                  <a:lnTo>
                    <a:pt x="749" y="156"/>
                  </a:lnTo>
                  <a:lnTo>
                    <a:pt x="756" y="159"/>
                  </a:lnTo>
                  <a:lnTo>
                    <a:pt x="763" y="162"/>
                  </a:lnTo>
                  <a:lnTo>
                    <a:pt x="763" y="162"/>
                  </a:lnTo>
                  <a:lnTo>
                    <a:pt x="770" y="163"/>
                  </a:lnTo>
                  <a:lnTo>
                    <a:pt x="770" y="163"/>
                  </a:lnTo>
                  <a:lnTo>
                    <a:pt x="777" y="167"/>
                  </a:lnTo>
                  <a:lnTo>
                    <a:pt x="777" y="167"/>
                  </a:lnTo>
                  <a:lnTo>
                    <a:pt x="783" y="167"/>
                  </a:lnTo>
                  <a:lnTo>
                    <a:pt x="787" y="169"/>
                  </a:lnTo>
                  <a:lnTo>
                    <a:pt x="787" y="169"/>
                  </a:lnTo>
                  <a:lnTo>
                    <a:pt x="796" y="172"/>
                  </a:lnTo>
                  <a:lnTo>
                    <a:pt x="796" y="172"/>
                  </a:lnTo>
                  <a:lnTo>
                    <a:pt x="818" y="183"/>
                  </a:lnTo>
                  <a:lnTo>
                    <a:pt x="841" y="193"/>
                  </a:lnTo>
                  <a:lnTo>
                    <a:pt x="841" y="193"/>
                  </a:lnTo>
                  <a:lnTo>
                    <a:pt x="854" y="200"/>
                  </a:lnTo>
                  <a:lnTo>
                    <a:pt x="854" y="200"/>
                  </a:lnTo>
                  <a:lnTo>
                    <a:pt x="866" y="207"/>
                  </a:lnTo>
                  <a:lnTo>
                    <a:pt x="873" y="212"/>
                  </a:lnTo>
                  <a:lnTo>
                    <a:pt x="873" y="212"/>
                  </a:lnTo>
                  <a:lnTo>
                    <a:pt x="876" y="213"/>
                  </a:lnTo>
                  <a:lnTo>
                    <a:pt x="878" y="214"/>
                  </a:lnTo>
                  <a:lnTo>
                    <a:pt x="890" y="223"/>
                  </a:lnTo>
                  <a:lnTo>
                    <a:pt x="890" y="223"/>
                  </a:lnTo>
                  <a:lnTo>
                    <a:pt x="903" y="230"/>
                  </a:lnTo>
                  <a:lnTo>
                    <a:pt x="914" y="239"/>
                  </a:lnTo>
                  <a:lnTo>
                    <a:pt x="914" y="239"/>
                  </a:lnTo>
                  <a:lnTo>
                    <a:pt x="924" y="247"/>
                  </a:lnTo>
                  <a:lnTo>
                    <a:pt x="924" y="247"/>
                  </a:lnTo>
                  <a:lnTo>
                    <a:pt x="935" y="257"/>
                  </a:lnTo>
                  <a:lnTo>
                    <a:pt x="938" y="259"/>
                  </a:lnTo>
                  <a:lnTo>
                    <a:pt x="938" y="259"/>
                  </a:lnTo>
                  <a:lnTo>
                    <a:pt x="940" y="260"/>
                  </a:lnTo>
                  <a:lnTo>
                    <a:pt x="938" y="260"/>
                  </a:lnTo>
                  <a:lnTo>
                    <a:pt x="938" y="260"/>
                  </a:lnTo>
                  <a:lnTo>
                    <a:pt x="950" y="269"/>
                  </a:lnTo>
                  <a:lnTo>
                    <a:pt x="950" y="269"/>
                  </a:lnTo>
                  <a:lnTo>
                    <a:pt x="960" y="277"/>
                  </a:lnTo>
                  <a:lnTo>
                    <a:pt x="960" y="277"/>
                  </a:lnTo>
                  <a:lnTo>
                    <a:pt x="970" y="287"/>
                  </a:lnTo>
                  <a:lnTo>
                    <a:pt x="970" y="287"/>
                  </a:lnTo>
                  <a:lnTo>
                    <a:pt x="980" y="297"/>
                  </a:lnTo>
                  <a:lnTo>
                    <a:pt x="980" y="297"/>
                  </a:lnTo>
                  <a:lnTo>
                    <a:pt x="981" y="301"/>
                  </a:lnTo>
                  <a:lnTo>
                    <a:pt x="981" y="301"/>
                  </a:lnTo>
                  <a:lnTo>
                    <a:pt x="984" y="303"/>
                  </a:lnTo>
                  <a:lnTo>
                    <a:pt x="984" y="303"/>
                  </a:lnTo>
                  <a:lnTo>
                    <a:pt x="984" y="303"/>
                  </a:lnTo>
                  <a:lnTo>
                    <a:pt x="987" y="306"/>
                  </a:lnTo>
                  <a:lnTo>
                    <a:pt x="987" y="306"/>
                  </a:lnTo>
                  <a:lnTo>
                    <a:pt x="985" y="306"/>
                  </a:lnTo>
                  <a:lnTo>
                    <a:pt x="984" y="304"/>
                  </a:lnTo>
                  <a:lnTo>
                    <a:pt x="984" y="304"/>
                  </a:lnTo>
                  <a:lnTo>
                    <a:pt x="987" y="307"/>
                  </a:lnTo>
                  <a:lnTo>
                    <a:pt x="988" y="309"/>
                  </a:lnTo>
                  <a:lnTo>
                    <a:pt x="988" y="309"/>
                  </a:lnTo>
                  <a:lnTo>
                    <a:pt x="1005" y="330"/>
                  </a:lnTo>
                  <a:lnTo>
                    <a:pt x="1022" y="353"/>
                  </a:lnTo>
                  <a:lnTo>
                    <a:pt x="1037" y="377"/>
                  </a:lnTo>
                  <a:lnTo>
                    <a:pt x="1051" y="400"/>
                  </a:lnTo>
                  <a:lnTo>
                    <a:pt x="1051" y="400"/>
                  </a:lnTo>
                  <a:lnTo>
                    <a:pt x="1054" y="407"/>
                  </a:lnTo>
                  <a:lnTo>
                    <a:pt x="1057" y="413"/>
                  </a:lnTo>
                  <a:lnTo>
                    <a:pt x="1062" y="426"/>
                  </a:lnTo>
                  <a:lnTo>
                    <a:pt x="1062" y="426"/>
                  </a:lnTo>
                  <a:lnTo>
                    <a:pt x="1065" y="431"/>
                  </a:lnTo>
                  <a:lnTo>
                    <a:pt x="1068" y="439"/>
                  </a:lnTo>
                  <a:lnTo>
                    <a:pt x="1068" y="439"/>
                  </a:lnTo>
                  <a:lnTo>
                    <a:pt x="1074" y="451"/>
                  </a:lnTo>
                  <a:lnTo>
                    <a:pt x="1079" y="464"/>
                  </a:lnTo>
                  <a:lnTo>
                    <a:pt x="1079" y="464"/>
                  </a:lnTo>
                  <a:lnTo>
                    <a:pt x="1084" y="477"/>
                  </a:lnTo>
                  <a:lnTo>
                    <a:pt x="1088" y="490"/>
                  </a:lnTo>
                  <a:lnTo>
                    <a:pt x="1088" y="490"/>
                  </a:lnTo>
                  <a:lnTo>
                    <a:pt x="1089" y="497"/>
                  </a:lnTo>
                  <a:lnTo>
                    <a:pt x="1091" y="503"/>
                  </a:lnTo>
                  <a:lnTo>
                    <a:pt x="1091" y="503"/>
                  </a:lnTo>
                  <a:lnTo>
                    <a:pt x="1098" y="530"/>
                  </a:lnTo>
                  <a:lnTo>
                    <a:pt x="1104" y="557"/>
                  </a:lnTo>
                  <a:lnTo>
                    <a:pt x="1107" y="584"/>
                  </a:lnTo>
                  <a:lnTo>
                    <a:pt x="1108" y="613"/>
                  </a:lnTo>
                  <a:lnTo>
                    <a:pt x="1108" y="613"/>
                  </a:lnTo>
                  <a:lnTo>
                    <a:pt x="1108" y="640"/>
                  </a:lnTo>
                  <a:lnTo>
                    <a:pt x="1107" y="668"/>
                  </a:lnTo>
                  <a:lnTo>
                    <a:pt x="1104" y="697"/>
                  </a:lnTo>
                  <a:lnTo>
                    <a:pt x="1099" y="724"/>
                  </a:lnTo>
                  <a:lnTo>
                    <a:pt x="1099" y="724"/>
                  </a:lnTo>
                  <a:lnTo>
                    <a:pt x="1099" y="727"/>
                  </a:lnTo>
                  <a:lnTo>
                    <a:pt x="1099" y="727"/>
                  </a:lnTo>
                  <a:lnTo>
                    <a:pt x="1097" y="743"/>
                  </a:lnTo>
                  <a:lnTo>
                    <a:pt x="1097" y="743"/>
                  </a:lnTo>
                  <a:lnTo>
                    <a:pt x="1092" y="757"/>
                  </a:lnTo>
                  <a:lnTo>
                    <a:pt x="1092" y="757"/>
                  </a:lnTo>
                  <a:lnTo>
                    <a:pt x="1088" y="772"/>
                  </a:lnTo>
                  <a:lnTo>
                    <a:pt x="1088" y="772"/>
                  </a:lnTo>
                  <a:lnTo>
                    <a:pt x="1087" y="780"/>
                  </a:lnTo>
                  <a:lnTo>
                    <a:pt x="1087" y="780"/>
                  </a:lnTo>
                  <a:lnTo>
                    <a:pt x="1084" y="787"/>
                  </a:lnTo>
                  <a:lnTo>
                    <a:pt x="1084" y="787"/>
                  </a:lnTo>
                  <a:lnTo>
                    <a:pt x="1082" y="791"/>
                  </a:lnTo>
                  <a:lnTo>
                    <a:pt x="1082" y="792"/>
                  </a:lnTo>
                  <a:lnTo>
                    <a:pt x="1081" y="794"/>
                  </a:lnTo>
                  <a:lnTo>
                    <a:pt x="1081" y="794"/>
                  </a:lnTo>
                  <a:lnTo>
                    <a:pt x="1079" y="801"/>
                  </a:lnTo>
                  <a:lnTo>
                    <a:pt x="1075" y="810"/>
                  </a:lnTo>
                  <a:lnTo>
                    <a:pt x="1075" y="810"/>
                  </a:lnTo>
                  <a:lnTo>
                    <a:pt x="1075" y="814"/>
                  </a:lnTo>
                  <a:lnTo>
                    <a:pt x="1075" y="814"/>
                  </a:lnTo>
                  <a:lnTo>
                    <a:pt x="1071" y="824"/>
                  </a:lnTo>
                  <a:lnTo>
                    <a:pt x="1067" y="834"/>
                  </a:lnTo>
                  <a:lnTo>
                    <a:pt x="1067" y="834"/>
                  </a:lnTo>
                  <a:lnTo>
                    <a:pt x="1055" y="857"/>
                  </a:lnTo>
                  <a:lnTo>
                    <a:pt x="1051" y="862"/>
                  </a:lnTo>
                  <a:lnTo>
                    <a:pt x="1048" y="868"/>
                  </a:lnTo>
                  <a:lnTo>
                    <a:pt x="1042" y="880"/>
                  </a:lnTo>
                  <a:lnTo>
                    <a:pt x="1042" y="880"/>
                  </a:lnTo>
                  <a:lnTo>
                    <a:pt x="1035" y="891"/>
                  </a:lnTo>
                  <a:lnTo>
                    <a:pt x="1035" y="891"/>
                  </a:lnTo>
                  <a:lnTo>
                    <a:pt x="1028" y="901"/>
                  </a:lnTo>
                  <a:lnTo>
                    <a:pt x="1028" y="901"/>
                  </a:lnTo>
                  <a:lnTo>
                    <a:pt x="1024" y="907"/>
                  </a:lnTo>
                  <a:lnTo>
                    <a:pt x="1021" y="912"/>
                  </a:lnTo>
                  <a:lnTo>
                    <a:pt x="1021" y="912"/>
                  </a:lnTo>
                  <a:lnTo>
                    <a:pt x="1012" y="922"/>
                  </a:lnTo>
                  <a:lnTo>
                    <a:pt x="1012" y="922"/>
                  </a:lnTo>
                  <a:lnTo>
                    <a:pt x="1011" y="925"/>
                  </a:lnTo>
                  <a:lnTo>
                    <a:pt x="1011" y="925"/>
                  </a:lnTo>
                  <a:lnTo>
                    <a:pt x="1004" y="934"/>
                  </a:lnTo>
                  <a:lnTo>
                    <a:pt x="1000" y="941"/>
                  </a:lnTo>
                  <a:lnTo>
                    <a:pt x="1000" y="941"/>
                  </a:lnTo>
                  <a:lnTo>
                    <a:pt x="997" y="941"/>
                  </a:lnTo>
                  <a:lnTo>
                    <a:pt x="997" y="941"/>
                  </a:lnTo>
                  <a:lnTo>
                    <a:pt x="995" y="944"/>
                  </a:lnTo>
                  <a:lnTo>
                    <a:pt x="994" y="945"/>
                  </a:lnTo>
                  <a:lnTo>
                    <a:pt x="991" y="948"/>
                  </a:lnTo>
                  <a:lnTo>
                    <a:pt x="991" y="948"/>
                  </a:lnTo>
                  <a:lnTo>
                    <a:pt x="982" y="959"/>
                  </a:lnTo>
                  <a:lnTo>
                    <a:pt x="982" y="959"/>
                  </a:lnTo>
                  <a:lnTo>
                    <a:pt x="970" y="972"/>
                  </a:lnTo>
                  <a:lnTo>
                    <a:pt x="970" y="972"/>
                  </a:lnTo>
                  <a:lnTo>
                    <a:pt x="968" y="972"/>
                  </a:lnTo>
                  <a:lnTo>
                    <a:pt x="968" y="971"/>
                  </a:lnTo>
                  <a:lnTo>
                    <a:pt x="968" y="971"/>
                  </a:lnTo>
                  <a:lnTo>
                    <a:pt x="967" y="975"/>
                  </a:lnTo>
                  <a:lnTo>
                    <a:pt x="965" y="977"/>
                  </a:lnTo>
                  <a:lnTo>
                    <a:pt x="963" y="978"/>
                  </a:lnTo>
                  <a:lnTo>
                    <a:pt x="963" y="978"/>
                  </a:lnTo>
                  <a:lnTo>
                    <a:pt x="963" y="978"/>
                  </a:lnTo>
                  <a:lnTo>
                    <a:pt x="964" y="978"/>
                  </a:lnTo>
                  <a:lnTo>
                    <a:pt x="964" y="978"/>
                  </a:lnTo>
                  <a:lnTo>
                    <a:pt x="961" y="981"/>
                  </a:lnTo>
                  <a:lnTo>
                    <a:pt x="958" y="985"/>
                  </a:lnTo>
                  <a:lnTo>
                    <a:pt x="958" y="985"/>
                  </a:lnTo>
                  <a:lnTo>
                    <a:pt x="957" y="985"/>
                  </a:lnTo>
                  <a:lnTo>
                    <a:pt x="957" y="984"/>
                  </a:lnTo>
                  <a:lnTo>
                    <a:pt x="957" y="984"/>
                  </a:lnTo>
                  <a:lnTo>
                    <a:pt x="954" y="989"/>
                  </a:lnTo>
                  <a:lnTo>
                    <a:pt x="947" y="995"/>
                  </a:lnTo>
                  <a:lnTo>
                    <a:pt x="947" y="995"/>
                  </a:lnTo>
                  <a:lnTo>
                    <a:pt x="947" y="995"/>
                  </a:lnTo>
                  <a:lnTo>
                    <a:pt x="947" y="994"/>
                  </a:lnTo>
                  <a:lnTo>
                    <a:pt x="951" y="989"/>
                  </a:lnTo>
                  <a:lnTo>
                    <a:pt x="951" y="989"/>
                  </a:lnTo>
                  <a:lnTo>
                    <a:pt x="945" y="997"/>
                  </a:lnTo>
                  <a:lnTo>
                    <a:pt x="945" y="997"/>
                  </a:lnTo>
                  <a:lnTo>
                    <a:pt x="938" y="1002"/>
                  </a:lnTo>
                  <a:lnTo>
                    <a:pt x="933" y="1008"/>
                  </a:lnTo>
                  <a:lnTo>
                    <a:pt x="933" y="1008"/>
                  </a:lnTo>
                  <a:lnTo>
                    <a:pt x="927" y="1014"/>
                  </a:lnTo>
                  <a:lnTo>
                    <a:pt x="927" y="1014"/>
                  </a:lnTo>
                  <a:lnTo>
                    <a:pt x="921" y="1015"/>
                  </a:lnTo>
                  <a:lnTo>
                    <a:pt x="921" y="1015"/>
                  </a:lnTo>
                  <a:lnTo>
                    <a:pt x="921" y="1015"/>
                  </a:lnTo>
                  <a:lnTo>
                    <a:pt x="921" y="1017"/>
                  </a:lnTo>
                  <a:lnTo>
                    <a:pt x="921" y="1017"/>
                  </a:lnTo>
                  <a:lnTo>
                    <a:pt x="924" y="1015"/>
                  </a:lnTo>
                  <a:lnTo>
                    <a:pt x="924" y="1015"/>
                  </a:lnTo>
                  <a:lnTo>
                    <a:pt x="918" y="1022"/>
                  </a:lnTo>
                  <a:lnTo>
                    <a:pt x="911" y="1028"/>
                  </a:lnTo>
                  <a:lnTo>
                    <a:pt x="911" y="1028"/>
                  </a:lnTo>
                  <a:lnTo>
                    <a:pt x="907" y="1029"/>
                  </a:lnTo>
                  <a:lnTo>
                    <a:pt x="907" y="1029"/>
                  </a:lnTo>
                  <a:lnTo>
                    <a:pt x="907" y="1028"/>
                  </a:lnTo>
                  <a:lnTo>
                    <a:pt x="907" y="1028"/>
                  </a:lnTo>
                  <a:lnTo>
                    <a:pt x="904" y="1031"/>
                  </a:lnTo>
                  <a:lnTo>
                    <a:pt x="903" y="1032"/>
                  </a:lnTo>
                  <a:lnTo>
                    <a:pt x="900" y="1034"/>
                  </a:lnTo>
                  <a:lnTo>
                    <a:pt x="900" y="1034"/>
                  </a:lnTo>
                  <a:lnTo>
                    <a:pt x="898" y="1035"/>
                  </a:lnTo>
                  <a:lnTo>
                    <a:pt x="900" y="1035"/>
                  </a:lnTo>
                  <a:lnTo>
                    <a:pt x="903" y="1032"/>
                  </a:lnTo>
                  <a:lnTo>
                    <a:pt x="903" y="1032"/>
                  </a:lnTo>
                  <a:lnTo>
                    <a:pt x="895" y="1039"/>
                  </a:lnTo>
                  <a:lnTo>
                    <a:pt x="887" y="1045"/>
                  </a:lnTo>
                  <a:lnTo>
                    <a:pt x="887" y="1045"/>
                  </a:lnTo>
                  <a:lnTo>
                    <a:pt x="887" y="1045"/>
                  </a:lnTo>
                  <a:lnTo>
                    <a:pt x="888" y="1044"/>
                  </a:lnTo>
                  <a:lnTo>
                    <a:pt x="888" y="1044"/>
                  </a:lnTo>
                  <a:lnTo>
                    <a:pt x="886" y="1045"/>
                  </a:lnTo>
                  <a:lnTo>
                    <a:pt x="883" y="1045"/>
                  </a:lnTo>
                  <a:lnTo>
                    <a:pt x="883" y="1045"/>
                  </a:lnTo>
                  <a:lnTo>
                    <a:pt x="884" y="1047"/>
                  </a:lnTo>
                  <a:lnTo>
                    <a:pt x="883" y="1048"/>
                  </a:lnTo>
                  <a:lnTo>
                    <a:pt x="878" y="1051"/>
                  </a:lnTo>
                  <a:lnTo>
                    <a:pt x="878" y="1051"/>
                  </a:lnTo>
                  <a:lnTo>
                    <a:pt x="867" y="1057"/>
                  </a:lnTo>
                  <a:lnTo>
                    <a:pt x="867" y="1057"/>
                  </a:lnTo>
                  <a:lnTo>
                    <a:pt x="857" y="1064"/>
                  </a:lnTo>
                  <a:lnTo>
                    <a:pt x="857" y="1064"/>
                  </a:lnTo>
                  <a:lnTo>
                    <a:pt x="846" y="1071"/>
                  </a:lnTo>
                  <a:lnTo>
                    <a:pt x="846" y="1071"/>
                  </a:lnTo>
                  <a:lnTo>
                    <a:pt x="840" y="1074"/>
                  </a:lnTo>
                  <a:lnTo>
                    <a:pt x="836" y="1075"/>
                  </a:lnTo>
                  <a:lnTo>
                    <a:pt x="836" y="1075"/>
                  </a:lnTo>
                  <a:lnTo>
                    <a:pt x="833" y="1078"/>
                  </a:lnTo>
                  <a:lnTo>
                    <a:pt x="828" y="1081"/>
                  </a:lnTo>
                  <a:lnTo>
                    <a:pt x="828" y="1081"/>
                  </a:lnTo>
                  <a:lnTo>
                    <a:pt x="823" y="1084"/>
                  </a:lnTo>
                  <a:lnTo>
                    <a:pt x="823" y="1084"/>
                  </a:lnTo>
                  <a:lnTo>
                    <a:pt x="818" y="1085"/>
                  </a:lnTo>
                  <a:lnTo>
                    <a:pt x="818" y="1085"/>
                  </a:lnTo>
                  <a:lnTo>
                    <a:pt x="820" y="1084"/>
                  </a:lnTo>
                  <a:lnTo>
                    <a:pt x="823" y="1082"/>
                  </a:lnTo>
                  <a:lnTo>
                    <a:pt x="823" y="1082"/>
                  </a:lnTo>
                  <a:lnTo>
                    <a:pt x="828" y="1079"/>
                  </a:lnTo>
                  <a:lnTo>
                    <a:pt x="828" y="1079"/>
                  </a:lnTo>
                  <a:lnTo>
                    <a:pt x="824" y="1081"/>
                  </a:lnTo>
                  <a:lnTo>
                    <a:pt x="824" y="1081"/>
                  </a:lnTo>
                  <a:lnTo>
                    <a:pt x="837" y="1071"/>
                  </a:lnTo>
                  <a:lnTo>
                    <a:pt x="837" y="1071"/>
                  </a:lnTo>
                  <a:lnTo>
                    <a:pt x="838" y="1071"/>
                  </a:lnTo>
                  <a:lnTo>
                    <a:pt x="840" y="1071"/>
                  </a:lnTo>
                  <a:lnTo>
                    <a:pt x="844" y="1068"/>
                  </a:lnTo>
                  <a:lnTo>
                    <a:pt x="844" y="1068"/>
                  </a:lnTo>
                  <a:lnTo>
                    <a:pt x="853" y="1062"/>
                  </a:lnTo>
                  <a:lnTo>
                    <a:pt x="853" y="1062"/>
                  </a:lnTo>
                  <a:lnTo>
                    <a:pt x="844" y="1067"/>
                  </a:lnTo>
                  <a:lnTo>
                    <a:pt x="844" y="1067"/>
                  </a:lnTo>
                  <a:lnTo>
                    <a:pt x="840" y="1068"/>
                  </a:lnTo>
                  <a:lnTo>
                    <a:pt x="840" y="1068"/>
                  </a:lnTo>
                  <a:lnTo>
                    <a:pt x="834" y="1071"/>
                  </a:lnTo>
                  <a:lnTo>
                    <a:pt x="834" y="1071"/>
                  </a:lnTo>
                  <a:lnTo>
                    <a:pt x="826" y="1077"/>
                  </a:lnTo>
                  <a:lnTo>
                    <a:pt x="826" y="1077"/>
                  </a:lnTo>
                  <a:lnTo>
                    <a:pt x="818" y="1081"/>
                  </a:lnTo>
                  <a:lnTo>
                    <a:pt x="818" y="1081"/>
                  </a:lnTo>
                  <a:lnTo>
                    <a:pt x="818" y="1081"/>
                  </a:lnTo>
                  <a:lnTo>
                    <a:pt x="820" y="1078"/>
                  </a:lnTo>
                  <a:lnTo>
                    <a:pt x="820" y="1078"/>
                  </a:lnTo>
                  <a:lnTo>
                    <a:pt x="810" y="1084"/>
                  </a:lnTo>
                  <a:lnTo>
                    <a:pt x="806" y="1086"/>
                  </a:lnTo>
                  <a:lnTo>
                    <a:pt x="804" y="1089"/>
                  </a:lnTo>
                  <a:lnTo>
                    <a:pt x="804" y="1089"/>
                  </a:lnTo>
                  <a:lnTo>
                    <a:pt x="803" y="1089"/>
                  </a:lnTo>
                  <a:lnTo>
                    <a:pt x="801" y="1089"/>
                  </a:lnTo>
                  <a:lnTo>
                    <a:pt x="800" y="1089"/>
                  </a:lnTo>
                  <a:lnTo>
                    <a:pt x="800" y="1089"/>
                  </a:lnTo>
                  <a:lnTo>
                    <a:pt x="793" y="1092"/>
                  </a:lnTo>
                  <a:lnTo>
                    <a:pt x="793" y="1092"/>
                  </a:lnTo>
                  <a:lnTo>
                    <a:pt x="787" y="1095"/>
                  </a:lnTo>
                  <a:lnTo>
                    <a:pt x="787" y="1095"/>
                  </a:lnTo>
                  <a:lnTo>
                    <a:pt x="780" y="1099"/>
                  </a:lnTo>
                  <a:lnTo>
                    <a:pt x="780" y="1099"/>
                  </a:lnTo>
                  <a:lnTo>
                    <a:pt x="773" y="1102"/>
                  </a:lnTo>
                  <a:lnTo>
                    <a:pt x="773" y="1102"/>
                  </a:lnTo>
                  <a:lnTo>
                    <a:pt x="751" y="1109"/>
                  </a:lnTo>
                  <a:lnTo>
                    <a:pt x="751" y="1109"/>
                  </a:lnTo>
                  <a:lnTo>
                    <a:pt x="741" y="1114"/>
                  </a:lnTo>
                  <a:lnTo>
                    <a:pt x="730" y="1118"/>
                  </a:lnTo>
                  <a:lnTo>
                    <a:pt x="730" y="1118"/>
                  </a:lnTo>
                  <a:lnTo>
                    <a:pt x="723" y="1119"/>
                  </a:lnTo>
                  <a:lnTo>
                    <a:pt x="723" y="1119"/>
                  </a:lnTo>
                  <a:lnTo>
                    <a:pt x="716" y="1121"/>
                  </a:lnTo>
                  <a:lnTo>
                    <a:pt x="716" y="1121"/>
                  </a:lnTo>
                  <a:lnTo>
                    <a:pt x="703" y="1126"/>
                  </a:lnTo>
                  <a:lnTo>
                    <a:pt x="703" y="1126"/>
                  </a:lnTo>
                  <a:lnTo>
                    <a:pt x="687" y="1129"/>
                  </a:lnTo>
                  <a:lnTo>
                    <a:pt x="687" y="1129"/>
                  </a:lnTo>
                  <a:lnTo>
                    <a:pt x="677" y="1131"/>
                  </a:lnTo>
                  <a:lnTo>
                    <a:pt x="677" y="1131"/>
                  </a:lnTo>
                  <a:lnTo>
                    <a:pt x="667" y="1132"/>
                  </a:lnTo>
                  <a:lnTo>
                    <a:pt x="667" y="1132"/>
                  </a:lnTo>
                  <a:lnTo>
                    <a:pt x="657" y="1135"/>
                  </a:lnTo>
                  <a:lnTo>
                    <a:pt x="656" y="1135"/>
                  </a:lnTo>
                  <a:lnTo>
                    <a:pt x="653" y="1135"/>
                  </a:lnTo>
                  <a:lnTo>
                    <a:pt x="653" y="1135"/>
                  </a:lnTo>
                  <a:lnTo>
                    <a:pt x="647" y="1135"/>
                  </a:lnTo>
                  <a:lnTo>
                    <a:pt x="647" y="1135"/>
                  </a:lnTo>
                  <a:lnTo>
                    <a:pt x="637" y="1135"/>
                  </a:lnTo>
                  <a:lnTo>
                    <a:pt x="637" y="1135"/>
                  </a:lnTo>
                  <a:lnTo>
                    <a:pt x="627" y="1135"/>
                  </a:lnTo>
                  <a:lnTo>
                    <a:pt x="627" y="1135"/>
                  </a:lnTo>
                  <a:lnTo>
                    <a:pt x="629" y="1136"/>
                  </a:lnTo>
                  <a:lnTo>
                    <a:pt x="629" y="1136"/>
                  </a:lnTo>
                  <a:lnTo>
                    <a:pt x="623" y="1138"/>
                  </a:lnTo>
                  <a:lnTo>
                    <a:pt x="617" y="1138"/>
                  </a:lnTo>
                  <a:lnTo>
                    <a:pt x="615" y="1139"/>
                  </a:lnTo>
                  <a:lnTo>
                    <a:pt x="615" y="1141"/>
                  </a:lnTo>
                  <a:lnTo>
                    <a:pt x="615" y="1141"/>
                  </a:lnTo>
                  <a:lnTo>
                    <a:pt x="606" y="1142"/>
                  </a:lnTo>
                  <a:lnTo>
                    <a:pt x="606" y="1142"/>
                  </a:lnTo>
                  <a:lnTo>
                    <a:pt x="602" y="1142"/>
                  </a:lnTo>
                  <a:lnTo>
                    <a:pt x="599" y="1141"/>
                  </a:lnTo>
                  <a:lnTo>
                    <a:pt x="599" y="1141"/>
                  </a:lnTo>
                  <a:lnTo>
                    <a:pt x="582" y="1142"/>
                  </a:lnTo>
                  <a:lnTo>
                    <a:pt x="582" y="1142"/>
                  </a:lnTo>
                  <a:lnTo>
                    <a:pt x="566" y="1142"/>
                  </a:lnTo>
                  <a:lnTo>
                    <a:pt x="566" y="1142"/>
                  </a:lnTo>
                  <a:lnTo>
                    <a:pt x="559" y="1141"/>
                  </a:lnTo>
                  <a:lnTo>
                    <a:pt x="559" y="1141"/>
                  </a:lnTo>
                  <a:lnTo>
                    <a:pt x="555" y="1141"/>
                  </a:lnTo>
                  <a:lnTo>
                    <a:pt x="552" y="1139"/>
                  </a:lnTo>
                  <a:lnTo>
                    <a:pt x="552" y="1139"/>
                  </a:lnTo>
                  <a:lnTo>
                    <a:pt x="536" y="1135"/>
                  </a:lnTo>
                  <a:lnTo>
                    <a:pt x="536" y="1135"/>
                  </a:lnTo>
                  <a:lnTo>
                    <a:pt x="532" y="1136"/>
                  </a:lnTo>
                  <a:lnTo>
                    <a:pt x="532" y="1136"/>
                  </a:lnTo>
                  <a:lnTo>
                    <a:pt x="532" y="1138"/>
                  </a:lnTo>
                  <a:lnTo>
                    <a:pt x="532" y="1138"/>
                  </a:lnTo>
                  <a:lnTo>
                    <a:pt x="526" y="1136"/>
                  </a:lnTo>
                  <a:lnTo>
                    <a:pt x="522" y="1135"/>
                  </a:lnTo>
                  <a:lnTo>
                    <a:pt x="522" y="1135"/>
                  </a:lnTo>
                  <a:lnTo>
                    <a:pt x="518" y="1135"/>
                  </a:lnTo>
                  <a:lnTo>
                    <a:pt x="513" y="1134"/>
                  </a:lnTo>
                  <a:lnTo>
                    <a:pt x="513" y="1134"/>
                  </a:lnTo>
                  <a:lnTo>
                    <a:pt x="510" y="1135"/>
                  </a:lnTo>
                  <a:lnTo>
                    <a:pt x="506" y="1135"/>
                  </a:lnTo>
                  <a:lnTo>
                    <a:pt x="506" y="1135"/>
                  </a:lnTo>
                  <a:lnTo>
                    <a:pt x="509" y="1136"/>
                  </a:lnTo>
                  <a:lnTo>
                    <a:pt x="512" y="1136"/>
                  </a:lnTo>
                  <a:lnTo>
                    <a:pt x="512" y="1136"/>
                  </a:lnTo>
                  <a:lnTo>
                    <a:pt x="500" y="1135"/>
                  </a:lnTo>
                  <a:lnTo>
                    <a:pt x="488" y="1132"/>
                  </a:lnTo>
                  <a:lnTo>
                    <a:pt x="488" y="1132"/>
                  </a:lnTo>
                  <a:lnTo>
                    <a:pt x="482" y="1131"/>
                  </a:lnTo>
                  <a:lnTo>
                    <a:pt x="482" y="1131"/>
                  </a:lnTo>
                  <a:lnTo>
                    <a:pt x="475" y="1128"/>
                  </a:lnTo>
                  <a:lnTo>
                    <a:pt x="475" y="1128"/>
                  </a:lnTo>
                  <a:lnTo>
                    <a:pt x="463" y="1122"/>
                  </a:lnTo>
                  <a:lnTo>
                    <a:pt x="463" y="1122"/>
                  </a:lnTo>
                  <a:lnTo>
                    <a:pt x="460" y="1124"/>
                  </a:lnTo>
                  <a:lnTo>
                    <a:pt x="458" y="1124"/>
                  </a:lnTo>
                  <a:lnTo>
                    <a:pt x="458" y="1124"/>
                  </a:lnTo>
                  <a:lnTo>
                    <a:pt x="449" y="1121"/>
                  </a:lnTo>
                  <a:lnTo>
                    <a:pt x="449" y="1121"/>
                  </a:lnTo>
                  <a:lnTo>
                    <a:pt x="438" y="1121"/>
                  </a:lnTo>
                  <a:lnTo>
                    <a:pt x="438" y="1121"/>
                  </a:lnTo>
                  <a:lnTo>
                    <a:pt x="426" y="1118"/>
                  </a:lnTo>
                  <a:lnTo>
                    <a:pt x="426" y="1118"/>
                  </a:lnTo>
                  <a:lnTo>
                    <a:pt x="403" y="1112"/>
                  </a:lnTo>
                  <a:lnTo>
                    <a:pt x="403" y="1112"/>
                  </a:lnTo>
                  <a:lnTo>
                    <a:pt x="399" y="1108"/>
                  </a:lnTo>
                  <a:lnTo>
                    <a:pt x="399" y="1108"/>
                  </a:lnTo>
                  <a:lnTo>
                    <a:pt x="399" y="1108"/>
                  </a:lnTo>
                  <a:lnTo>
                    <a:pt x="398" y="1108"/>
                  </a:lnTo>
                  <a:lnTo>
                    <a:pt x="393" y="1108"/>
                  </a:lnTo>
                  <a:lnTo>
                    <a:pt x="385" y="1105"/>
                  </a:lnTo>
                  <a:lnTo>
                    <a:pt x="385" y="1105"/>
                  </a:lnTo>
                  <a:lnTo>
                    <a:pt x="385" y="1104"/>
                  </a:lnTo>
                  <a:lnTo>
                    <a:pt x="386" y="1104"/>
                  </a:lnTo>
                  <a:lnTo>
                    <a:pt x="386" y="1104"/>
                  </a:lnTo>
                  <a:lnTo>
                    <a:pt x="381" y="1101"/>
                  </a:lnTo>
                  <a:lnTo>
                    <a:pt x="381" y="1101"/>
                  </a:lnTo>
                  <a:lnTo>
                    <a:pt x="376" y="1099"/>
                  </a:lnTo>
                  <a:lnTo>
                    <a:pt x="376" y="1099"/>
                  </a:lnTo>
                  <a:lnTo>
                    <a:pt x="366" y="1095"/>
                  </a:lnTo>
                  <a:lnTo>
                    <a:pt x="366" y="1095"/>
                  </a:lnTo>
                  <a:lnTo>
                    <a:pt x="358" y="1091"/>
                  </a:lnTo>
                  <a:lnTo>
                    <a:pt x="358" y="1091"/>
                  </a:lnTo>
                  <a:lnTo>
                    <a:pt x="348" y="1088"/>
                  </a:lnTo>
                  <a:lnTo>
                    <a:pt x="348" y="1088"/>
                  </a:lnTo>
                  <a:lnTo>
                    <a:pt x="326" y="1077"/>
                  </a:lnTo>
                  <a:lnTo>
                    <a:pt x="326" y="1077"/>
                  </a:lnTo>
                  <a:lnTo>
                    <a:pt x="304" y="1067"/>
                  </a:lnTo>
                  <a:lnTo>
                    <a:pt x="304" y="1067"/>
                  </a:lnTo>
                  <a:lnTo>
                    <a:pt x="296" y="1061"/>
                  </a:lnTo>
                  <a:lnTo>
                    <a:pt x="286" y="1055"/>
                  </a:lnTo>
                  <a:lnTo>
                    <a:pt x="286" y="1055"/>
                  </a:lnTo>
                  <a:lnTo>
                    <a:pt x="271" y="1047"/>
                  </a:lnTo>
                  <a:lnTo>
                    <a:pt x="271" y="1047"/>
                  </a:lnTo>
                  <a:lnTo>
                    <a:pt x="252" y="1035"/>
                  </a:lnTo>
                  <a:lnTo>
                    <a:pt x="252" y="1035"/>
                  </a:lnTo>
                  <a:lnTo>
                    <a:pt x="244" y="1031"/>
                  </a:lnTo>
                  <a:lnTo>
                    <a:pt x="244" y="1031"/>
                  </a:lnTo>
                  <a:lnTo>
                    <a:pt x="239" y="1028"/>
                  </a:lnTo>
                  <a:lnTo>
                    <a:pt x="239" y="1028"/>
                  </a:lnTo>
                  <a:lnTo>
                    <a:pt x="235" y="1027"/>
                  </a:lnTo>
                  <a:lnTo>
                    <a:pt x="235" y="1027"/>
                  </a:lnTo>
                  <a:lnTo>
                    <a:pt x="238" y="1029"/>
                  </a:lnTo>
                  <a:lnTo>
                    <a:pt x="239" y="1032"/>
                  </a:lnTo>
                  <a:lnTo>
                    <a:pt x="239" y="1032"/>
                  </a:lnTo>
                  <a:lnTo>
                    <a:pt x="235" y="1029"/>
                  </a:lnTo>
                  <a:lnTo>
                    <a:pt x="232" y="1027"/>
                  </a:lnTo>
                  <a:lnTo>
                    <a:pt x="232" y="1027"/>
                  </a:lnTo>
                  <a:lnTo>
                    <a:pt x="237" y="1031"/>
                  </a:lnTo>
                  <a:lnTo>
                    <a:pt x="237" y="1031"/>
                  </a:lnTo>
                  <a:lnTo>
                    <a:pt x="239" y="1034"/>
                  </a:lnTo>
                  <a:lnTo>
                    <a:pt x="239" y="1034"/>
                  </a:lnTo>
                  <a:lnTo>
                    <a:pt x="242" y="1037"/>
                  </a:lnTo>
                  <a:lnTo>
                    <a:pt x="247" y="1039"/>
                  </a:lnTo>
                  <a:lnTo>
                    <a:pt x="249" y="1044"/>
                  </a:lnTo>
                  <a:lnTo>
                    <a:pt x="252" y="1044"/>
                  </a:lnTo>
                  <a:lnTo>
                    <a:pt x="252" y="1044"/>
                  </a:lnTo>
                  <a:lnTo>
                    <a:pt x="254" y="1047"/>
                  </a:lnTo>
                  <a:lnTo>
                    <a:pt x="256" y="1051"/>
                  </a:lnTo>
                  <a:lnTo>
                    <a:pt x="256" y="1051"/>
                  </a:lnTo>
                  <a:lnTo>
                    <a:pt x="272" y="1062"/>
                  </a:lnTo>
                  <a:lnTo>
                    <a:pt x="272" y="1062"/>
                  </a:lnTo>
                  <a:lnTo>
                    <a:pt x="255" y="1055"/>
                  </a:lnTo>
                  <a:lnTo>
                    <a:pt x="255" y="1055"/>
                  </a:lnTo>
                  <a:lnTo>
                    <a:pt x="272" y="1067"/>
                  </a:lnTo>
                  <a:lnTo>
                    <a:pt x="272" y="1067"/>
                  </a:lnTo>
                  <a:lnTo>
                    <a:pt x="276" y="1071"/>
                  </a:lnTo>
                  <a:lnTo>
                    <a:pt x="276" y="1071"/>
                  </a:lnTo>
                  <a:lnTo>
                    <a:pt x="281" y="1074"/>
                  </a:lnTo>
                  <a:lnTo>
                    <a:pt x="281" y="1074"/>
                  </a:lnTo>
                  <a:lnTo>
                    <a:pt x="291" y="1079"/>
                  </a:lnTo>
                  <a:lnTo>
                    <a:pt x="291" y="1079"/>
                  </a:lnTo>
                  <a:lnTo>
                    <a:pt x="301" y="1086"/>
                  </a:lnTo>
                  <a:lnTo>
                    <a:pt x="301" y="1086"/>
                  </a:lnTo>
                  <a:lnTo>
                    <a:pt x="311" y="1092"/>
                  </a:lnTo>
                  <a:lnTo>
                    <a:pt x="311" y="1092"/>
                  </a:lnTo>
                  <a:lnTo>
                    <a:pt x="321" y="1098"/>
                  </a:lnTo>
                  <a:lnTo>
                    <a:pt x="321" y="1098"/>
                  </a:lnTo>
                  <a:lnTo>
                    <a:pt x="332" y="1102"/>
                  </a:lnTo>
                  <a:lnTo>
                    <a:pt x="332" y="1102"/>
                  </a:lnTo>
                  <a:lnTo>
                    <a:pt x="335" y="1104"/>
                  </a:lnTo>
                  <a:lnTo>
                    <a:pt x="338" y="1106"/>
                  </a:lnTo>
                  <a:lnTo>
                    <a:pt x="338" y="1106"/>
                  </a:lnTo>
                  <a:lnTo>
                    <a:pt x="339" y="1105"/>
                  </a:lnTo>
                  <a:lnTo>
                    <a:pt x="339" y="1105"/>
                  </a:lnTo>
                  <a:lnTo>
                    <a:pt x="348" y="1109"/>
                  </a:lnTo>
                  <a:lnTo>
                    <a:pt x="348" y="1109"/>
                  </a:lnTo>
                  <a:lnTo>
                    <a:pt x="351" y="1112"/>
                  </a:lnTo>
                  <a:lnTo>
                    <a:pt x="356" y="1115"/>
                  </a:lnTo>
                  <a:lnTo>
                    <a:pt x="369" y="1116"/>
                  </a:lnTo>
                  <a:lnTo>
                    <a:pt x="369" y="1116"/>
                  </a:lnTo>
                  <a:lnTo>
                    <a:pt x="369" y="1118"/>
                  </a:lnTo>
                  <a:lnTo>
                    <a:pt x="368" y="1118"/>
                  </a:lnTo>
                  <a:lnTo>
                    <a:pt x="363" y="1118"/>
                  </a:lnTo>
                  <a:lnTo>
                    <a:pt x="363" y="1118"/>
                  </a:lnTo>
                  <a:lnTo>
                    <a:pt x="368" y="1119"/>
                  </a:lnTo>
                  <a:lnTo>
                    <a:pt x="369" y="1122"/>
                  </a:lnTo>
                  <a:lnTo>
                    <a:pt x="369" y="1122"/>
                  </a:lnTo>
                  <a:lnTo>
                    <a:pt x="363" y="1121"/>
                  </a:lnTo>
                  <a:lnTo>
                    <a:pt x="359" y="1119"/>
                  </a:lnTo>
                  <a:lnTo>
                    <a:pt x="359" y="1119"/>
                  </a:lnTo>
                  <a:lnTo>
                    <a:pt x="361" y="1121"/>
                  </a:lnTo>
                  <a:lnTo>
                    <a:pt x="363" y="1121"/>
                  </a:lnTo>
                  <a:lnTo>
                    <a:pt x="365" y="1121"/>
                  </a:lnTo>
                  <a:lnTo>
                    <a:pt x="366" y="1122"/>
                  </a:lnTo>
                  <a:lnTo>
                    <a:pt x="366" y="1122"/>
                  </a:lnTo>
                  <a:lnTo>
                    <a:pt x="369" y="1124"/>
                  </a:lnTo>
                  <a:lnTo>
                    <a:pt x="371" y="1124"/>
                  </a:lnTo>
                  <a:lnTo>
                    <a:pt x="371" y="1124"/>
                  </a:lnTo>
                  <a:lnTo>
                    <a:pt x="375" y="1125"/>
                  </a:lnTo>
                  <a:lnTo>
                    <a:pt x="375" y="1125"/>
                  </a:lnTo>
                  <a:lnTo>
                    <a:pt x="372" y="1125"/>
                  </a:lnTo>
                  <a:lnTo>
                    <a:pt x="369" y="1125"/>
                  </a:lnTo>
                  <a:lnTo>
                    <a:pt x="369" y="1125"/>
                  </a:lnTo>
                  <a:lnTo>
                    <a:pt x="366" y="1125"/>
                  </a:lnTo>
                  <a:lnTo>
                    <a:pt x="366" y="1125"/>
                  </a:lnTo>
                  <a:lnTo>
                    <a:pt x="366" y="1124"/>
                  </a:lnTo>
                  <a:lnTo>
                    <a:pt x="366" y="1124"/>
                  </a:lnTo>
                  <a:lnTo>
                    <a:pt x="363" y="1122"/>
                  </a:lnTo>
                  <a:lnTo>
                    <a:pt x="356" y="1119"/>
                  </a:lnTo>
                  <a:lnTo>
                    <a:pt x="356" y="1119"/>
                  </a:lnTo>
                  <a:lnTo>
                    <a:pt x="355" y="1116"/>
                  </a:lnTo>
                  <a:lnTo>
                    <a:pt x="355" y="1116"/>
                  </a:lnTo>
                  <a:lnTo>
                    <a:pt x="349" y="1115"/>
                  </a:lnTo>
                  <a:lnTo>
                    <a:pt x="345" y="1114"/>
                  </a:lnTo>
                  <a:lnTo>
                    <a:pt x="345" y="1114"/>
                  </a:lnTo>
                  <a:lnTo>
                    <a:pt x="341" y="1114"/>
                  </a:lnTo>
                  <a:lnTo>
                    <a:pt x="335" y="1111"/>
                  </a:lnTo>
                  <a:lnTo>
                    <a:pt x="335" y="1111"/>
                  </a:lnTo>
                  <a:lnTo>
                    <a:pt x="336" y="1111"/>
                  </a:lnTo>
                  <a:lnTo>
                    <a:pt x="339" y="1111"/>
                  </a:lnTo>
                  <a:lnTo>
                    <a:pt x="345" y="1114"/>
                  </a:lnTo>
                  <a:lnTo>
                    <a:pt x="345" y="1114"/>
                  </a:lnTo>
                  <a:lnTo>
                    <a:pt x="339" y="1109"/>
                  </a:lnTo>
                  <a:lnTo>
                    <a:pt x="336" y="1109"/>
                  </a:lnTo>
                  <a:lnTo>
                    <a:pt x="336" y="1109"/>
                  </a:lnTo>
                  <a:lnTo>
                    <a:pt x="336" y="1109"/>
                  </a:lnTo>
                  <a:lnTo>
                    <a:pt x="329" y="1106"/>
                  </a:lnTo>
                  <a:lnTo>
                    <a:pt x="322" y="1102"/>
                  </a:lnTo>
                  <a:lnTo>
                    <a:pt x="322" y="1102"/>
                  </a:lnTo>
                  <a:lnTo>
                    <a:pt x="308" y="1096"/>
                  </a:lnTo>
                  <a:lnTo>
                    <a:pt x="308" y="1096"/>
                  </a:lnTo>
                  <a:lnTo>
                    <a:pt x="311" y="1099"/>
                  </a:lnTo>
                  <a:lnTo>
                    <a:pt x="316" y="1101"/>
                  </a:lnTo>
                  <a:lnTo>
                    <a:pt x="316" y="1101"/>
                  </a:lnTo>
                  <a:lnTo>
                    <a:pt x="321" y="1102"/>
                  </a:lnTo>
                  <a:lnTo>
                    <a:pt x="321" y="1102"/>
                  </a:lnTo>
                  <a:lnTo>
                    <a:pt x="325" y="1105"/>
                  </a:lnTo>
                  <a:lnTo>
                    <a:pt x="325" y="1105"/>
                  </a:lnTo>
                  <a:lnTo>
                    <a:pt x="321" y="1104"/>
                  </a:lnTo>
                  <a:lnTo>
                    <a:pt x="321" y="1104"/>
                  </a:lnTo>
                  <a:lnTo>
                    <a:pt x="315" y="1101"/>
                  </a:lnTo>
                  <a:lnTo>
                    <a:pt x="315" y="1101"/>
                  </a:lnTo>
                  <a:lnTo>
                    <a:pt x="308" y="1098"/>
                  </a:lnTo>
                  <a:lnTo>
                    <a:pt x="304" y="1094"/>
                  </a:lnTo>
                  <a:lnTo>
                    <a:pt x="304" y="1094"/>
                  </a:lnTo>
                  <a:lnTo>
                    <a:pt x="292" y="1088"/>
                  </a:lnTo>
                  <a:lnTo>
                    <a:pt x="282" y="1081"/>
                  </a:lnTo>
                  <a:lnTo>
                    <a:pt x="282" y="1081"/>
                  </a:lnTo>
                  <a:lnTo>
                    <a:pt x="274" y="1077"/>
                  </a:lnTo>
                  <a:lnTo>
                    <a:pt x="274" y="1077"/>
                  </a:lnTo>
                  <a:lnTo>
                    <a:pt x="265" y="1071"/>
                  </a:lnTo>
                  <a:lnTo>
                    <a:pt x="265" y="1071"/>
                  </a:lnTo>
                  <a:lnTo>
                    <a:pt x="249" y="1059"/>
                  </a:lnTo>
                  <a:lnTo>
                    <a:pt x="249" y="1059"/>
                  </a:lnTo>
                  <a:lnTo>
                    <a:pt x="234" y="1047"/>
                  </a:lnTo>
                  <a:lnTo>
                    <a:pt x="234" y="1047"/>
                  </a:lnTo>
                  <a:lnTo>
                    <a:pt x="227" y="1041"/>
                  </a:lnTo>
                  <a:lnTo>
                    <a:pt x="227" y="1041"/>
                  </a:lnTo>
                  <a:lnTo>
                    <a:pt x="218" y="1035"/>
                  </a:lnTo>
                  <a:lnTo>
                    <a:pt x="218" y="1035"/>
                  </a:lnTo>
                  <a:lnTo>
                    <a:pt x="224" y="1042"/>
                  </a:lnTo>
                  <a:lnTo>
                    <a:pt x="224" y="1042"/>
                  </a:lnTo>
                  <a:lnTo>
                    <a:pt x="227" y="1045"/>
                  </a:lnTo>
                  <a:lnTo>
                    <a:pt x="229" y="1048"/>
                  </a:lnTo>
                  <a:lnTo>
                    <a:pt x="229" y="1048"/>
                  </a:lnTo>
                  <a:lnTo>
                    <a:pt x="237" y="1055"/>
                  </a:lnTo>
                  <a:lnTo>
                    <a:pt x="242" y="1062"/>
                  </a:lnTo>
                  <a:lnTo>
                    <a:pt x="242" y="1062"/>
                  </a:lnTo>
                  <a:lnTo>
                    <a:pt x="244" y="1062"/>
                  </a:lnTo>
                  <a:lnTo>
                    <a:pt x="245" y="1062"/>
                  </a:lnTo>
                  <a:lnTo>
                    <a:pt x="245" y="1062"/>
                  </a:lnTo>
                  <a:lnTo>
                    <a:pt x="247" y="1065"/>
                  </a:lnTo>
                  <a:lnTo>
                    <a:pt x="249" y="1068"/>
                  </a:lnTo>
                  <a:lnTo>
                    <a:pt x="255" y="1072"/>
                  </a:lnTo>
                  <a:lnTo>
                    <a:pt x="255" y="1072"/>
                  </a:lnTo>
                  <a:lnTo>
                    <a:pt x="255" y="1074"/>
                  </a:lnTo>
                  <a:lnTo>
                    <a:pt x="254" y="1074"/>
                  </a:lnTo>
                  <a:lnTo>
                    <a:pt x="251" y="1072"/>
                  </a:lnTo>
                  <a:lnTo>
                    <a:pt x="251" y="1072"/>
                  </a:lnTo>
                  <a:lnTo>
                    <a:pt x="256" y="1078"/>
                  </a:lnTo>
                  <a:lnTo>
                    <a:pt x="264" y="1084"/>
                  </a:lnTo>
                  <a:lnTo>
                    <a:pt x="264" y="1084"/>
                  </a:lnTo>
                  <a:lnTo>
                    <a:pt x="265" y="1085"/>
                  </a:lnTo>
                  <a:lnTo>
                    <a:pt x="264" y="1085"/>
                  </a:lnTo>
                  <a:lnTo>
                    <a:pt x="264" y="1084"/>
                  </a:lnTo>
                  <a:lnTo>
                    <a:pt x="264" y="1085"/>
                  </a:lnTo>
                  <a:lnTo>
                    <a:pt x="264" y="1085"/>
                  </a:lnTo>
                  <a:lnTo>
                    <a:pt x="268" y="1089"/>
                  </a:lnTo>
                  <a:lnTo>
                    <a:pt x="272" y="1092"/>
                  </a:lnTo>
                  <a:lnTo>
                    <a:pt x="284" y="1098"/>
                  </a:lnTo>
                  <a:lnTo>
                    <a:pt x="284" y="1098"/>
                  </a:lnTo>
                  <a:lnTo>
                    <a:pt x="284" y="1098"/>
                  </a:lnTo>
                  <a:lnTo>
                    <a:pt x="282" y="1098"/>
                  </a:lnTo>
                  <a:lnTo>
                    <a:pt x="279" y="1098"/>
                  </a:lnTo>
                  <a:lnTo>
                    <a:pt x="271" y="1094"/>
                  </a:lnTo>
                  <a:lnTo>
                    <a:pt x="271" y="1094"/>
                  </a:lnTo>
                  <a:lnTo>
                    <a:pt x="275" y="1098"/>
                  </a:lnTo>
                  <a:lnTo>
                    <a:pt x="275" y="1098"/>
                  </a:lnTo>
                  <a:lnTo>
                    <a:pt x="275" y="1096"/>
                  </a:lnTo>
                  <a:lnTo>
                    <a:pt x="274" y="1096"/>
                  </a:lnTo>
                  <a:lnTo>
                    <a:pt x="274" y="1096"/>
                  </a:lnTo>
                  <a:lnTo>
                    <a:pt x="279" y="1099"/>
                  </a:lnTo>
                  <a:lnTo>
                    <a:pt x="281" y="1099"/>
                  </a:lnTo>
                  <a:lnTo>
                    <a:pt x="282" y="1101"/>
                  </a:lnTo>
                  <a:lnTo>
                    <a:pt x="282" y="1101"/>
                  </a:lnTo>
                  <a:lnTo>
                    <a:pt x="284" y="1102"/>
                  </a:lnTo>
                  <a:lnTo>
                    <a:pt x="284" y="1104"/>
                  </a:lnTo>
                  <a:lnTo>
                    <a:pt x="284" y="1104"/>
                  </a:lnTo>
                  <a:lnTo>
                    <a:pt x="294" y="1109"/>
                  </a:lnTo>
                  <a:lnTo>
                    <a:pt x="302" y="1115"/>
                  </a:lnTo>
                  <a:lnTo>
                    <a:pt x="302" y="1115"/>
                  </a:lnTo>
                  <a:lnTo>
                    <a:pt x="305" y="1116"/>
                  </a:lnTo>
                  <a:lnTo>
                    <a:pt x="305" y="1114"/>
                  </a:lnTo>
                  <a:lnTo>
                    <a:pt x="305" y="1114"/>
                  </a:lnTo>
                  <a:lnTo>
                    <a:pt x="311" y="1116"/>
                  </a:lnTo>
                  <a:lnTo>
                    <a:pt x="311" y="1116"/>
                  </a:lnTo>
                  <a:lnTo>
                    <a:pt x="312" y="1119"/>
                  </a:lnTo>
                  <a:lnTo>
                    <a:pt x="312" y="1122"/>
                  </a:lnTo>
                  <a:lnTo>
                    <a:pt x="312" y="1122"/>
                  </a:lnTo>
                  <a:lnTo>
                    <a:pt x="305" y="1118"/>
                  </a:lnTo>
                  <a:lnTo>
                    <a:pt x="305" y="1118"/>
                  </a:lnTo>
                  <a:lnTo>
                    <a:pt x="298" y="1115"/>
                  </a:lnTo>
                  <a:lnTo>
                    <a:pt x="298" y="1115"/>
                  </a:lnTo>
                  <a:lnTo>
                    <a:pt x="292" y="1114"/>
                  </a:lnTo>
                  <a:lnTo>
                    <a:pt x="288" y="1112"/>
                  </a:lnTo>
                  <a:lnTo>
                    <a:pt x="284" y="1109"/>
                  </a:lnTo>
                  <a:lnTo>
                    <a:pt x="284" y="1109"/>
                  </a:lnTo>
                  <a:lnTo>
                    <a:pt x="279" y="1106"/>
                  </a:lnTo>
                  <a:lnTo>
                    <a:pt x="279" y="1106"/>
                  </a:lnTo>
                  <a:lnTo>
                    <a:pt x="269" y="1101"/>
                  </a:lnTo>
                  <a:lnTo>
                    <a:pt x="269" y="1101"/>
                  </a:lnTo>
                  <a:lnTo>
                    <a:pt x="262" y="1095"/>
                  </a:lnTo>
                  <a:lnTo>
                    <a:pt x="254" y="1088"/>
                  </a:lnTo>
                  <a:lnTo>
                    <a:pt x="254" y="1088"/>
                  </a:lnTo>
                  <a:lnTo>
                    <a:pt x="254" y="1089"/>
                  </a:lnTo>
                  <a:lnTo>
                    <a:pt x="254" y="1089"/>
                  </a:lnTo>
                  <a:lnTo>
                    <a:pt x="251" y="1088"/>
                  </a:lnTo>
                  <a:lnTo>
                    <a:pt x="244" y="1081"/>
                  </a:lnTo>
                  <a:lnTo>
                    <a:pt x="244" y="1081"/>
                  </a:lnTo>
                  <a:lnTo>
                    <a:pt x="244" y="1081"/>
                  </a:lnTo>
                  <a:lnTo>
                    <a:pt x="245" y="1082"/>
                  </a:lnTo>
                  <a:lnTo>
                    <a:pt x="249" y="1085"/>
                  </a:lnTo>
                  <a:lnTo>
                    <a:pt x="249" y="1085"/>
                  </a:lnTo>
                  <a:lnTo>
                    <a:pt x="247" y="1082"/>
                  </a:lnTo>
                  <a:lnTo>
                    <a:pt x="242" y="1081"/>
                  </a:lnTo>
                  <a:lnTo>
                    <a:pt x="235" y="1075"/>
                  </a:lnTo>
                  <a:lnTo>
                    <a:pt x="235" y="1075"/>
                  </a:lnTo>
                  <a:lnTo>
                    <a:pt x="234" y="1074"/>
                  </a:lnTo>
                  <a:lnTo>
                    <a:pt x="235" y="1074"/>
                  </a:lnTo>
                  <a:lnTo>
                    <a:pt x="235" y="1074"/>
                  </a:lnTo>
                  <a:lnTo>
                    <a:pt x="234" y="1072"/>
                  </a:lnTo>
                  <a:lnTo>
                    <a:pt x="234" y="1072"/>
                  </a:lnTo>
                  <a:lnTo>
                    <a:pt x="229" y="1071"/>
                  </a:lnTo>
                  <a:lnTo>
                    <a:pt x="225" y="1067"/>
                  </a:lnTo>
                  <a:lnTo>
                    <a:pt x="214" y="1057"/>
                  </a:lnTo>
                  <a:lnTo>
                    <a:pt x="214" y="1057"/>
                  </a:lnTo>
                  <a:lnTo>
                    <a:pt x="209" y="1054"/>
                  </a:lnTo>
                  <a:lnTo>
                    <a:pt x="205" y="1049"/>
                  </a:lnTo>
                  <a:lnTo>
                    <a:pt x="195" y="1041"/>
                  </a:lnTo>
                  <a:lnTo>
                    <a:pt x="195" y="1041"/>
                  </a:lnTo>
                  <a:lnTo>
                    <a:pt x="195" y="1042"/>
                  </a:lnTo>
                  <a:lnTo>
                    <a:pt x="197" y="1045"/>
                  </a:lnTo>
                  <a:lnTo>
                    <a:pt x="202" y="1049"/>
                  </a:lnTo>
                  <a:lnTo>
                    <a:pt x="202" y="1049"/>
                  </a:lnTo>
                  <a:lnTo>
                    <a:pt x="188" y="1038"/>
                  </a:lnTo>
                  <a:lnTo>
                    <a:pt x="188" y="1038"/>
                  </a:lnTo>
                  <a:lnTo>
                    <a:pt x="179" y="1029"/>
                  </a:lnTo>
                  <a:lnTo>
                    <a:pt x="172" y="1021"/>
                  </a:lnTo>
                  <a:lnTo>
                    <a:pt x="172" y="1021"/>
                  </a:lnTo>
                  <a:lnTo>
                    <a:pt x="165" y="1014"/>
                  </a:lnTo>
                  <a:lnTo>
                    <a:pt x="155" y="1002"/>
                  </a:lnTo>
                  <a:lnTo>
                    <a:pt x="155" y="1002"/>
                  </a:lnTo>
                  <a:lnTo>
                    <a:pt x="147" y="992"/>
                  </a:lnTo>
                  <a:lnTo>
                    <a:pt x="147" y="992"/>
                  </a:lnTo>
                  <a:lnTo>
                    <a:pt x="142" y="989"/>
                  </a:lnTo>
                  <a:lnTo>
                    <a:pt x="140" y="989"/>
                  </a:lnTo>
                  <a:lnTo>
                    <a:pt x="140" y="989"/>
                  </a:lnTo>
                  <a:lnTo>
                    <a:pt x="137" y="985"/>
                  </a:lnTo>
                  <a:lnTo>
                    <a:pt x="134" y="981"/>
                  </a:lnTo>
                  <a:lnTo>
                    <a:pt x="131" y="978"/>
                  </a:lnTo>
                  <a:lnTo>
                    <a:pt x="128" y="975"/>
                  </a:lnTo>
                  <a:lnTo>
                    <a:pt x="128" y="975"/>
                  </a:lnTo>
                  <a:lnTo>
                    <a:pt x="130" y="977"/>
                  </a:lnTo>
                  <a:lnTo>
                    <a:pt x="131" y="977"/>
                  </a:lnTo>
                  <a:lnTo>
                    <a:pt x="132" y="977"/>
                  </a:lnTo>
                  <a:lnTo>
                    <a:pt x="132" y="977"/>
                  </a:lnTo>
                  <a:lnTo>
                    <a:pt x="127" y="971"/>
                  </a:lnTo>
                  <a:lnTo>
                    <a:pt x="127" y="971"/>
                  </a:lnTo>
                  <a:lnTo>
                    <a:pt x="122" y="967"/>
                  </a:lnTo>
                  <a:lnTo>
                    <a:pt x="122" y="967"/>
                  </a:lnTo>
                  <a:lnTo>
                    <a:pt x="114" y="958"/>
                  </a:lnTo>
                  <a:lnTo>
                    <a:pt x="114" y="958"/>
                  </a:lnTo>
                  <a:lnTo>
                    <a:pt x="107" y="952"/>
                  </a:lnTo>
                  <a:lnTo>
                    <a:pt x="104" y="951"/>
                  </a:lnTo>
                  <a:lnTo>
                    <a:pt x="102" y="949"/>
                  </a:lnTo>
                  <a:lnTo>
                    <a:pt x="102" y="949"/>
                  </a:lnTo>
                  <a:lnTo>
                    <a:pt x="105" y="957"/>
                  </a:lnTo>
                  <a:lnTo>
                    <a:pt x="105" y="959"/>
                  </a:lnTo>
                  <a:lnTo>
                    <a:pt x="104" y="961"/>
                  </a:lnTo>
                  <a:lnTo>
                    <a:pt x="104" y="961"/>
                  </a:lnTo>
                  <a:lnTo>
                    <a:pt x="112" y="975"/>
                  </a:lnTo>
                  <a:lnTo>
                    <a:pt x="112" y="975"/>
                  </a:lnTo>
                  <a:lnTo>
                    <a:pt x="115" y="982"/>
                  </a:lnTo>
                  <a:lnTo>
                    <a:pt x="117" y="985"/>
                  </a:lnTo>
                  <a:lnTo>
                    <a:pt x="117" y="987"/>
                  </a:lnTo>
                  <a:lnTo>
                    <a:pt x="117" y="987"/>
                  </a:lnTo>
                  <a:lnTo>
                    <a:pt x="122" y="992"/>
                  </a:lnTo>
                  <a:lnTo>
                    <a:pt x="125" y="995"/>
                  </a:lnTo>
                  <a:lnTo>
                    <a:pt x="128" y="997"/>
                  </a:lnTo>
                  <a:lnTo>
                    <a:pt x="128" y="997"/>
                  </a:lnTo>
                  <a:lnTo>
                    <a:pt x="124" y="994"/>
                  </a:lnTo>
                  <a:lnTo>
                    <a:pt x="124" y="994"/>
                  </a:lnTo>
                  <a:lnTo>
                    <a:pt x="124" y="992"/>
                  </a:lnTo>
                  <a:lnTo>
                    <a:pt x="125" y="992"/>
                  </a:lnTo>
                  <a:lnTo>
                    <a:pt x="128" y="995"/>
                  </a:lnTo>
                  <a:lnTo>
                    <a:pt x="128" y="995"/>
                  </a:lnTo>
                  <a:lnTo>
                    <a:pt x="130" y="999"/>
                  </a:lnTo>
                  <a:lnTo>
                    <a:pt x="132" y="1004"/>
                  </a:lnTo>
                  <a:lnTo>
                    <a:pt x="132" y="1004"/>
                  </a:lnTo>
                  <a:lnTo>
                    <a:pt x="132" y="1005"/>
                  </a:lnTo>
                  <a:lnTo>
                    <a:pt x="130" y="1004"/>
                  </a:lnTo>
                  <a:lnTo>
                    <a:pt x="130" y="1004"/>
                  </a:lnTo>
                  <a:lnTo>
                    <a:pt x="132" y="1007"/>
                  </a:lnTo>
                  <a:lnTo>
                    <a:pt x="132" y="1007"/>
                  </a:lnTo>
                  <a:lnTo>
                    <a:pt x="134" y="1008"/>
                  </a:lnTo>
                  <a:lnTo>
                    <a:pt x="134" y="1008"/>
                  </a:lnTo>
                  <a:lnTo>
                    <a:pt x="137" y="1014"/>
                  </a:lnTo>
                  <a:lnTo>
                    <a:pt x="144" y="1021"/>
                  </a:lnTo>
                  <a:lnTo>
                    <a:pt x="144" y="1021"/>
                  </a:lnTo>
                  <a:lnTo>
                    <a:pt x="157" y="1035"/>
                  </a:lnTo>
                  <a:lnTo>
                    <a:pt x="157" y="1035"/>
                  </a:lnTo>
                  <a:lnTo>
                    <a:pt x="164" y="1042"/>
                  </a:lnTo>
                  <a:lnTo>
                    <a:pt x="171" y="1049"/>
                  </a:lnTo>
                  <a:lnTo>
                    <a:pt x="171" y="1049"/>
                  </a:lnTo>
                  <a:lnTo>
                    <a:pt x="175" y="1052"/>
                  </a:lnTo>
                  <a:lnTo>
                    <a:pt x="175" y="1052"/>
                  </a:lnTo>
                  <a:lnTo>
                    <a:pt x="179" y="1055"/>
                  </a:lnTo>
                  <a:lnTo>
                    <a:pt x="179" y="1055"/>
                  </a:lnTo>
                  <a:lnTo>
                    <a:pt x="188" y="1061"/>
                  </a:lnTo>
                  <a:lnTo>
                    <a:pt x="188" y="1061"/>
                  </a:lnTo>
                  <a:lnTo>
                    <a:pt x="188" y="1064"/>
                  </a:lnTo>
                  <a:lnTo>
                    <a:pt x="188" y="1064"/>
                  </a:lnTo>
                  <a:lnTo>
                    <a:pt x="184" y="1061"/>
                  </a:lnTo>
                  <a:lnTo>
                    <a:pt x="178" y="1057"/>
                  </a:lnTo>
                  <a:lnTo>
                    <a:pt x="167" y="1049"/>
                  </a:lnTo>
                  <a:lnTo>
                    <a:pt x="167" y="1049"/>
                  </a:lnTo>
                  <a:lnTo>
                    <a:pt x="168" y="1052"/>
                  </a:lnTo>
                  <a:lnTo>
                    <a:pt x="169" y="1055"/>
                  </a:lnTo>
                  <a:lnTo>
                    <a:pt x="169" y="1055"/>
                  </a:lnTo>
                  <a:lnTo>
                    <a:pt x="181" y="1064"/>
                  </a:lnTo>
                  <a:lnTo>
                    <a:pt x="191" y="1072"/>
                  </a:lnTo>
                  <a:lnTo>
                    <a:pt x="191" y="1072"/>
                  </a:lnTo>
                  <a:lnTo>
                    <a:pt x="195" y="1077"/>
                  </a:lnTo>
                  <a:lnTo>
                    <a:pt x="195" y="1077"/>
                  </a:lnTo>
                  <a:lnTo>
                    <a:pt x="201" y="1079"/>
                  </a:lnTo>
                  <a:lnTo>
                    <a:pt x="201" y="1079"/>
                  </a:lnTo>
                  <a:lnTo>
                    <a:pt x="211" y="1088"/>
                  </a:lnTo>
                  <a:lnTo>
                    <a:pt x="211" y="1088"/>
                  </a:lnTo>
                  <a:lnTo>
                    <a:pt x="211" y="1089"/>
                  </a:lnTo>
                  <a:lnTo>
                    <a:pt x="211" y="1089"/>
                  </a:lnTo>
                  <a:lnTo>
                    <a:pt x="201" y="1082"/>
                  </a:lnTo>
                  <a:lnTo>
                    <a:pt x="192" y="1078"/>
                  </a:lnTo>
                  <a:lnTo>
                    <a:pt x="192" y="1078"/>
                  </a:lnTo>
                  <a:lnTo>
                    <a:pt x="197" y="1081"/>
                  </a:lnTo>
                  <a:lnTo>
                    <a:pt x="199" y="1085"/>
                  </a:lnTo>
                  <a:lnTo>
                    <a:pt x="199" y="1085"/>
                  </a:lnTo>
                  <a:lnTo>
                    <a:pt x="199" y="1084"/>
                  </a:lnTo>
                  <a:lnTo>
                    <a:pt x="201" y="1084"/>
                  </a:lnTo>
                  <a:lnTo>
                    <a:pt x="204" y="1088"/>
                  </a:lnTo>
                  <a:lnTo>
                    <a:pt x="204" y="1088"/>
                  </a:lnTo>
                  <a:lnTo>
                    <a:pt x="205" y="1086"/>
                  </a:lnTo>
                  <a:lnTo>
                    <a:pt x="207" y="1086"/>
                  </a:lnTo>
                  <a:lnTo>
                    <a:pt x="207" y="1086"/>
                  </a:lnTo>
                  <a:lnTo>
                    <a:pt x="217" y="1095"/>
                  </a:lnTo>
                  <a:lnTo>
                    <a:pt x="217" y="1095"/>
                  </a:lnTo>
                  <a:lnTo>
                    <a:pt x="221" y="1098"/>
                  </a:lnTo>
                  <a:lnTo>
                    <a:pt x="222" y="1098"/>
                  </a:lnTo>
                  <a:lnTo>
                    <a:pt x="222" y="1096"/>
                  </a:lnTo>
                  <a:lnTo>
                    <a:pt x="222" y="1096"/>
                  </a:lnTo>
                  <a:lnTo>
                    <a:pt x="224" y="1098"/>
                  </a:lnTo>
                  <a:lnTo>
                    <a:pt x="224" y="1099"/>
                  </a:lnTo>
                  <a:lnTo>
                    <a:pt x="225" y="1099"/>
                  </a:lnTo>
                  <a:lnTo>
                    <a:pt x="227" y="1101"/>
                  </a:lnTo>
                  <a:lnTo>
                    <a:pt x="227" y="1101"/>
                  </a:lnTo>
                  <a:lnTo>
                    <a:pt x="225" y="1101"/>
                  </a:lnTo>
                  <a:lnTo>
                    <a:pt x="224" y="1101"/>
                  </a:lnTo>
                  <a:lnTo>
                    <a:pt x="224" y="1101"/>
                  </a:lnTo>
                  <a:lnTo>
                    <a:pt x="224" y="1101"/>
                  </a:lnTo>
                  <a:lnTo>
                    <a:pt x="229" y="1104"/>
                  </a:lnTo>
                  <a:lnTo>
                    <a:pt x="231" y="1104"/>
                  </a:lnTo>
                  <a:lnTo>
                    <a:pt x="231" y="1104"/>
                  </a:lnTo>
                  <a:lnTo>
                    <a:pt x="231" y="1104"/>
                  </a:lnTo>
                  <a:lnTo>
                    <a:pt x="232" y="1105"/>
                  </a:lnTo>
                  <a:lnTo>
                    <a:pt x="234" y="1105"/>
                  </a:lnTo>
                  <a:lnTo>
                    <a:pt x="234" y="1109"/>
                  </a:lnTo>
                  <a:lnTo>
                    <a:pt x="234" y="1109"/>
                  </a:lnTo>
                  <a:lnTo>
                    <a:pt x="237" y="1111"/>
                  </a:lnTo>
                  <a:lnTo>
                    <a:pt x="238" y="1111"/>
                  </a:lnTo>
                  <a:lnTo>
                    <a:pt x="239" y="1109"/>
                  </a:lnTo>
                  <a:lnTo>
                    <a:pt x="241" y="1111"/>
                  </a:lnTo>
                  <a:lnTo>
                    <a:pt x="241" y="1111"/>
                  </a:lnTo>
                  <a:lnTo>
                    <a:pt x="242" y="1112"/>
                  </a:lnTo>
                  <a:lnTo>
                    <a:pt x="242" y="1114"/>
                  </a:lnTo>
                  <a:lnTo>
                    <a:pt x="242" y="1112"/>
                  </a:lnTo>
                  <a:lnTo>
                    <a:pt x="242" y="1112"/>
                  </a:lnTo>
                  <a:lnTo>
                    <a:pt x="244" y="1115"/>
                  </a:lnTo>
                  <a:lnTo>
                    <a:pt x="245" y="1115"/>
                  </a:lnTo>
                  <a:lnTo>
                    <a:pt x="247" y="1114"/>
                  </a:lnTo>
                  <a:lnTo>
                    <a:pt x="247" y="1114"/>
                  </a:lnTo>
                  <a:lnTo>
                    <a:pt x="249" y="1116"/>
                  </a:lnTo>
                  <a:lnTo>
                    <a:pt x="251" y="1119"/>
                  </a:lnTo>
                  <a:lnTo>
                    <a:pt x="251" y="1119"/>
                  </a:lnTo>
                  <a:lnTo>
                    <a:pt x="247" y="1118"/>
                  </a:lnTo>
                  <a:lnTo>
                    <a:pt x="244" y="1116"/>
                  </a:lnTo>
                  <a:lnTo>
                    <a:pt x="244" y="1116"/>
                  </a:lnTo>
                  <a:lnTo>
                    <a:pt x="247" y="1119"/>
                  </a:lnTo>
                  <a:lnTo>
                    <a:pt x="249" y="1121"/>
                  </a:lnTo>
                  <a:lnTo>
                    <a:pt x="252" y="1121"/>
                  </a:lnTo>
                  <a:lnTo>
                    <a:pt x="252" y="1119"/>
                  </a:lnTo>
                  <a:lnTo>
                    <a:pt x="252" y="1119"/>
                  </a:lnTo>
                  <a:lnTo>
                    <a:pt x="262" y="1126"/>
                  </a:lnTo>
                  <a:lnTo>
                    <a:pt x="262" y="1126"/>
                  </a:lnTo>
                  <a:lnTo>
                    <a:pt x="268" y="1129"/>
                  </a:lnTo>
                  <a:lnTo>
                    <a:pt x="272" y="1131"/>
                  </a:lnTo>
                  <a:lnTo>
                    <a:pt x="272" y="1131"/>
                  </a:lnTo>
                  <a:lnTo>
                    <a:pt x="274" y="1132"/>
                  </a:lnTo>
                  <a:lnTo>
                    <a:pt x="274" y="1132"/>
                  </a:lnTo>
                  <a:lnTo>
                    <a:pt x="272" y="1132"/>
                  </a:lnTo>
                  <a:lnTo>
                    <a:pt x="272" y="1134"/>
                  </a:lnTo>
                  <a:lnTo>
                    <a:pt x="272" y="1134"/>
                  </a:lnTo>
                  <a:lnTo>
                    <a:pt x="259" y="1126"/>
                  </a:lnTo>
                  <a:lnTo>
                    <a:pt x="259" y="1126"/>
                  </a:lnTo>
                  <a:lnTo>
                    <a:pt x="261" y="1128"/>
                  </a:lnTo>
                  <a:lnTo>
                    <a:pt x="261" y="1129"/>
                  </a:lnTo>
                  <a:lnTo>
                    <a:pt x="256" y="1129"/>
                  </a:lnTo>
                  <a:lnTo>
                    <a:pt x="256" y="1129"/>
                  </a:lnTo>
                  <a:lnTo>
                    <a:pt x="261" y="1131"/>
                  </a:lnTo>
                  <a:lnTo>
                    <a:pt x="262" y="1132"/>
                  </a:lnTo>
                  <a:lnTo>
                    <a:pt x="262" y="1132"/>
                  </a:lnTo>
                  <a:lnTo>
                    <a:pt x="262" y="1132"/>
                  </a:lnTo>
                  <a:lnTo>
                    <a:pt x="265" y="1134"/>
                  </a:lnTo>
                  <a:lnTo>
                    <a:pt x="265" y="1134"/>
                  </a:lnTo>
                  <a:lnTo>
                    <a:pt x="266" y="1135"/>
                  </a:lnTo>
                  <a:lnTo>
                    <a:pt x="266" y="1136"/>
                  </a:lnTo>
                  <a:lnTo>
                    <a:pt x="266" y="1136"/>
                  </a:lnTo>
                  <a:lnTo>
                    <a:pt x="276" y="1141"/>
                  </a:lnTo>
                  <a:lnTo>
                    <a:pt x="285" y="1148"/>
                  </a:lnTo>
                  <a:lnTo>
                    <a:pt x="285" y="1148"/>
                  </a:lnTo>
                  <a:lnTo>
                    <a:pt x="285" y="1148"/>
                  </a:lnTo>
                  <a:lnTo>
                    <a:pt x="282" y="1146"/>
                  </a:lnTo>
                  <a:lnTo>
                    <a:pt x="279" y="1144"/>
                  </a:lnTo>
                  <a:lnTo>
                    <a:pt x="279" y="1144"/>
                  </a:lnTo>
                  <a:lnTo>
                    <a:pt x="278" y="1144"/>
                  </a:lnTo>
                  <a:lnTo>
                    <a:pt x="278" y="1144"/>
                  </a:lnTo>
                  <a:lnTo>
                    <a:pt x="278" y="1144"/>
                  </a:lnTo>
                  <a:lnTo>
                    <a:pt x="276" y="1142"/>
                  </a:lnTo>
                  <a:lnTo>
                    <a:pt x="276" y="1142"/>
                  </a:lnTo>
                  <a:lnTo>
                    <a:pt x="281" y="1146"/>
                  </a:lnTo>
                  <a:lnTo>
                    <a:pt x="288" y="1151"/>
                  </a:lnTo>
                  <a:lnTo>
                    <a:pt x="288" y="1151"/>
                  </a:lnTo>
                  <a:lnTo>
                    <a:pt x="288" y="1152"/>
                  </a:lnTo>
                  <a:lnTo>
                    <a:pt x="288" y="1152"/>
                  </a:lnTo>
                  <a:lnTo>
                    <a:pt x="286" y="1154"/>
                  </a:lnTo>
                  <a:lnTo>
                    <a:pt x="288" y="1155"/>
                  </a:lnTo>
                  <a:lnTo>
                    <a:pt x="288" y="1155"/>
                  </a:lnTo>
                  <a:lnTo>
                    <a:pt x="291" y="1155"/>
                  </a:lnTo>
                  <a:lnTo>
                    <a:pt x="295" y="1156"/>
                  </a:lnTo>
                  <a:lnTo>
                    <a:pt x="295" y="1156"/>
                  </a:lnTo>
                  <a:lnTo>
                    <a:pt x="296" y="1159"/>
                  </a:lnTo>
                  <a:lnTo>
                    <a:pt x="298" y="1162"/>
                  </a:lnTo>
                  <a:lnTo>
                    <a:pt x="298" y="1162"/>
                  </a:lnTo>
                  <a:lnTo>
                    <a:pt x="301" y="1162"/>
                  </a:lnTo>
                  <a:lnTo>
                    <a:pt x="302" y="1162"/>
                  </a:lnTo>
                  <a:lnTo>
                    <a:pt x="302" y="1162"/>
                  </a:lnTo>
                  <a:lnTo>
                    <a:pt x="304" y="1164"/>
                  </a:lnTo>
                  <a:lnTo>
                    <a:pt x="305" y="1166"/>
                  </a:lnTo>
                  <a:lnTo>
                    <a:pt x="305" y="1166"/>
                  </a:lnTo>
                  <a:lnTo>
                    <a:pt x="315" y="1171"/>
                  </a:lnTo>
                  <a:lnTo>
                    <a:pt x="315" y="1171"/>
                  </a:lnTo>
                  <a:lnTo>
                    <a:pt x="324" y="1176"/>
                  </a:lnTo>
                  <a:lnTo>
                    <a:pt x="324" y="1176"/>
                  </a:lnTo>
                  <a:lnTo>
                    <a:pt x="325" y="1178"/>
                  </a:lnTo>
                  <a:lnTo>
                    <a:pt x="324" y="1176"/>
                  </a:lnTo>
                  <a:lnTo>
                    <a:pt x="318" y="1175"/>
                  </a:lnTo>
                  <a:lnTo>
                    <a:pt x="318" y="1175"/>
                  </a:lnTo>
                  <a:lnTo>
                    <a:pt x="322" y="1178"/>
                  </a:lnTo>
                  <a:lnTo>
                    <a:pt x="325" y="1179"/>
                  </a:lnTo>
                  <a:lnTo>
                    <a:pt x="326" y="1181"/>
                  </a:lnTo>
                  <a:lnTo>
                    <a:pt x="326" y="1181"/>
                  </a:lnTo>
                  <a:lnTo>
                    <a:pt x="328" y="1181"/>
                  </a:lnTo>
                  <a:lnTo>
                    <a:pt x="329" y="1181"/>
                  </a:lnTo>
                  <a:lnTo>
                    <a:pt x="329" y="1179"/>
                  </a:lnTo>
                  <a:lnTo>
                    <a:pt x="329" y="1179"/>
                  </a:lnTo>
                  <a:lnTo>
                    <a:pt x="341" y="1186"/>
                  </a:lnTo>
                  <a:lnTo>
                    <a:pt x="341" y="1186"/>
                  </a:lnTo>
                  <a:lnTo>
                    <a:pt x="352" y="1192"/>
                  </a:lnTo>
                  <a:lnTo>
                    <a:pt x="352" y="1192"/>
                  </a:lnTo>
                  <a:lnTo>
                    <a:pt x="376" y="1202"/>
                  </a:lnTo>
                  <a:lnTo>
                    <a:pt x="376" y="1202"/>
                  </a:lnTo>
                  <a:lnTo>
                    <a:pt x="378" y="1202"/>
                  </a:lnTo>
                  <a:lnTo>
                    <a:pt x="376" y="1201"/>
                  </a:lnTo>
                  <a:lnTo>
                    <a:pt x="375" y="1199"/>
                  </a:lnTo>
                  <a:lnTo>
                    <a:pt x="375" y="1199"/>
                  </a:lnTo>
                  <a:lnTo>
                    <a:pt x="383" y="1202"/>
                  </a:lnTo>
                  <a:lnTo>
                    <a:pt x="383" y="1202"/>
                  </a:lnTo>
                  <a:lnTo>
                    <a:pt x="385" y="1204"/>
                  </a:lnTo>
                  <a:lnTo>
                    <a:pt x="388" y="1205"/>
                  </a:lnTo>
                  <a:lnTo>
                    <a:pt x="396" y="1208"/>
                  </a:lnTo>
                  <a:lnTo>
                    <a:pt x="396" y="1208"/>
                  </a:lnTo>
                  <a:lnTo>
                    <a:pt x="406" y="1211"/>
                  </a:lnTo>
                  <a:lnTo>
                    <a:pt x="415" y="1214"/>
                  </a:lnTo>
                  <a:lnTo>
                    <a:pt x="415" y="1214"/>
                  </a:lnTo>
                  <a:lnTo>
                    <a:pt x="411" y="1214"/>
                  </a:lnTo>
                  <a:lnTo>
                    <a:pt x="403" y="1214"/>
                  </a:lnTo>
                  <a:lnTo>
                    <a:pt x="403" y="1214"/>
                  </a:lnTo>
                  <a:lnTo>
                    <a:pt x="396" y="1211"/>
                  </a:lnTo>
                  <a:lnTo>
                    <a:pt x="396" y="1211"/>
                  </a:lnTo>
                  <a:lnTo>
                    <a:pt x="389" y="1209"/>
                  </a:lnTo>
                  <a:lnTo>
                    <a:pt x="389" y="1209"/>
                  </a:lnTo>
                  <a:lnTo>
                    <a:pt x="396" y="1212"/>
                  </a:lnTo>
                  <a:lnTo>
                    <a:pt x="396" y="1212"/>
                  </a:lnTo>
                  <a:lnTo>
                    <a:pt x="399" y="1214"/>
                  </a:lnTo>
                  <a:lnTo>
                    <a:pt x="401" y="1215"/>
                  </a:lnTo>
                  <a:lnTo>
                    <a:pt x="401" y="1215"/>
                  </a:lnTo>
                  <a:lnTo>
                    <a:pt x="408" y="1215"/>
                  </a:lnTo>
                  <a:lnTo>
                    <a:pt x="408" y="1215"/>
                  </a:lnTo>
                  <a:lnTo>
                    <a:pt x="411" y="1216"/>
                  </a:lnTo>
                  <a:lnTo>
                    <a:pt x="411" y="1218"/>
                  </a:lnTo>
                  <a:lnTo>
                    <a:pt x="411" y="1218"/>
                  </a:lnTo>
                  <a:lnTo>
                    <a:pt x="406" y="1216"/>
                  </a:lnTo>
                  <a:lnTo>
                    <a:pt x="402" y="1215"/>
                  </a:lnTo>
                  <a:lnTo>
                    <a:pt x="402" y="1215"/>
                  </a:lnTo>
                  <a:lnTo>
                    <a:pt x="402" y="1216"/>
                  </a:lnTo>
                  <a:lnTo>
                    <a:pt x="401" y="1216"/>
                  </a:lnTo>
                  <a:lnTo>
                    <a:pt x="396" y="1216"/>
                  </a:lnTo>
                  <a:lnTo>
                    <a:pt x="396" y="1216"/>
                  </a:lnTo>
                  <a:lnTo>
                    <a:pt x="401" y="1218"/>
                  </a:lnTo>
                  <a:lnTo>
                    <a:pt x="405" y="1219"/>
                  </a:lnTo>
                  <a:lnTo>
                    <a:pt x="409" y="1219"/>
                  </a:lnTo>
                  <a:lnTo>
                    <a:pt x="413" y="1221"/>
                  </a:lnTo>
                  <a:lnTo>
                    <a:pt x="413" y="1221"/>
                  </a:lnTo>
                  <a:lnTo>
                    <a:pt x="422" y="1222"/>
                  </a:lnTo>
                  <a:lnTo>
                    <a:pt x="422" y="1222"/>
                  </a:lnTo>
                  <a:lnTo>
                    <a:pt x="431" y="1222"/>
                  </a:lnTo>
                  <a:lnTo>
                    <a:pt x="431" y="1222"/>
                  </a:lnTo>
                  <a:lnTo>
                    <a:pt x="432" y="1224"/>
                  </a:lnTo>
                  <a:lnTo>
                    <a:pt x="432" y="1224"/>
                  </a:lnTo>
                  <a:lnTo>
                    <a:pt x="429" y="1224"/>
                  </a:lnTo>
                  <a:lnTo>
                    <a:pt x="429" y="1224"/>
                  </a:lnTo>
                  <a:lnTo>
                    <a:pt x="435" y="1226"/>
                  </a:lnTo>
                  <a:lnTo>
                    <a:pt x="440" y="1228"/>
                  </a:lnTo>
                  <a:lnTo>
                    <a:pt x="440" y="1228"/>
                  </a:lnTo>
                  <a:lnTo>
                    <a:pt x="440" y="1226"/>
                  </a:lnTo>
                  <a:lnTo>
                    <a:pt x="446" y="1228"/>
                  </a:lnTo>
                  <a:lnTo>
                    <a:pt x="446" y="1228"/>
                  </a:lnTo>
                  <a:lnTo>
                    <a:pt x="442" y="1226"/>
                  </a:lnTo>
                  <a:lnTo>
                    <a:pt x="439" y="1225"/>
                  </a:lnTo>
                  <a:lnTo>
                    <a:pt x="439" y="1225"/>
                  </a:lnTo>
                  <a:lnTo>
                    <a:pt x="445" y="1226"/>
                  </a:lnTo>
                  <a:lnTo>
                    <a:pt x="450" y="1228"/>
                  </a:lnTo>
                  <a:lnTo>
                    <a:pt x="450" y="1228"/>
                  </a:lnTo>
                  <a:lnTo>
                    <a:pt x="462" y="1228"/>
                  </a:lnTo>
                  <a:lnTo>
                    <a:pt x="462" y="1228"/>
                  </a:lnTo>
                  <a:lnTo>
                    <a:pt x="462" y="1229"/>
                  </a:lnTo>
                  <a:lnTo>
                    <a:pt x="468" y="1231"/>
                  </a:lnTo>
                  <a:lnTo>
                    <a:pt x="468" y="1231"/>
                  </a:lnTo>
                  <a:lnTo>
                    <a:pt x="469" y="1232"/>
                  </a:lnTo>
                  <a:lnTo>
                    <a:pt x="468" y="1232"/>
                  </a:lnTo>
                  <a:lnTo>
                    <a:pt x="468" y="1234"/>
                  </a:lnTo>
                  <a:lnTo>
                    <a:pt x="469" y="1234"/>
                  </a:lnTo>
                  <a:lnTo>
                    <a:pt x="469" y="1234"/>
                  </a:lnTo>
                  <a:lnTo>
                    <a:pt x="472" y="1234"/>
                  </a:lnTo>
                  <a:lnTo>
                    <a:pt x="475" y="1234"/>
                  </a:lnTo>
                  <a:lnTo>
                    <a:pt x="486" y="1234"/>
                  </a:lnTo>
                  <a:lnTo>
                    <a:pt x="486" y="1234"/>
                  </a:lnTo>
                  <a:lnTo>
                    <a:pt x="506" y="1239"/>
                  </a:lnTo>
                  <a:lnTo>
                    <a:pt x="506" y="1239"/>
                  </a:lnTo>
                  <a:lnTo>
                    <a:pt x="516" y="1238"/>
                  </a:lnTo>
                  <a:lnTo>
                    <a:pt x="527" y="1238"/>
                  </a:lnTo>
                  <a:lnTo>
                    <a:pt x="527" y="1238"/>
                  </a:lnTo>
                  <a:lnTo>
                    <a:pt x="529" y="1238"/>
                  </a:lnTo>
                  <a:lnTo>
                    <a:pt x="527" y="1239"/>
                  </a:lnTo>
                  <a:lnTo>
                    <a:pt x="525" y="1239"/>
                  </a:lnTo>
                  <a:lnTo>
                    <a:pt x="525" y="1239"/>
                  </a:lnTo>
                  <a:lnTo>
                    <a:pt x="525" y="1239"/>
                  </a:lnTo>
                  <a:lnTo>
                    <a:pt x="533" y="1241"/>
                  </a:lnTo>
                  <a:lnTo>
                    <a:pt x="540" y="1239"/>
                  </a:lnTo>
                  <a:lnTo>
                    <a:pt x="540" y="1239"/>
                  </a:lnTo>
                  <a:lnTo>
                    <a:pt x="552" y="1236"/>
                  </a:lnTo>
                  <a:lnTo>
                    <a:pt x="552" y="1236"/>
                  </a:lnTo>
                  <a:lnTo>
                    <a:pt x="545" y="1236"/>
                  </a:lnTo>
                  <a:lnTo>
                    <a:pt x="540" y="1236"/>
                  </a:lnTo>
                  <a:lnTo>
                    <a:pt x="535" y="1238"/>
                  </a:lnTo>
                  <a:lnTo>
                    <a:pt x="530" y="1238"/>
                  </a:lnTo>
                  <a:lnTo>
                    <a:pt x="530" y="1238"/>
                  </a:lnTo>
                  <a:lnTo>
                    <a:pt x="529" y="1236"/>
                  </a:lnTo>
                  <a:lnTo>
                    <a:pt x="529" y="1236"/>
                  </a:lnTo>
                  <a:lnTo>
                    <a:pt x="529" y="1236"/>
                  </a:lnTo>
                  <a:lnTo>
                    <a:pt x="525" y="1236"/>
                  </a:lnTo>
                  <a:lnTo>
                    <a:pt x="523" y="1236"/>
                  </a:lnTo>
                  <a:lnTo>
                    <a:pt x="525" y="1238"/>
                  </a:lnTo>
                  <a:lnTo>
                    <a:pt x="525" y="1238"/>
                  </a:lnTo>
                  <a:lnTo>
                    <a:pt x="515" y="1235"/>
                  </a:lnTo>
                  <a:lnTo>
                    <a:pt x="515" y="1235"/>
                  </a:lnTo>
                  <a:lnTo>
                    <a:pt x="505" y="1235"/>
                  </a:lnTo>
                  <a:lnTo>
                    <a:pt x="505" y="1235"/>
                  </a:lnTo>
                  <a:lnTo>
                    <a:pt x="492" y="1234"/>
                  </a:lnTo>
                  <a:lnTo>
                    <a:pt x="486" y="1232"/>
                  </a:lnTo>
                  <a:lnTo>
                    <a:pt x="482" y="1231"/>
                  </a:lnTo>
                  <a:lnTo>
                    <a:pt x="482" y="1231"/>
                  </a:lnTo>
                  <a:lnTo>
                    <a:pt x="490" y="1231"/>
                  </a:lnTo>
                  <a:lnTo>
                    <a:pt x="500" y="1231"/>
                  </a:lnTo>
                  <a:lnTo>
                    <a:pt x="500" y="1231"/>
                  </a:lnTo>
                  <a:lnTo>
                    <a:pt x="520" y="1235"/>
                  </a:lnTo>
                  <a:lnTo>
                    <a:pt x="520" y="1235"/>
                  </a:lnTo>
                  <a:lnTo>
                    <a:pt x="527" y="1234"/>
                  </a:lnTo>
                  <a:lnTo>
                    <a:pt x="537" y="1234"/>
                  </a:lnTo>
                  <a:lnTo>
                    <a:pt x="537" y="1234"/>
                  </a:lnTo>
                  <a:lnTo>
                    <a:pt x="543" y="1234"/>
                  </a:lnTo>
                  <a:lnTo>
                    <a:pt x="543" y="1234"/>
                  </a:lnTo>
                  <a:lnTo>
                    <a:pt x="549" y="1235"/>
                  </a:lnTo>
                  <a:lnTo>
                    <a:pt x="549" y="1235"/>
                  </a:lnTo>
                  <a:lnTo>
                    <a:pt x="560" y="1235"/>
                  </a:lnTo>
                  <a:lnTo>
                    <a:pt x="560" y="1235"/>
                  </a:lnTo>
                  <a:lnTo>
                    <a:pt x="555" y="1238"/>
                  </a:lnTo>
                  <a:lnTo>
                    <a:pt x="550" y="1241"/>
                  </a:lnTo>
                  <a:lnTo>
                    <a:pt x="550" y="1241"/>
                  </a:lnTo>
                  <a:lnTo>
                    <a:pt x="556" y="1239"/>
                  </a:lnTo>
                  <a:lnTo>
                    <a:pt x="560" y="1239"/>
                  </a:lnTo>
                  <a:lnTo>
                    <a:pt x="560" y="1239"/>
                  </a:lnTo>
                  <a:lnTo>
                    <a:pt x="567" y="1242"/>
                  </a:lnTo>
                  <a:lnTo>
                    <a:pt x="573" y="1242"/>
                  </a:lnTo>
                  <a:lnTo>
                    <a:pt x="573" y="1242"/>
                  </a:lnTo>
                  <a:lnTo>
                    <a:pt x="579" y="1241"/>
                  </a:lnTo>
                  <a:lnTo>
                    <a:pt x="585" y="1242"/>
                  </a:lnTo>
                  <a:lnTo>
                    <a:pt x="585" y="1242"/>
                  </a:lnTo>
                  <a:lnTo>
                    <a:pt x="603" y="1242"/>
                  </a:lnTo>
                  <a:lnTo>
                    <a:pt x="603" y="1242"/>
                  </a:lnTo>
                  <a:lnTo>
                    <a:pt x="602" y="1241"/>
                  </a:lnTo>
                  <a:lnTo>
                    <a:pt x="602" y="1241"/>
                  </a:lnTo>
                  <a:lnTo>
                    <a:pt x="603" y="1241"/>
                  </a:lnTo>
                  <a:lnTo>
                    <a:pt x="603" y="1241"/>
                  </a:lnTo>
                  <a:lnTo>
                    <a:pt x="603" y="1241"/>
                  </a:lnTo>
                  <a:lnTo>
                    <a:pt x="607" y="1239"/>
                  </a:lnTo>
                  <a:lnTo>
                    <a:pt x="612" y="1239"/>
                  </a:lnTo>
                  <a:lnTo>
                    <a:pt x="612" y="1239"/>
                  </a:lnTo>
                  <a:lnTo>
                    <a:pt x="615" y="1239"/>
                  </a:lnTo>
                  <a:lnTo>
                    <a:pt x="613" y="1241"/>
                  </a:lnTo>
                  <a:lnTo>
                    <a:pt x="607" y="1241"/>
                  </a:lnTo>
                  <a:lnTo>
                    <a:pt x="607" y="1241"/>
                  </a:lnTo>
                  <a:lnTo>
                    <a:pt x="610" y="1241"/>
                  </a:lnTo>
                  <a:lnTo>
                    <a:pt x="615" y="1241"/>
                  </a:lnTo>
                  <a:lnTo>
                    <a:pt x="619" y="1241"/>
                  </a:lnTo>
                  <a:lnTo>
                    <a:pt x="622" y="1239"/>
                  </a:lnTo>
                  <a:lnTo>
                    <a:pt x="622" y="1239"/>
                  </a:lnTo>
                  <a:lnTo>
                    <a:pt x="629" y="1239"/>
                  </a:lnTo>
                  <a:lnTo>
                    <a:pt x="629" y="1239"/>
                  </a:lnTo>
                  <a:lnTo>
                    <a:pt x="636" y="1239"/>
                  </a:lnTo>
                  <a:lnTo>
                    <a:pt x="636" y="1239"/>
                  </a:lnTo>
                  <a:lnTo>
                    <a:pt x="646" y="1238"/>
                  </a:lnTo>
                  <a:lnTo>
                    <a:pt x="650" y="1236"/>
                  </a:lnTo>
                  <a:lnTo>
                    <a:pt x="656" y="1236"/>
                  </a:lnTo>
                  <a:lnTo>
                    <a:pt x="656" y="1236"/>
                  </a:lnTo>
                  <a:lnTo>
                    <a:pt x="657" y="1238"/>
                  </a:lnTo>
                  <a:lnTo>
                    <a:pt x="654" y="1239"/>
                  </a:lnTo>
                  <a:lnTo>
                    <a:pt x="649" y="1242"/>
                  </a:lnTo>
                  <a:lnTo>
                    <a:pt x="649" y="1242"/>
                  </a:lnTo>
                  <a:lnTo>
                    <a:pt x="660" y="1241"/>
                  </a:lnTo>
                  <a:lnTo>
                    <a:pt x="673" y="1239"/>
                  </a:lnTo>
                  <a:lnTo>
                    <a:pt x="673" y="1239"/>
                  </a:lnTo>
                  <a:lnTo>
                    <a:pt x="676" y="1239"/>
                  </a:lnTo>
                  <a:lnTo>
                    <a:pt x="680" y="1239"/>
                  </a:lnTo>
                  <a:lnTo>
                    <a:pt x="680" y="1239"/>
                  </a:lnTo>
                  <a:lnTo>
                    <a:pt x="680" y="1239"/>
                  </a:lnTo>
                  <a:lnTo>
                    <a:pt x="677" y="1239"/>
                  </a:lnTo>
                  <a:lnTo>
                    <a:pt x="676" y="1239"/>
                  </a:lnTo>
                  <a:lnTo>
                    <a:pt x="676" y="1238"/>
                  </a:lnTo>
                  <a:lnTo>
                    <a:pt x="676" y="1238"/>
                  </a:lnTo>
                  <a:lnTo>
                    <a:pt x="666" y="1239"/>
                  </a:lnTo>
                  <a:lnTo>
                    <a:pt x="666" y="1239"/>
                  </a:lnTo>
                  <a:lnTo>
                    <a:pt x="664" y="1238"/>
                  </a:lnTo>
                  <a:lnTo>
                    <a:pt x="664" y="1238"/>
                  </a:lnTo>
                  <a:lnTo>
                    <a:pt x="659" y="1238"/>
                  </a:lnTo>
                  <a:lnTo>
                    <a:pt x="659" y="1238"/>
                  </a:lnTo>
                  <a:lnTo>
                    <a:pt x="659" y="1238"/>
                  </a:lnTo>
                  <a:lnTo>
                    <a:pt x="659" y="1238"/>
                  </a:lnTo>
                  <a:lnTo>
                    <a:pt x="662" y="1236"/>
                  </a:lnTo>
                  <a:lnTo>
                    <a:pt x="662" y="1236"/>
                  </a:lnTo>
                  <a:lnTo>
                    <a:pt x="666" y="1238"/>
                  </a:lnTo>
                  <a:lnTo>
                    <a:pt x="670" y="1238"/>
                  </a:lnTo>
                  <a:lnTo>
                    <a:pt x="670" y="1238"/>
                  </a:lnTo>
                  <a:lnTo>
                    <a:pt x="672" y="1236"/>
                  </a:lnTo>
                  <a:lnTo>
                    <a:pt x="672" y="1236"/>
                  </a:lnTo>
                  <a:lnTo>
                    <a:pt x="672" y="1236"/>
                  </a:lnTo>
                  <a:lnTo>
                    <a:pt x="672" y="1236"/>
                  </a:lnTo>
                  <a:lnTo>
                    <a:pt x="683" y="1235"/>
                  </a:lnTo>
                  <a:lnTo>
                    <a:pt x="683" y="1235"/>
                  </a:lnTo>
                  <a:lnTo>
                    <a:pt x="684" y="1236"/>
                  </a:lnTo>
                  <a:lnTo>
                    <a:pt x="682" y="1236"/>
                  </a:lnTo>
                  <a:lnTo>
                    <a:pt x="682" y="1236"/>
                  </a:lnTo>
                  <a:lnTo>
                    <a:pt x="679" y="1236"/>
                  </a:lnTo>
                  <a:lnTo>
                    <a:pt x="677" y="1236"/>
                  </a:lnTo>
                  <a:lnTo>
                    <a:pt x="677" y="1236"/>
                  </a:lnTo>
                  <a:lnTo>
                    <a:pt x="677" y="1238"/>
                  </a:lnTo>
                  <a:lnTo>
                    <a:pt x="677" y="1238"/>
                  </a:lnTo>
                  <a:lnTo>
                    <a:pt x="679" y="1239"/>
                  </a:lnTo>
                  <a:lnTo>
                    <a:pt x="679" y="1239"/>
                  </a:lnTo>
                  <a:lnTo>
                    <a:pt x="690" y="1235"/>
                  </a:lnTo>
                  <a:lnTo>
                    <a:pt x="690" y="1235"/>
                  </a:lnTo>
                  <a:lnTo>
                    <a:pt x="702" y="1232"/>
                  </a:lnTo>
                  <a:lnTo>
                    <a:pt x="702" y="1232"/>
                  </a:lnTo>
                  <a:lnTo>
                    <a:pt x="713" y="1229"/>
                  </a:lnTo>
                  <a:lnTo>
                    <a:pt x="713" y="1229"/>
                  </a:lnTo>
                  <a:lnTo>
                    <a:pt x="726" y="1225"/>
                  </a:lnTo>
                  <a:lnTo>
                    <a:pt x="726" y="1225"/>
                  </a:lnTo>
                  <a:lnTo>
                    <a:pt x="727" y="1225"/>
                  </a:lnTo>
                  <a:lnTo>
                    <a:pt x="727" y="1226"/>
                  </a:lnTo>
                  <a:lnTo>
                    <a:pt x="727" y="1226"/>
                  </a:lnTo>
                  <a:lnTo>
                    <a:pt x="727" y="1226"/>
                  </a:lnTo>
                  <a:lnTo>
                    <a:pt x="736" y="1224"/>
                  </a:lnTo>
                  <a:lnTo>
                    <a:pt x="749" y="1219"/>
                  </a:lnTo>
                  <a:lnTo>
                    <a:pt x="749" y="1219"/>
                  </a:lnTo>
                  <a:lnTo>
                    <a:pt x="747" y="1221"/>
                  </a:lnTo>
                  <a:lnTo>
                    <a:pt x="743" y="1222"/>
                  </a:lnTo>
                  <a:lnTo>
                    <a:pt x="737" y="1225"/>
                  </a:lnTo>
                  <a:lnTo>
                    <a:pt x="737" y="1225"/>
                  </a:lnTo>
                  <a:lnTo>
                    <a:pt x="734" y="1225"/>
                  </a:lnTo>
                  <a:lnTo>
                    <a:pt x="737" y="1225"/>
                  </a:lnTo>
                  <a:lnTo>
                    <a:pt x="737" y="1225"/>
                  </a:lnTo>
                  <a:lnTo>
                    <a:pt x="746" y="1222"/>
                  </a:lnTo>
                  <a:lnTo>
                    <a:pt x="746" y="1222"/>
                  </a:lnTo>
                  <a:lnTo>
                    <a:pt x="750" y="1221"/>
                  </a:lnTo>
                  <a:lnTo>
                    <a:pt x="750" y="1221"/>
                  </a:lnTo>
                  <a:lnTo>
                    <a:pt x="754" y="1221"/>
                  </a:lnTo>
                  <a:lnTo>
                    <a:pt x="754" y="1221"/>
                  </a:lnTo>
                  <a:lnTo>
                    <a:pt x="770" y="1215"/>
                  </a:lnTo>
                  <a:lnTo>
                    <a:pt x="770" y="1215"/>
                  </a:lnTo>
                  <a:lnTo>
                    <a:pt x="771" y="1216"/>
                  </a:lnTo>
                  <a:lnTo>
                    <a:pt x="770" y="1216"/>
                  </a:lnTo>
                  <a:lnTo>
                    <a:pt x="766" y="1218"/>
                  </a:lnTo>
                  <a:lnTo>
                    <a:pt x="761" y="1221"/>
                  </a:lnTo>
                  <a:lnTo>
                    <a:pt x="760" y="1222"/>
                  </a:lnTo>
                  <a:lnTo>
                    <a:pt x="760" y="1222"/>
                  </a:lnTo>
                  <a:lnTo>
                    <a:pt x="764" y="1221"/>
                  </a:lnTo>
                  <a:lnTo>
                    <a:pt x="767" y="1219"/>
                  </a:lnTo>
                  <a:lnTo>
                    <a:pt x="767" y="1219"/>
                  </a:lnTo>
                  <a:lnTo>
                    <a:pt x="780" y="1216"/>
                  </a:lnTo>
                  <a:lnTo>
                    <a:pt x="780" y="1216"/>
                  </a:lnTo>
                  <a:lnTo>
                    <a:pt x="796" y="1211"/>
                  </a:lnTo>
                  <a:lnTo>
                    <a:pt x="796" y="1211"/>
                  </a:lnTo>
                  <a:lnTo>
                    <a:pt x="810" y="1205"/>
                  </a:lnTo>
                  <a:lnTo>
                    <a:pt x="810" y="1205"/>
                  </a:lnTo>
                  <a:lnTo>
                    <a:pt x="823" y="1199"/>
                  </a:lnTo>
                  <a:lnTo>
                    <a:pt x="823" y="1199"/>
                  </a:lnTo>
                  <a:lnTo>
                    <a:pt x="823" y="1199"/>
                  </a:lnTo>
                  <a:lnTo>
                    <a:pt x="823" y="1199"/>
                  </a:lnTo>
                  <a:lnTo>
                    <a:pt x="821" y="1201"/>
                  </a:lnTo>
                  <a:lnTo>
                    <a:pt x="818" y="1202"/>
                  </a:lnTo>
                  <a:lnTo>
                    <a:pt x="821" y="1202"/>
                  </a:lnTo>
                  <a:lnTo>
                    <a:pt x="821" y="1202"/>
                  </a:lnTo>
                  <a:lnTo>
                    <a:pt x="826" y="1199"/>
                  </a:lnTo>
                  <a:lnTo>
                    <a:pt x="833" y="1195"/>
                  </a:lnTo>
                  <a:lnTo>
                    <a:pt x="833" y="1195"/>
                  </a:lnTo>
                  <a:lnTo>
                    <a:pt x="827" y="1196"/>
                  </a:lnTo>
                  <a:lnTo>
                    <a:pt x="823" y="1198"/>
                  </a:lnTo>
                  <a:lnTo>
                    <a:pt x="823" y="1198"/>
                  </a:lnTo>
                  <a:lnTo>
                    <a:pt x="821" y="1198"/>
                  </a:lnTo>
                  <a:lnTo>
                    <a:pt x="821" y="1198"/>
                  </a:lnTo>
                  <a:lnTo>
                    <a:pt x="831" y="1194"/>
                  </a:lnTo>
                  <a:lnTo>
                    <a:pt x="831" y="1194"/>
                  </a:lnTo>
                  <a:lnTo>
                    <a:pt x="836" y="1192"/>
                  </a:lnTo>
                  <a:lnTo>
                    <a:pt x="836" y="1192"/>
                  </a:lnTo>
                  <a:lnTo>
                    <a:pt x="841" y="1189"/>
                  </a:lnTo>
                  <a:lnTo>
                    <a:pt x="841" y="1189"/>
                  </a:lnTo>
                  <a:lnTo>
                    <a:pt x="843" y="1189"/>
                  </a:lnTo>
                  <a:lnTo>
                    <a:pt x="844" y="1189"/>
                  </a:lnTo>
                  <a:lnTo>
                    <a:pt x="844" y="1189"/>
                  </a:lnTo>
                  <a:lnTo>
                    <a:pt x="851" y="1186"/>
                  </a:lnTo>
                  <a:lnTo>
                    <a:pt x="858" y="1182"/>
                  </a:lnTo>
                  <a:lnTo>
                    <a:pt x="858" y="1182"/>
                  </a:lnTo>
                  <a:lnTo>
                    <a:pt x="861" y="1182"/>
                  </a:lnTo>
                  <a:lnTo>
                    <a:pt x="860" y="1184"/>
                  </a:lnTo>
                  <a:lnTo>
                    <a:pt x="860" y="1184"/>
                  </a:lnTo>
                  <a:lnTo>
                    <a:pt x="864" y="1182"/>
                  </a:lnTo>
                  <a:lnTo>
                    <a:pt x="868" y="1181"/>
                  </a:lnTo>
                  <a:lnTo>
                    <a:pt x="868" y="1181"/>
                  </a:lnTo>
                  <a:lnTo>
                    <a:pt x="868" y="1179"/>
                  </a:lnTo>
                  <a:lnTo>
                    <a:pt x="867" y="1179"/>
                  </a:lnTo>
                  <a:lnTo>
                    <a:pt x="867" y="1179"/>
                  </a:lnTo>
                  <a:lnTo>
                    <a:pt x="894" y="1168"/>
                  </a:lnTo>
                  <a:lnTo>
                    <a:pt x="894" y="1168"/>
                  </a:lnTo>
                  <a:lnTo>
                    <a:pt x="918" y="1154"/>
                  </a:lnTo>
                  <a:lnTo>
                    <a:pt x="918" y="1154"/>
                  </a:lnTo>
                  <a:lnTo>
                    <a:pt x="918" y="1154"/>
                  </a:lnTo>
                  <a:lnTo>
                    <a:pt x="918" y="1154"/>
                  </a:lnTo>
                  <a:lnTo>
                    <a:pt x="917" y="1156"/>
                  </a:lnTo>
                  <a:lnTo>
                    <a:pt x="917" y="1156"/>
                  </a:lnTo>
                  <a:lnTo>
                    <a:pt x="921" y="1154"/>
                  </a:lnTo>
                  <a:lnTo>
                    <a:pt x="921" y="1154"/>
                  </a:lnTo>
                  <a:lnTo>
                    <a:pt x="925" y="1151"/>
                  </a:lnTo>
                  <a:lnTo>
                    <a:pt x="925" y="1151"/>
                  </a:lnTo>
                  <a:lnTo>
                    <a:pt x="927" y="1149"/>
                  </a:lnTo>
                  <a:lnTo>
                    <a:pt x="927" y="1149"/>
                  </a:lnTo>
                  <a:lnTo>
                    <a:pt x="925" y="1149"/>
                  </a:lnTo>
                  <a:lnTo>
                    <a:pt x="927" y="1148"/>
                  </a:lnTo>
                  <a:lnTo>
                    <a:pt x="927" y="1148"/>
                  </a:lnTo>
                  <a:lnTo>
                    <a:pt x="934" y="1144"/>
                  </a:lnTo>
                  <a:lnTo>
                    <a:pt x="940" y="1139"/>
                  </a:lnTo>
                  <a:lnTo>
                    <a:pt x="940" y="1139"/>
                  </a:lnTo>
                  <a:lnTo>
                    <a:pt x="943" y="1139"/>
                  </a:lnTo>
                  <a:lnTo>
                    <a:pt x="945" y="1138"/>
                  </a:lnTo>
                  <a:lnTo>
                    <a:pt x="945" y="1138"/>
                  </a:lnTo>
                  <a:lnTo>
                    <a:pt x="945" y="1138"/>
                  </a:lnTo>
                  <a:lnTo>
                    <a:pt x="945" y="1136"/>
                  </a:lnTo>
                  <a:lnTo>
                    <a:pt x="945" y="1136"/>
                  </a:lnTo>
                  <a:lnTo>
                    <a:pt x="945" y="1135"/>
                  </a:lnTo>
                  <a:lnTo>
                    <a:pt x="945" y="1135"/>
                  </a:lnTo>
                  <a:lnTo>
                    <a:pt x="948" y="1134"/>
                  </a:lnTo>
                  <a:lnTo>
                    <a:pt x="951" y="1132"/>
                  </a:lnTo>
                  <a:lnTo>
                    <a:pt x="957" y="1128"/>
                  </a:lnTo>
                  <a:lnTo>
                    <a:pt x="957" y="1128"/>
                  </a:lnTo>
                  <a:lnTo>
                    <a:pt x="958" y="1128"/>
                  </a:lnTo>
                  <a:lnTo>
                    <a:pt x="961" y="1126"/>
                  </a:lnTo>
                  <a:lnTo>
                    <a:pt x="961" y="1126"/>
                  </a:lnTo>
                  <a:lnTo>
                    <a:pt x="961" y="1126"/>
                  </a:lnTo>
                  <a:lnTo>
                    <a:pt x="960" y="1126"/>
                  </a:lnTo>
                  <a:lnTo>
                    <a:pt x="960" y="1126"/>
                  </a:lnTo>
                  <a:lnTo>
                    <a:pt x="965" y="1122"/>
                  </a:lnTo>
                  <a:lnTo>
                    <a:pt x="971" y="1118"/>
                  </a:lnTo>
                  <a:lnTo>
                    <a:pt x="971" y="1118"/>
                  </a:lnTo>
                  <a:lnTo>
                    <a:pt x="977" y="1116"/>
                  </a:lnTo>
                  <a:lnTo>
                    <a:pt x="980" y="1116"/>
                  </a:lnTo>
                  <a:lnTo>
                    <a:pt x="980" y="1116"/>
                  </a:lnTo>
                  <a:lnTo>
                    <a:pt x="982" y="1114"/>
                  </a:lnTo>
                  <a:lnTo>
                    <a:pt x="980" y="1114"/>
                  </a:lnTo>
                  <a:lnTo>
                    <a:pt x="977" y="1115"/>
                  </a:lnTo>
                  <a:lnTo>
                    <a:pt x="975" y="1115"/>
                  </a:lnTo>
                  <a:lnTo>
                    <a:pt x="977" y="1114"/>
                  </a:lnTo>
                  <a:lnTo>
                    <a:pt x="977" y="1114"/>
                  </a:lnTo>
                  <a:lnTo>
                    <a:pt x="980" y="1112"/>
                  </a:lnTo>
                  <a:lnTo>
                    <a:pt x="984" y="1111"/>
                  </a:lnTo>
                  <a:lnTo>
                    <a:pt x="984" y="1111"/>
                  </a:lnTo>
                  <a:lnTo>
                    <a:pt x="990" y="1105"/>
                  </a:lnTo>
                  <a:lnTo>
                    <a:pt x="992" y="1102"/>
                  </a:lnTo>
                  <a:lnTo>
                    <a:pt x="994" y="1101"/>
                  </a:lnTo>
                  <a:lnTo>
                    <a:pt x="994" y="1101"/>
                  </a:lnTo>
                  <a:lnTo>
                    <a:pt x="1000" y="1095"/>
                  </a:lnTo>
                  <a:lnTo>
                    <a:pt x="1000" y="1095"/>
                  </a:lnTo>
                  <a:lnTo>
                    <a:pt x="1002" y="1094"/>
                  </a:lnTo>
                  <a:lnTo>
                    <a:pt x="1004" y="1094"/>
                  </a:lnTo>
                  <a:lnTo>
                    <a:pt x="1004" y="1094"/>
                  </a:lnTo>
                  <a:lnTo>
                    <a:pt x="1008" y="1089"/>
                  </a:lnTo>
                  <a:lnTo>
                    <a:pt x="1008" y="1089"/>
                  </a:lnTo>
                  <a:lnTo>
                    <a:pt x="1007" y="1089"/>
                  </a:lnTo>
                  <a:lnTo>
                    <a:pt x="1005" y="1091"/>
                  </a:lnTo>
                  <a:lnTo>
                    <a:pt x="1005" y="1091"/>
                  </a:lnTo>
                  <a:lnTo>
                    <a:pt x="1004" y="1092"/>
                  </a:lnTo>
                  <a:lnTo>
                    <a:pt x="1004" y="1092"/>
                  </a:lnTo>
                  <a:lnTo>
                    <a:pt x="1007" y="1088"/>
                  </a:lnTo>
                  <a:lnTo>
                    <a:pt x="1012" y="1084"/>
                  </a:lnTo>
                  <a:lnTo>
                    <a:pt x="1012" y="1084"/>
                  </a:lnTo>
                  <a:lnTo>
                    <a:pt x="1020" y="1077"/>
                  </a:lnTo>
                  <a:lnTo>
                    <a:pt x="1020" y="1077"/>
                  </a:lnTo>
                  <a:lnTo>
                    <a:pt x="1025" y="1071"/>
                  </a:lnTo>
                  <a:lnTo>
                    <a:pt x="1025" y="1071"/>
                  </a:lnTo>
                  <a:lnTo>
                    <a:pt x="1025" y="1074"/>
                  </a:lnTo>
                  <a:lnTo>
                    <a:pt x="1022" y="1077"/>
                  </a:lnTo>
                  <a:lnTo>
                    <a:pt x="1022" y="1077"/>
                  </a:lnTo>
                  <a:lnTo>
                    <a:pt x="1027" y="1074"/>
                  </a:lnTo>
                  <a:lnTo>
                    <a:pt x="1028" y="1071"/>
                  </a:lnTo>
                  <a:lnTo>
                    <a:pt x="1031" y="1067"/>
                  </a:lnTo>
                  <a:lnTo>
                    <a:pt x="1034" y="1064"/>
                  </a:lnTo>
                  <a:lnTo>
                    <a:pt x="1034" y="1064"/>
                  </a:lnTo>
                  <a:lnTo>
                    <a:pt x="1037" y="1061"/>
                  </a:lnTo>
                  <a:lnTo>
                    <a:pt x="1040" y="1058"/>
                  </a:lnTo>
                  <a:lnTo>
                    <a:pt x="1040" y="1058"/>
                  </a:lnTo>
                  <a:lnTo>
                    <a:pt x="1045" y="1052"/>
                  </a:lnTo>
                  <a:lnTo>
                    <a:pt x="1045" y="1052"/>
                  </a:lnTo>
                  <a:lnTo>
                    <a:pt x="1052" y="1045"/>
                  </a:lnTo>
                  <a:lnTo>
                    <a:pt x="1060" y="1038"/>
                  </a:lnTo>
                  <a:lnTo>
                    <a:pt x="1060" y="1038"/>
                  </a:lnTo>
                  <a:lnTo>
                    <a:pt x="1060" y="1039"/>
                  </a:lnTo>
                  <a:lnTo>
                    <a:pt x="1058" y="1041"/>
                  </a:lnTo>
                  <a:lnTo>
                    <a:pt x="1054" y="1045"/>
                  </a:lnTo>
                  <a:lnTo>
                    <a:pt x="1054" y="1045"/>
                  </a:lnTo>
                  <a:lnTo>
                    <a:pt x="1055" y="1045"/>
                  </a:lnTo>
                  <a:lnTo>
                    <a:pt x="1055" y="1047"/>
                  </a:lnTo>
                  <a:lnTo>
                    <a:pt x="1054" y="1048"/>
                  </a:lnTo>
                  <a:lnTo>
                    <a:pt x="1055" y="1048"/>
                  </a:lnTo>
                  <a:lnTo>
                    <a:pt x="1055" y="1048"/>
                  </a:lnTo>
                  <a:lnTo>
                    <a:pt x="1061" y="1039"/>
                  </a:lnTo>
                  <a:lnTo>
                    <a:pt x="1061" y="1039"/>
                  </a:lnTo>
                  <a:lnTo>
                    <a:pt x="1067" y="1029"/>
                  </a:lnTo>
                  <a:lnTo>
                    <a:pt x="1067" y="1029"/>
                  </a:lnTo>
                  <a:lnTo>
                    <a:pt x="1074" y="1024"/>
                  </a:lnTo>
                  <a:lnTo>
                    <a:pt x="1074" y="1024"/>
                  </a:lnTo>
                  <a:lnTo>
                    <a:pt x="1074" y="1024"/>
                  </a:lnTo>
                  <a:lnTo>
                    <a:pt x="1074" y="1025"/>
                  </a:lnTo>
                  <a:lnTo>
                    <a:pt x="1071" y="1028"/>
                  </a:lnTo>
                  <a:lnTo>
                    <a:pt x="1070" y="1031"/>
                  </a:lnTo>
                  <a:lnTo>
                    <a:pt x="1072" y="1029"/>
                  </a:lnTo>
                  <a:lnTo>
                    <a:pt x="1072" y="1029"/>
                  </a:lnTo>
                  <a:lnTo>
                    <a:pt x="1068" y="1034"/>
                  </a:lnTo>
                  <a:lnTo>
                    <a:pt x="1065" y="1038"/>
                  </a:lnTo>
                  <a:lnTo>
                    <a:pt x="1065" y="1038"/>
                  </a:lnTo>
                  <a:lnTo>
                    <a:pt x="1068" y="1035"/>
                  </a:lnTo>
                  <a:lnTo>
                    <a:pt x="1071" y="1032"/>
                  </a:lnTo>
                  <a:lnTo>
                    <a:pt x="1074" y="1029"/>
                  </a:lnTo>
                  <a:lnTo>
                    <a:pt x="1075" y="1029"/>
                  </a:lnTo>
                  <a:lnTo>
                    <a:pt x="1075" y="1029"/>
                  </a:lnTo>
                  <a:lnTo>
                    <a:pt x="1078" y="1024"/>
                  </a:lnTo>
                  <a:lnTo>
                    <a:pt x="1082" y="1017"/>
                  </a:lnTo>
                  <a:lnTo>
                    <a:pt x="1082" y="1017"/>
                  </a:lnTo>
                  <a:lnTo>
                    <a:pt x="1084" y="1017"/>
                  </a:lnTo>
                  <a:lnTo>
                    <a:pt x="1087" y="1015"/>
                  </a:lnTo>
                  <a:lnTo>
                    <a:pt x="1089" y="1012"/>
                  </a:lnTo>
                  <a:lnTo>
                    <a:pt x="1092" y="1008"/>
                  </a:lnTo>
                  <a:lnTo>
                    <a:pt x="1092" y="1008"/>
                  </a:lnTo>
                  <a:lnTo>
                    <a:pt x="1098" y="999"/>
                  </a:lnTo>
                  <a:lnTo>
                    <a:pt x="1104" y="991"/>
                  </a:lnTo>
                  <a:lnTo>
                    <a:pt x="1104" y="991"/>
                  </a:lnTo>
                  <a:lnTo>
                    <a:pt x="1102" y="991"/>
                  </a:lnTo>
                  <a:lnTo>
                    <a:pt x="1101" y="992"/>
                  </a:lnTo>
                  <a:lnTo>
                    <a:pt x="1101" y="992"/>
                  </a:lnTo>
                  <a:lnTo>
                    <a:pt x="1097" y="997"/>
                  </a:lnTo>
                  <a:lnTo>
                    <a:pt x="1097" y="997"/>
                  </a:lnTo>
                  <a:lnTo>
                    <a:pt x="1098" y="995"/>
                  </a:lnTo>
                  <a:lnTo>
                    <a:pt x="1099" y="991"/>
                  </a:lnTo>
                  <a:lnTo>
                    <a:pt x="1099" y="991"/>
                  </a:lnTo>
                  <a:lnTo>
                    <a:pt x="1105" y="985"/>
                  </a:lnTo>
                  <a:lnTo>
                    <a:pt x="1105" y="985"/>
                  </a:lnTo>
                  <a:lnTo>
                    <a:pt x="1107" y="985"/>
                  </a:lnTo>
                  <a:lnTo>
                    <a:pt x="1107" y="987"/>
                  </a:lnTo>
                  <a:lnTo>
                    <a:pt x="1105" y="989"/>
                  </a:lnTo>
                  <a:lnTo>
                    <a:pt x="1105" y="989"/>
                  </a:lnTo>
                  <a:lnTo>
                    <a:pt x="1107" y="988"/>
                  </a:lnTo>
                  <a:lnTo>
                    <a:pt x="1109" y="987"/>
                  </a:lnTo>
                  <a:lnTo>
                    <a:pt x="1109" y="987"/>
                  </a:lnTo>
                  <a:lnTo>
                    <a:pt x="1109" y="985"/>
                  </a:lnTo>
                  <a:lnTo>
                    <a:pt x="1111" y="982"/>
                  </a:lnTo>
                  <a:lnTo>
                    <a:pt x="1112" y="979"/>
                  </a:lnTo>
                  <a:lnTo>
                    <a:pt x="1115" y="975"/>
                  </a:lnTo>
                  <a:lnTo>
                    <a:pt x="1115" y="975"/>
                  </a:lnTo>
                  <a:lnTo>
                    <a:pt x="1114" y="977"/>
                  </a:lnTo>
                  <a:lnTo>
                    <a:pt x="1112" y="978"/>
                  </a:lnTo>
                  <a:lnTo>
                    <a:pt x="1109" y="981"/>
                  </a:lnTo>
                  <a:lnTo>
                    <a:pt x="1109" y="981"/>
                  </a:lnTo>
                  <a:lnTo>
                    <a:pt x="1112" y="975"/>
                  </a:lnTo>
                  <a:lnTo>
                    <a:pt x="1117" y="971"/>
                  </a:lnTo>
                  <a:lnTo>
                    <a:pt x="1117" y="971"/>
                  </a:lnTo>
                  <a:lnTo>
                    <a:pt x="1117" y="972"/>
                  </a:lnTo>
                  <a:lnTo>
                    <a:pt x="1115" y="975"/>
                  </a:lnTo>
                  <a:lnTo>
                    <a:pt x="1115" y="975"/>
                  </a:lnTo>
                  <a:lnTo>
                    <a:pt x="1117" y="972"/>
                  </a:lnTo>
                  <a:lnTo>
                    <a:pt x="1118" y="972"/>
                  </a:lnTo>
                  <a:lnTo>
                    <a:pt x="1118" y="972"/>
                  </a:lnTo>
                  <a:lnTo>
                    <a:pt x="1118" y="972"/>
                  </a:lnTo>
                  <a:lnTo>
                    <a:pt x="1119" y="971"/>
                  </a:lnTo>
                  <a:lnTo>
                    <a:pt x="1119" y="969"/>
                  </a:lnTo>
                  <a:lnTo>
                    <a:pt x="1119" y="969"/>
                  </a:lnTo>
                  <a:lnTo>
                    <a:pt x="1121" y="968"/>
                  </a:lnTo>
                  <a:lnTo>
                    <a:pt x="1121" y="968"/>
                  </a:lnTo>
                  <a:lnTo>
                    <a:pt x="1119" y="968"/>
                  </a:lnTo>
                  <a:lnTo>
                    <a:pt x="1118" y="968"/>
                  </a:lnTo>
                  <a:lnTo>
                    <a:pt x="1118" y="965"/>
                  </a:lnTo>
                  <a:lnTo>
                    <a:pt x="1118" y="965"/>
                  </a:lnTo>
                  <a:lnTo>
                    <a:pt x="1121" y="964"/>
                  </a:lnTo>
                  <a:lnTo>
                    <a:pt x="1121" y="964"/>
                  </a:lnTo>
                  <a:lnTo>
                    <a:pt x="1121" y="964"/>
                  </a:lnTo>
                  <a:lnTo>
                    <a:pt x="1122" y="964"/>
                  </a:lnTo>
                  <a:lnTo>
                    <a:pt x="1122" y="964"/>
                  </a:lnTo>
                  <a:lnTo>
                    <a:pt x="1122" y="961"/>
                  </a:lnTo>
                  <a:lnTo>
                    <a:pt x="1122" y="961"/>
                  </a:lnTo>
                  <a:lnTo>
                    <a:pt x="1122" y="961"/>
                  </a:lnTo>
                  <a:lnTo>
                    <a:pt x="1124" y="958"/>
                  </a:lnTo>
                  <a:lnTo>
                    <a:pt x="1125" y="955"/>
                  </a:lnTo>
                  <a:lnTo>
                    <a:pt x="1125" y="955"/>
                  </a:lnTo>
                  <a:lnTo>
                    <a:pt x="1127" y="955"/>
                  </a:lnTo>
                  <a:lnTo>
                    <a:pt x="1127" y="957"/>
                  </a:lnTo>
                  <a:lnTo>
                    <a:pt x="1127" y="958"/>
                  </a:lnTo>
                  <a:lnTo>
                    <a:pt x="1128" y="958"/>
                  </a:lnTo>
                  <a:lnTo>
                    <a:pt x="1128" y="958"/>
                  </a:lnTo>
                  <a:lnTo>
                    <a:pt x="1128" y="955"/>
                  </a:lnTo>
                  <a:lnTo>
                    <a:pt x="1128" y="954"/>
                  </a:lnTo>
                  <a:lnTo>
                    <a:pt x="1128" y="954"/>
                  </a:lnTo>
                  <a:lnTo>
                    <a:pt x="1129" y="951"/>
                  </a:lnTo>
                  <a:lnTo>
                    <a:pt x="1131" y="949"/>
                  </a:lnTo>
                  <a:lnTo>
                    <a:pt x="1132" y="947"/>
                  </a:lnTo>
                  <a:lnTo>
                    <a:pt x="1134" y="944"/>
                  </a:lnTo>
                  <a:lnTo>
                    <a:pt x="1134" y="944"/>
                  </a:lnTo>
                  <a:lnTo>
                    <a:pt x="1137" y="942"/>
                  </a:lnTo>
                  <a:lnTo>
                    <a:pt x="1138" y="941"/>
                  </a:lnTo>
                  <a:lnTo>
                    <a:pt x="1138" y="941"/>
                  </a:lnTo>
                  <a:lnTo>
                    <a:pt x="1142" y="934"/>
                  </a:lnTo>
                  <a:lnTo>
                    <a:pt x="1147" y="928"/>
                  </a:lnTo>
                  <a:lnTo>
                    <a:pt x="1147" y="928"/>
                  </a:lnTo>
                  <a:lnTo>
                    <a:pt x="1147" y="924"/>
                  </a:lnTo>
                  <a:lnTo>
                    <a:pt x="1148" y="921"/>
                  </a:lnTo>
                  <a:lnTo>
                    <a:pt x="1154" y="911"/>
                  </a:lnTo>
                  <a:lnTo>
                    <a:pt x="1154" y="911"/>
                  </a:lnTo>
                  <a:lnTo>
                    <a:pt x="1154" y="911"/>
                  </a:lnTo>
                  <a:lnTo>
                    <a:pt x="1154" y="914"/>
                  </a:lnTo>
                  <a:lnTo>
                    <a:pt x="1154" y="914"/>
                  </a:lnTo>
                  <a:lnTo>
                    <a:pt x="1155" y="912"/>
                  </a:lnTo>
                  <a:lnTo>
                    <a:pt x="1155" y="912"/>
                  </a:lnTo>
                  <a:lnTo>
                    <a:pt x="1157" y="908"/>
                  </a:lnTo>
                  <a:lnTo>
                    <a:pt x="1158" y="905"/>
                  </a:lnTo>
                  <a:lnTo>
                    <a:pt x="1162" y="895"/>
                  </a:lnTo>
                  <a:lnTo>
                    <a:pt x="1162" y="895"/>
                  </a:lnTo>
                  <a:lnTo>
                    <a:pt x="1164" y="894"/>
                  </a:lnTo>
                  <a:lnTo>
                    <a:pt x="1162" y="894"/>
                  </a:lnTo>
                  <a:lnTo>
                    <a:pt x="1161" y="895"/>
                  </a:lnTo>
                  <a:lnTo>
                    <a:pt x="1161" y="894"/>
                  </a:lnTo>
                  <a:lnTo>
                    <a:pt x="1161" y="894"/>
                  </a:lnTo>
                  <a:lnTo>
                    <a:pt x="1164" y="891"/>
                  </a:lnTo>
                  <a:lnTo>
                    <a:pt x="1164" y="891"/>
                  </a:lnTo>
                  <a:lnTo>
                    <a:pt x="1164" y="891"/>
                  </a:lnTo>
                  <a:lnTo>
                    <a:pt x="1165" y="891"/>
                  </a:lnTo>
                  <a:lnTo>
                    <a:pt x="1166" y="890"/>
                  </a:lnTo>
                  <a:lnTo>
                    <a:pt x="1166" y="890"/>
                  </a:lnTo>
                  <a:lnTo>
                    <a:pt x="1168" y="885"/>
                  </a:lnTo>
                  <a:lnTo>
                    <a:pt x="1168" y="884"/>
                  </a:lnTo>
                  <a:lnTo>
                    <a:pt x="1168" y="884"/>
                  </a:lnTo>
                  <a:lnTo>
                    <a:pt x="1172" y="877"/>
                  </a:lnTo>
                  <a:lnTo>
                    <a:pt x="1175" y="868"/>
                  </a:lnTo>
                  <a:lnTo>
                    <a:pt x="1175" y="868"/>
                  </a:lnTo>
                  <a:lnTo>
                    <a:pt x="1178" y="861"/>
                  </a:lnTo>
                  <a:lnTo>
                    <a:pt x="1178" y="861"/>
                  </a:lnTo>
                  <a:lnTo>
                    <a:pt x="1182" y="852"/>
                  </a:lnTo>
                  <a:lnTo>
                    <a:pt x="1182" y="852"/>
                  </a:lnTo>
                  <a:lnTo>
                    <a:pt x="1182" y="847"/>
                  </a:lnTo>
                  <a:lnTo>
                    <a:pt x="1185" y="838"/>
                  </a:lnTo>
                  <a:lnTo>
                    <a:pt x="1185" y="838"/>
                  </a:lnTo>
                  <a:lnTo>
                    <a:pt x="1186" y="835"/>
                  </a:lnTo>
                  <a:lnTo>
                    <a:pt x="1188" y="831"/>
                  </a:lnTo>
                  <a:lnTo>
                    <a:pt x="1188" y="831"/>
                  </a:lnTo>
                  <a:lnTo>
                    <a:pt x="1189" y="832"/>
                  </a:lnTo>
                  <a:lnTo>
                    <a:pt x="1188" y="835"/>
                  </a:lnTo>
                  <a:lnTo>
                    <a:pt x="1188" y="835"/>
                  </a:lnTo>
                  <a:lnTo>
                    <a:pt x="1188" y="838"/>
                  </a:lnTo>
                  <a:lnTo>
                    <a:pt x="1188" y="838"/>
                  </a:lnTo>
                  <a:lnTo>
                    <a:pt x="1186" y="841"/>
                  </a:lnTo>
                  <a:lnTo>
                    <a:pt x="1186" y="841"/>
                  </a:lnTo>
                  <a:lnTo>
                    <a:pt x="1189" y="837"/>
                  </a:lnTo>
                  <a:lnTo>
                    <a:pt x="1189" y="832"/>
                  </a:lnTo>
                  <a:lnTo>
                    <a:pt x="1189" y="832"/>
                  </a:lnTo>
                  <a:lnTo>
                    <a:pt x="1191" y="824"/>
                  </a:lnTo>
                  <a:lnTo>
                    <a:pt x="1191" y="824"/>
                  </a:lnTo>
                  <a:lnTo>
                    <a:pt x="1194" y="821"/>
                  </a:lnTo>
                  <a:lnTo>
                    <a:pt x="1196" y="818"/>
                  </a:lnTo>
                  <a:lnTo>
                    <a:pt x="1196" y="818"/>
                  </a:lnTo>
                  <a:lnTo>
                    <a:pt x="1198" y="814"/>
                  </a:lnTo>
                  <a:lnTo>
                    <a:pt x="1198" y="810"/>
                  </a:lnTo>
                  <a:lnTo>
                    <a:pt x="1198" y="810"/>
                  </a:lnTo>
                  <a:lnTo>
                    <a:pt x="1201" y="805"/>
                  </a:lnTo>
                  <a:lnTo>
                    <a:pt x="1201" y="805"/>
                  </a:lnTo>
                  <a:lnTo>
                    <a:pt x="1199" y="805"/>
                  </a:lnTo>
                  <a:lnTo>
                    <a:pt x="1199" y="804"/>
                  </a:lnTo>
                  <a:lnTo>
                    <a:pt x="1201" y="800"/>
                  </a:lnTo>
                  <a:lnTo>
                    <a:pt x="1202" y="795"/>
                  </a:lnTo>
                  <a:lnTo>
                    <a:pt x="1205" y="791"/>
                  </a:lnTo>
                  <a:lnTo>
                    <a:pt x="1205" y="791"/>
                  </a:lnTo>
                  <a:lnTo>
                    <a:pt x="1205" y="788"/>
                  </a:lnTo>
                  <a:lnTo>
                    <a:pt x="1205" y="785"/>
                  </a:lnTo>
                  <a:lnTo>
                    <a:pt x="1208" y="778"/>
                  </a:lnTo>
                  <a:lnTo>
                    <a:pt x="1208" y="778"/>
                  </a:lnTo>
                  <a:lnTo>
                    <a:pt x="1208" y="777"/>
                  </a:lnTo>
                  <a:lnTo>
                    <a:pt x="1206" y="777"/>
                  </a:lnTo>
                  <a:lnTo>
                    <a:pt x="1205" y="780"/>
                  </a:lnTo>
                  <a:lnTo>
                    <a:pt x="1205" y="780"/>
                  </a:lnTo>
                  <a:lnTo>
                    <a:pt x="1206" y="777"/>
                  </a:lnTo>
                  <a:lnTo>
                    <a:pt x="1208" y="772"/>
                  </a:lnTo>
                  <a:lnTo>
                    <a:pt x="1208" y="772"/>
                  </a:lnTo>
                  <a:lnTo>
                    <a:pt x="1209" y="771"/>
                  </a:lnTo>
                  <a:lnTo>
                    <a:pt x="1209" y="771"/>
                  </a:lnTo>
                  <a:lnTo>
                    <a:pt x="1209" y="774"/>
                  </a:lnTo>
                  <a:lnTo>
                    <a:pt x="1209" y="774"/>
                  </a:lnTo>
                  <a:lnTo>
                    <a:pt x="1212" y="767"/>
                  </a:lnTo>
                  <a:lnTo>
                    <a:pt x="1215" y="760"/>
                  </a:lnTo>
                  <a:lnTo>
                    <a:pt x="1215" y="760"/>
                  </a:lnTo>
                  <a:lnTo>
                    <a:pt x="1215" y="764"/>
                  </a:lnTo>
                  <a:lnTo>
                    <a:pt x="1215" y="764"/>
                  </a:lnTo>
                  <a:lnTo>
                    <a:pt x="1218" y="757"/>
                  </a:lnTo>
                  <a:lnTo>
                    <a:pt x="1218" y="757"/>
                  </a:lnTo>
                  <a:lnTo>
                    <a:pt x="1219" y="748"/>
                  </a:lnTo>
                  <a:lnTo>
                    <a:pt x="1219" y="748"/>
                  </a:lnTo>
                  <a:lnTo>
                    <a:pt x="1218" y="754"/>
                  </a:lnTo>
                  <a:lnTo>
                    <a:pt x="1215" y="758"/>
                  </a:lnTo>
                  <a:lnTo>
                    <a:pt x="1215" y="758"/>
                  </a:lnTo>
                  <a:lnTo>
                    <a:pt x="1214" y="761"/>
                  </a:lnTo>
                  <a:lnTo>
                    <a:pt x="1211" y="768"/>
                  </a:lnTo>
                  <a:lnTo>
                    <a:pt x="1211" y="768"/>
                  </a:lnTo>
                  <a:lnTo>
                    <a:pt x="1212" y="761"/>
                  </a:lnTo>
                  <a:lnTo>
                    <a:pt x="1214" y="757"/>
                  </a:lnTo>
                  <a:lnTo>
                    <a:pt x="1215" y="753"/>
                  </a:lnTo>
                  <a:lnTo>
                    <a:pt x="1216" y="748"/>
                  </a:lnTo>
                  <a:lnTo>
                    <a:pt x="1216" y="748"/>
                  </a:lnTo>
                  <a:lnTo>
                    <a:pt x="1216" y="750"/>
                  </a:lnTo>
                  <a:lnTo>
                    <a:pt x="1214" y="753"/>
                  </a:lnTo>
                  <a:lnTo>
                    <a:pt x="1212" y="754"/>
                  </a:lnTo>
                  <a:lnTo>
                    <a:pt x="1212" y="754"/>
                  </a:lnTo>
                  <a:lnTo>
                    <a:pt x="1212" y="754"/>
                  </a:lnTo>
                  <a:lnTo>
                    <a:pt x="1214" y="748"/>
                  </a:lnTo>
                  <a:lnTo>
                    <a:pt x="1216" y="743"/>
                  </a:lnTo>
                  <a:lnTo>
                    <a:pt x="1216" y="743"/>
                  </a:lnTo>
                  <a:lnTo>
                    <a:pt x="1215" y="738"/>
                  </a:lnTo>
                  <a:lnTo>
                    <a:pt x="1214" y="735"/>
                  </a:lnTo>
                  <a:lnTo>
                    <a:pt x="1214" y="735"/>
                  </a:lnTo>
                  <a:lnTo>
                    <a:pt x="1215" y="735"/>
                  </a:lnTo>
                  <a:lnTo>
                    <a:pt x="1216" y="733"/>
                  </a:lnTo>
                  <a:lnTo>
                    <a:pt x="1219" y="727"/>
                  </a:lnTo>
                  <a:lnTo>
                    <a:pt x="1219" y="727"/>
                  </a:lnTo>
                  <a:lnTo>
                    <a:pt x="1219" y="727"/>
                  </a:lnTo>
                  <a:lnTo>
                    <a:pt x="1221" y="728"/>
                  </a:lnTo>
                  <a:lnTo>
                    <a:pt x="1221" y="730"/>
                  </a:lnTo>
                  <a:lnTo>
                    <a:pt x="1221" y="728"/>
                  </a:lnTo>
                  <a:lnTo>
                    <a:pt x="1221" y="728"/>
                  </a:lnTo>
                  <a:lnTo>
                    <a:pt x="1221" y="725"/>
                  </a:lnTo>
                  <a:lnTo>
                    <a:pt x="1219" y="724"/>
                  </a:lnTo>
                  <a:lnTo>
                    <a:pt x="1219" y="724"/>
                  </a:lnTo>
                  <a:lnTo>
                    <a:pt x="1221" y="720"/>
                  </a:lnTo>
                  <a:lnTo>
                    <a:pt x="1221" y="720"/>
                  </a:lnTo>
                  <a:lnTo>
                    <a:pt x="1219" y="720"/>
                  </a:lnTo>
                  <a:lnTo>
                    <a:pt x="1219" y="720"/>
                  </a:lnTo>
                  <a:lnTo>
                    <a:pt x="1222" y="710"/>
                  </a:lnTo>
                  <a:lnTo>
                    <a:pt x="1222" y="710"/>
                  </a:lnTo>
                  <a:lnTo>
                    <a:pt x="1222" y="715"/>
                  </a:lnTo>
                  <a:lnTo>
                    <a:pt x="1222" y="718"/>
                  </a:lnTo>
                  <a:lnTo>
                    <a:pt x="1224" y="720"/>
                  </a:lnTo>
                  <a:lnTo>
                    <a:pt x="1224" y="718"/>
                  </a:lnTo>
                  <a:lnTo>
                    <a:pt x="1224" y="718"/>
                  </a:lnTo>
                  <a:lnTo>
                    <a:pt x="1225" y="700"/>
                  </a:lnTo>
                  <a:lnTo>
                    <a:pt x="1225" y="700"/>
                  </a:lnTo>
                  <a:lnTo>
                    <a:pt x="1226" y="691"/>
                  </a:lnTo>
                  <a:lnTo>
                    <a:pt x="1226" y="690"/>
                  </a:lnTo>
                  <a:lnTo>
                    <a:pt x="1228" y="690"/>
                  </a:lnTo>
                  <a:lnTo>
                    <a:pt x="1228" y="690"/>
                  </a:lnTo>
                  <a:lnTo>
                    <a:pt x="1228" y="685"/>
                  </a:lnTo>
                  <a:lnTo>
                    <a:pt x="1228" y="680"/>
                  </a:lnTo>
                  <a:lnTo>
                    <a:pt x="1228" y="680"/>
                  </a:lnTo>
                  <a:lnTo>
                    <a:pt x="1228" y="674"/>
                  </a:lnTo>
                  <a:lnTo>
                    <a:pt x="1228" y="668"/>
                  </a:lnTo>
                  <a:lnTo>
                    <a:pt x="1228" y="668"/>
                  </a:lnTo>
                  <a:lnTo>
                    <a:pt x="1228" y="661"/>
                  </a:lnTo>
                  <a:lnTo>
                    <a:pt x="1226" y="654"/>
                  </a:lnTo>
                  <a:lnTo>
                    <a:pt x="1226" y="654"/>
                  </a:lnTo>
                  <a:lnTo>
                    <a:pt x="1228" y="651"/>
                  </a:lnTo>
                  <a:lnTo>
                    <a:pt x="1229" y="648"/>
                  </a:lnTo>
                  <a:lnTo>
                    <a:pt x="1229" y="647"/>
                  </a:lnTo>
                  <a:lnTo>
                    <a:pt x="1229" y="647"/>
                  </a:lnTo>
                  <a:lnTo>
                    <a:pt x="1229" y="647"/>
                  </a:lnTo>
                  <a:lnTo>
                    <a:pt x="1231" y="645"/>
                  </a:lnTo>
                  <a:lnTo>
                    <a:pt x="1229" y="644"/>
                  </a:lnTo>
                  <a:lnTo>
                    <a:pt x="1228" y="638"/>
                  </a:lnTo>
                  <a:lnTo>
                    <a:pt x="1228" y="638"/>
                  </a:lnTo>
                  <a:lnTo>
                    <a:pt x="1229" y="625"/>
                  </a:lnTo>
                  <a:lnTo>
                    <a:pt x="1228" y="613"/>
                  </a:lnTo>
                  <a:lnTo>
                    <a:pt x="1228" y="613"/>
                  </a:lnTo>
                  <a:lnTo>
                    <a:pt x="1229" y="610"/>
                  </a:lnTo>
                  <a:lnTo>
                    <a:pt x="1229" y="607"/>
                  </a:lnTo>
                  <a:lnTo>
                    <a:pt x="1228" y="603"/>
                  </a:lnTo>
                  <a:lnTo>
                    <a:pt x="1228" y="603"/>
                  </a:lnTo>
                  <a:lnTo>
                    <a:pt x="1228" y="598"/>
                  </a:lnTo>
                  <a:lnTo>
                    <a:pt x="1229" y="593"/>
                  </a:lnTo>
                  <a:lnTo>
                    <a:pt x="1229" y="593"/>
                  </a:lnTo>
                  <a:lnTo>
                    <a:pt x="1226" y="597"/>
                  </a:lnTo>
                  <a:lnTo>
                    <a:pt x="1226" y="597"/>
                  </a:lnTo>
                  <a:lnTo>
                    <a:pt x="1226" y="590"/>
                  </a:lnTo>
                  <a:lnTo>
                    <a:pt x="1228" y="586"/>
                  </a:lnTo>
                  <a:lnTo>
                    <a:pt x="1228" y="586"/>
                  </a:lnTo>
                  <a:lnTo>
                    <a:pt x="1228" y="581"/>
                  </a:lnTo>
                  <a:lnTo>
                    <a:pt x="1228" y="574"/>
                  </a:lnTo>
                  <a:lnTo>
                    <a:pt x="1228" y="574"/>
                  </a:lnTo>
                  <a:lnTo>
                    <a:pt x="1226" y="574"/>
                  </a:lnTo>
                  <a:lnTo>
                    <a:pt x="1226" y="573"/>
                  </a:lnTo>
                  <a:lnTo>
                    <a:pt x="1226" y="573"/>
                  </a:lnTo>
                  <a:lnTo>
                    <a:pt x="1226" y="580"/>
                  </a:lnTo>
                  <a:lnTo>
                    <a:pt x="1226" y="580"/>
                  </a:lnTo>
                  <a:lnTo>
                    <a:pt x="1225" y="587"/>
                  </a:lnTo>
                  <a:lnTo>
                    <a:pt x="1225" y="581"/>
                  </a:lnTo>
                  <a:lnTo>
                    <a:pt x="1225" y="581"/>
                  </a:lnTo>
                  <a:lnTo>
                    <a:pt x="1225" y="576"/>
                  </a:lnTo>
                  <a:lnTo>
                    <a:pt x="1225" y="576"/>
                  </a:lnTo>
                  <a:lnTo>
                    <a:pt x="1224" y="563"/>
                  </a:lnTo>
                  <a:lnTo>
                    <a:pt x="1224" y="563"/>
                  </a:lnTo>
                  <a:lnTo>
                    <a:pt x="1225" y="561"/>
                  </a:lnTo>
                  <a:lnTo>
                    <a:pt x="1225" y="561"/>
                  </a:lnTo>
                  <a:lnTo>
                    <a:pt x="1225" y="568"/>
                  </a:lnTo>
                  <a:lnTo>
                    <a:pt x="1226" y="571"/>
                  </a:lnTo>
                  <a:lnTo>
                    <a:pt x="1226" y="573"/>
                  </a:lnTo>
                  <a:lnTo>
                    <a:pt x="1226" y="573"/>
                  </a:lnTo>
                  <a:lnTo>
                    <a:pt x="1226" y="564"/>
                  </a:lnTo>
                  <a:lnTo>
                    <a:pt x="1225" y="558"/>
                  </a:lnTo>
                  <a:lnTo>
                    <a:pt x="1226" y="554"/>
                  </a:lnTo>
                  <a:lnTo>
                    <a:pt x="1226" y="554"/>
                  </a:lnTo>
                  <a:lnTo>
                    <a:pt x="1225" y="548"/>
                  </a:lnTo>
                  <a:lnTo>
                    <a:pt x="1225" y="548"/>
                  </a:lnTo>
                  <a:lnTo>
                    <a:pt x="1224" y="548"/>
                  </a:lnTo>
                  <a:lnTo>
                    <a:pt x="1224" y="550"/>
                  </a:lnTo>
                  <a:lnTo>
                    <a:pt x="1224" y="550"/>
                  </a:lnTo>
                  <a:lnTo>
                    <a:pt x="1222" y="543"/>
                  </a:lnTo>
                  <a:lnTo>
                    <a:pt x="1221" y="536"/>
                  </a:lnTo>
                  <a:lnTo>
                    <a:pt x="1221" y="536"/>
                  </a:lnTo>
                  <a:lnTo>
                    <a:pt x="1221" y="533"/>
                  </a:lnTo>
                  <a:lnTo>
                    <a:pt x="1222" y="530"/>
                  </a:lnTo>
                  <a:lnTo>
                    <a:pt x="1222" y="530"/>
                  </a:lnTo>
                  <a:lnTo>
                    <a:pt x="1221" y="528"/>
                  </a:lnTo>
                  <a:lnTo>
                    <a:pt x="1221" y="530"/>
                  </a:lnTo>
                  <a:lnTo>
                    <a:pt x="1221" y="530"/>
                  </a:lnTo>
                  <a:lnTo>
                    <a:pt x="1219" y="527"/>
                  </a:lnTo>
                  <a:lnTo>
                    <a:pt x="1219" y="527"/>
                  </a:lnTo>
                  <a:lnTo>
                    <a:pt x="1221" y="526"/>
                  </a:lnTo>
                  <a:lnTo>
                    <a:pt x="1221" y="526"/>
                  </a:lnTo>
                  <a:lnTo>
                    <a:pt x="1221" y="526"/>
                  </a:lnTo>
                  <a:lnTo>
                    <a:pt x="1221" y="524"/>
                  </a:lnTo>
                  <a:lnTo>
                    <a:pt x="1221" y="524"/>
                  </a:lnTo>
                  <a:lnTo>
                    <a:pt x="1221" y="523"/>
                  </a:lnTo>
                  <a:lnTo>
                    <a:pt x="1219" y="523"/>
                  </a:lnTo>
                  <a:lnTo>
                    <a:pt x="1219" y="523"/>
                  </a:lnTo>
                  <a:lnTo>
                    <a:pt x="1219" y="523"/>
                  </a:lnTo>
                  <a:lnTo>
                    <a:pt x="1219" y="523"/>
                  </a:lnTo>
                  <a:lnTo>
                    <a:pt x="1218" y="508"/>
                  </a:lnTo>
                  <a:lnTo>
                    <a:pt x="1216" y="494"/>
                  </a:lnTo>
                  <a:lnTo>
                    <a:pt x="1216" y="494"/>
                  </a:lnTo>
                  <a:lnTo>
                    <a:pt x="1212" y="481"/>
                  </a:lnTo>
                  <a:lnTo>
                    <a:pt x="1211" y="470"/>
                  </a:lnTo>
                  <a:lnTo>
                    <a:pt x="1211" y="470"/>
                  </a:lnTo>
                  <a:lnTo>
                    <a:pt x="1211" y="468"/>
                  </a:lnTo>
                  <a:lnTo>
                    <a:pt x="1211" y="470"/>
                  </a:lnTo>
                  <a:lnTo>
                    <a:pt x="1212" y="471"/>
                  </a:lnTo>
                  <a:lnTo>
                    <a:pt x="1212" y="471"/>
                  </a:lnTo>
                  <a:lnTo>
                    <a:pt x="1209" y="461"/>
                  </a:lnTo>
                  <a:lnTo>
                    <a:pt x="1209" y="461"/>
                  </a:lnTo>
                  <a:lnTo>
                    <a:pt x="1208" y="457"/>
                  </a:lnTo>
                  <a:lnTo>
                    <a:pt x="1208" y="453"/>
                  </a:lnTo>
                  <a:lnTo>
                    <a:pt x="1208" y="453"/>
                  </a:lnTo>
                  <a:lnTo>
                    <a:pt x="1206" y="451"/>
                  </a:lnTo>
                  <a:lnTo>
                    <a:pt x="1206" y="454"/>
                  </a:lnTo>
                  <a:lnTo>
                    <a:pt x="1206" y="454"/>
                  </a:lnTo>
                  <a:lnTo>
                    <a:pt x="1205" y="450"/>
                  </a:lnTo>
                  <a:lnTo>
                    <a:pt x="1204" y="447"/>
                  </a:lnTo>
                  <a:lnTo>
                    <a:pt x="1204" y="447"/>
                  </a:lnTo>
                  <a:lnTo>
                    <a:pt x="1204" y="446"/>
                  </a:lnTo>
                  <a:lnTo>
                    <a:pt x="1204" y="446"/>
                  </a:lnTo>
                  <a:lnTo>
                    <a:pt x="1205" y="449"/>
                  </a:lnTo>
                  <a:lnTo>
                    <a:pt x="1205" y="449"/>
                  </a:lnTo>
                  <a:lnTo>
                    <a:pt x="1205" y="443"/>
                  </a:lnTo>
                  <a:lnTo>
                    <a:pt x="1204" y="439"/>
                  </a:lnTo>
                  <a:lnTo>
                    <a:pt x="1204" y="439"/>
                  </a:lnTo>
                  <a:lnTo>
                    <a:pt x="1202" y="437"/>
                  </a:lnTo>
                  <a:lnTo>
                    <a:pt x="1202" y="439"/>
                  </a:lnTo>
                  <a:lnTo>
                    <a:pt x="1202" y="440"/>
                  </a:lnTo>
                  <a:lnTo>
                    <a:pt x="1202" y="440"/>
                  </a:lnTo>
                  <a:lnTo>
                    <a:pt x="1201" y="437"/>
                  </a:lnTo>
                  <a:lnTo>
                    <a:pt x="1199" y="434"/>
                  </a:lnTo>
                  <a:lnTo>
                    <a:pt x="1199" y="434"/>
                  </a:lnTo>
                  <a:lnTo>
                    <a:pt x="1201" y="434"/>
                  </a:lnTo>
                  <a:lnTo>
                    <a:pt x="1201" y="433"/>
                  </a:lnTo>
                  <a:lnTo>
                    <a:pt x="1201" y="433"/>
                  </a:lnTo>
                  <a:lnTo>
                    <a:pt x="1198" y="429"/>
                  </a:lnTo>
                  <a:lnTo>
                    <a:pt x="1198" y="429"/>
                  </a:lnTo>
                  <a:lnTo>
                    <a:pt x="1198" y="426"/>
                  </a:lnTo>
                  <a:lnTo>
                    <a:pt x="1199" y="424"/>
                  </a:lnTo>
                  <a:lnTo>
                    <a:pt x="1199" y="424"/>
                  </a:lnTo>
                  <a:lnTo>
                    <a:pt x="1192" y="407"/>
                  </a:lnTo>
                  <a:lnTo>
                    <a:pt x="1192" y="407"/>
                  </a:lnTo>
                  <a:lnTo>
                    <a:pt x="1189" y="400"/>
                  </a:lnTo>
                  <a:lnTo>
                    <a:pt x="1189" y="400"/>
                  </a:lnTo>
                  <a:lnTo>
                    <a:pt x="1186" y="393"/>
                  </a:lnTo>
                  <a:lnTo>
                    <a:pt x="1186" y="393"/>
                  </a:lnTo>
                  <a:lnTo>
                    <a:pt x="1186" y="396"/>
                  </a:lnTo>
                  <a:lnTo>
                    <a:pt x="1186" y="396"/>
                  </a:lnTo>
                  <a:lnTo>
                    <a:pt x="1185" y="391"/>
                  </a:lnTo>
                  <a:lnTo>
                    <a:pt x="1182" y="387"/>
                  </a:lnTo>
                  <a:lnTo>
                    <a:pt x="1182" y="387"/>
                  </a:lnTo>
                  <a:lnTo>
                    <a:pt x="1182" y="386"/>
                  </a:lnTo>
                  <a:lnTo>
                    <a:pt x="1184" y="386"/>
                  </a:lnTo>
                  <a:lnTo>
                    <a:pt x="1185" y="387"/>
                  </a:lnTo>
                  <a:lnTo>
                    <a:pt x="1185" y="387"/>
                  </a:lnTo>
                  <a:lnTo>
                    <a:pt x="1179" y="376"/>
                  </a:lnTo>
                  <a:lnTo>
                    <a:pt x="1179" y="376"/>
                  </a:lnTo>
                  <a:lnTo>
                    <a:pt x="1175" y="369"/>
                  </a:lnTo>
                  <a:lnTo>
                    <a:pt x="1175" y="369"/>
                  </a:lnTo>
                  <a:lnTo>
                    <a:pt x="1174" y="364"/>
                  </a:lnTo>
                  <a:lnTo>
                    <a:pt x="1171" y="360"/>
                  </a:lnTo>
                  <a:lnTo>
                    <a:pt x="1171" y="360"/>
                  </a:lnTo>
                  <a:lnTo>
                    <a:pt x="1172" y="361"/>
                  </a:lnTo>
                  <a:lnTo>
                    <a:pt x="1171" y="361"/>
                  </a:lnTo>
                  <a:lnTo>
                    <a:pt x="1168" y="357"/>
                  </a:lnTo>
                  <a:lnTo>
                    <a:pt x="1168" y="357"/>
                  </a:lnTo>
                  <a:lnTo>
                    <a:pt x="1174" y="370"/>
                  </a:lnTo>
                  <a:lnTo>
                    <a:pt x="1174" y="370"/>
                  </a:lnTo>
                  <a:lnTo>
                    <a:pt x="1176" y="376"/>
                  </a:lnTo>
                  <a:lnTo>
                    <a:pt x="1176" y="376"/>
                  </a:lnTo>
                  <a:lnTo>
                    <a:pt x="1179" y="381"/>
                  </a:lnTo>
                  <a:lnTo>
                    <a:pt x="1179" y="381"/>
                  </a:lnTo>
                  <a:lnTo>
                    <a:pt x="1179" y="383"/>
                  </a:lnTo>
                  <a:lnTo>
                    <a:pt x="1179" y="381"/>
                  </a:lnTo>
                  <a:lnTo>
                    <a:pt x="1179" y="380"/>
                  </a:lnTo>
                  <a:lnTo>
                    <a:pt x="1179" y="380"/>
                  </a:lnTo>
                  <a:lnTo>
                    <a:pt x="1179" y="381"/>
                  </a:lnTo>
                  <a:lnTo>
                    <a:pt x="1181" y="383"/>
                  </a:lnTo>
                  <a:lnTo>
                    <a:pt x="1181" y="384"/>
                  </a:lnTo>
                  <a:lnTo>
                    <a:pt x="1182" y="386"/>
                  </a:lnTo>
                  <a:lnTo>
                    <a:pt x="1182" y="386"/>
                  </a:lnTo>
                  <a:lnTo>
                    <a:pt x="1182" y="396"/>
                  </a:lnTo>
                  <a:lnTo>
                    <a:pt x="1182" y="396"/>
                  </a:lnTo>
                  <a:lnTo>
                    <a:pt x="1179" y="386"/>
                  </a:lnTo>
                  <a:lnTo>
                    <a:pt x="1179" y="386"/>
                  </a:lnTo>
                  <a:lnTo>
                    <a:pt x="1175" y="374"/>
                  </a:lnTo>
                  <a:lnTo>
                    <a:pt x="1175" y="374"/>
                  </a:lnTo>
                  <a:lnTo>
                    <a:pt x="1169" y="366"/>
                  </a:lnTo>
                  <a:lnTo>
                    <a:pt x="1166" y="357"/>
                  </a:lnTo>
                  <a:lnTo>
                    <a:pt x="1166" y="357"/>
                  </a:lnTo>
                  <a:lnTo>
                    <a:pt x="1165" y="356"/>
                  </a:lnTo>
                  <a:lnTo>
                    <a:pt x="1165" y="356"/>
                  </a:lnTo>
                  <a:lnTo>
                    <a:pt x="1165" y="354"/>
                  </a:lnTo>
                  <a:lnTo>
                    <a:pt x="1165" y="354"/>
                  </a:lnTo>
                  <a:lnTo>
                    <a:pt x="1166" y="354"/>
                  </a:lnTo>
                  <a:lnTo>
                    <a:pt x="1166" y="353"/>
                  </a:lnTo>
                  <a:lnTo>
                    <a:pt x="1166" y="353"/>
                  </a:lnTo>
                  <a:lnTo>
                    <a:pt x="1162" y="349"/>
                  </a:lnTo>
                  <a:lnTo>
                    <a:pt x="1159" y="344"/>
                  </a:lnTo>
                  <a:lnTo>
                    <a:pt x="1159" y="344"/>
                  </a:lnTo>
                  <a:lnTo>
                    <a:pt x="1157" y="334"/>
                  </a:lnTo>
                  <a:lnTo>
                    <a:pt x="1157" y="334"/>
                  </a:lnTo>
                  <a:lnTo>
                    <a:pt x="1152" y="330"/>
                  </a:lnTo>
                  <a:lnTo>
                    <a:pt x="1149" y="324"/>
                  </a:lnTo>
                  <a:lnTo>
                    <a:pt x="1149" y="324"/>
                  </a:lnTo>
                  <a:lnTo>
                    <a:pt x="1152" y="327"/>
                  </a:lnTo>
                  <a:lnTo>
                    <a:pt x="1154" y="327"/>
                  </a:lnTo>
                  <a:lnTo>
                    <a:pt x="1154" y="326"/>
                  </a:lnTo>
                  <a:lnTo>
                    <a:pt x="1154" y="326"/>
                  </a:lnTo>
                  <a:lnTo>
                    <a:pt x="1157" y="330"/>
                  </a:lnTo>
                  <a:lnTo>
                    <a:pt x="1158" y="333"/>
                  </a:lnTo>
                  <a:lnTo>
                    <a:pt x="1159" y="333"/>
                  </a:lnTo>
                  <a:lnTo>
                    <a:pt x="1159" y="333"/>
                  </a:lnTo>
                  <a:lnTo>
                    <a:pt x="1158" y="329"/>
                  </a:lnTo>
                  <a:lnTo>
                    <a:pt x="1158" y="327"/>
                  </a:lnTo>
                  <a:lnTo>
                    <a:pt x="1158" y="327"/>
                  </a:lnTo>
                  <a:lnTo>
                    <a:pt x="1155" y="324"/>
                  </a:lnTo>
                  <a:lnTo>
                    <a:pt x="1152" y="321"/>
                  </a:lnTo>
                  <a:lnTo>
                    <a:pt x="1152" y="321"/>
                  </a:lnTo>
                  <a:lnTo>
                    <a:pt x="1149" y="317"/>
                  </a:lnTo>
                  <a:lnTo>
                    <a:pt x="1147" y="313"/>
                  </a:lnTo>
                  <a:lnTo>
                    <a:pt x="1147" y="313"/>
                  </a:lnTo>
                  <a:lnTo>
                    <a:pt x="1145" y="309"/>
                  </a:lnTo>
                  <a:lnTo>
                    <a:pt x="1142" y="303"/>
                  </a:lnTo>
                  <a:lnTo>
                    <a:pt x="1135" y="293"/>
                  </a:lnTo>
                  <a:lnTo>
                    <a:pt x="1135" y="293"/>
                  </a:lnTo>
                  <a:lnTo>
                    <a:pt x="1135" y="292"/>
                  </a:lnTo>
                  <a:lnTo>
                    <a:pt x="1135" y="289"/>
                  </a:lnTo>
                  <a:lnTo>
                    <a:pt x="1129" y="283"/>
                  </a:lnTo>
                  <a:lnTo>
                    <a:pt x="1129" y="283"/>
                  </a:lnTo>
                  <a:lnTo>
                    <a:pt x="1129" y="283"/>
                  </a:lnTo>
                  <a:lnTo>
                    <a:pt x="1132" y="284"/>
                  </a:lnTo>
                  <a:lnTo>
                    <a:pt x="1132" y="284"/>
                  </a:lnTo>
                  <a:lnTo>
                    <a:pt x="1125" y="274"/>
                  </a:lnTo>
                  <a:lnTo>
                    <a:pt x="1125" y="274"/>
                  </a:lnTo>
                  <a:lnTo>
                    <a:pt x="1118" y="264"/>
                  </a:lnTo>
                  <a:lnTo>
                    <a:pt x="1118" y="264"/>
                  </a:lnTo>
                  <a:lnTo>
                    <a:pt x="1118" y="264"/>
                  </a:lnTo>
                  <a:lnTo>
                    <a:pt x="1118" y="266"/>
                  </a:lnTo>
                  <a:lnTo>
                    <a:pt x="1118" y="266"/>
                  </a:lnTo>
                  <a:lnTo>
                    <a:pt x="1117" y="266"/>
                  </a:lnTo>
                  <a:lnTo>
                    <a:pt x="1117" y="266"/>
                  </a:lnTo>
                  <a:lnTo>
                    <a:pt x="1115" y="263"/>
                  </a:lnTo>
                  <a:lnTo>
                    <a:pt x="1114" y="262"/>
                  </a:lnTo>
                  <a:lnTo>
                    <a:pt x="1112" y="260"/>
                  </a:lnTo>
                  <a:lnTo>
                    <a:pt x="1112" y="260"/>
                  </a:lnTo>
                  <a:lnTo>
                    <a:pt x="1112" y="259"/>
                  </a:lnTo>
                  <a:lnTo>
                    <a:pt x="1114" y="259"/>
                  </a:lnTo>
                  <a:lnTo>
                    <a:pt x="1114" y="259"/>
                  </a:lnTo>
                  <a:lnTo>
                    <a:pt x="1112" y="257"/>
                  </a:lnTo>
                  <a:lnTo>
                    <a:pt x="1111" y="257"/>
                  </a:lnTo>
                  <a:lnTo>
                    <a:pt x="1111" y="257"/>
                  </a:lnTo>
                  <a:lnTo>
                    <a:pt x="1109" y="254"/>
                  </a:lnTo>
                  <a:lnTo>
                    <a:pt x="1109" y="254"/>
                  </a:lnTo>
                  <a:lnTo>
                    <a:pt x="1108" y="252"/>
                  </a:lnTo>
                  <a:lnTo>
                    <a:pt x="1109" y="252"/>
                  </a:lnTo>
                  <a:lnTo>
                    <a:pt x="1109" y="252"/>
                  </a:lnTo>
                  <a:lnTo>
                    <a:pt x="1102" y="243"/>
                  </a:lnTo>
                  <a:lnTo>
                    <a:pt x="1102" y="243"/>
                  </a:lnTo>
                  <a:lnTo>
                    <a:pt x="1099" y="239"/>
                  </a:lnTo>
                  <a:lnTo>
                    <a:pt x="1097" y="237"/>
                  </a:lnTo>
                  <a:lnTo>
                    <a:pt x="1097" y="237"/>
                  </a:lnTo>
                  <a:lnTo>
                    <a:pt x="1097" y="236"/>
                  </a:lnTo>
                  <a:lnTo>
                    <a:pt x="1095" y="233"/>
                  </a:lnTo>
                  <a:lnTo>
                    <a:pt x="1095" y="233"/>
                  </a:lnTo>
                  <a:lnTo>
                    <a:pt x="1094" y="233"/>
                  </a:lnTo>
                  <a:lnTo>
                    <a:pt x="1094" y="230"/>
                  </a:lnTo>
                  <a:lnTo>
                    <a:pt x="1092" y="229"/>
                  </a:lnTo>
                  <a:lnTo>
                    <a:pt x="1092" y="229"/>
                  </a:lnTo>
                  <a:lnTo>
                    <a:pt x="1085" y="222"/>
                  </a:lnTo>
                  <a:lnTo>
                    <a:pt x="1085" y="222"/>
                  </a:lnTo>
                  <a:lnTo>
                    <a:pt x="1082" y="219"/>
                  </a:lnTo>
                  <a:lnTo>
                    <a:pt x="1082" y="219"/>
                  </a:lnTo>
                  <a:lnTo>
                    <a:pt x="1078" y="213"/>
                  </a:lnTo>
                  <a:lnTo>
                    <a:pt x="1078" y="213"/>
                  </a:lnTo>
                  <a:lnTo>
                    <a:pt x="1077" y="212"/>
                  </a:lnTo>
                  <a:lnTo>
                    <a:pt x="1072" y="209"/>
                  </a:lnTo>
                  <a:lnTo>
                    <a:pt x="1067" y="202"/>
                  </a:lnTo>
                  <a:lnTo>
                    <a:pt x="1067" y="202"/>
                  </a:lnTo>
                  <a:lnTo>
                    <a:pt x="1067" y="202"/>
                  </a:lnTo>
                  <a:lnTo>
                    <a:pt x="1067" y="200"/>
                  </a:lnTo>
                  <a:lnTo>
                    <a:pt x="1067" y="200"/>
                  </a:lnTo>
                  <a:lnTo>
                    <a:pt x="1064" y="199"/>
                  </a:lnTo>
                  <a:lnTo>
                    <a:pt x="1062" y="196"/>
                  </a:lnTo>
                  <a:lnTo>
                    <a:pt x="1062" y="196"/>
                  </a:lnTo>
                  <a:lnTo>
                    <a:pt x="1058" y="193"/>
                  </a:lnTo>
                  <a:lnTo>
                    <a:pt x="1055" y="190"/>
                  </a:lnTo>
                  <a:lnTo>
                    <a:pt x="1055" y="190"/>
                  </a:lnTo>
                  <a:lnTo>
                    <a:pt x="1054" y="192"/>
                  </a:lnTo>
                  <a:lnTo>
                    <a:pt x="1055" y="193"/>
                  </a:lnTo>
                  <a:lnTo>
                    <a:pt x="1060" y="197"/>
                  </a:lnTo>
                  <a:lnTo>
                    <a:pt x="1060" y="197"/>
                  </a:lnTo>
                  <a:lnTo>
                    <a:pt x="1058" y="196"/>
                  </a:lnTo>
                  <a:lnTo>
                    <a:pt x="1054" y="193"/>
                  </a:lnTo>
                  <a:lnTo>
                    <a:pt x="1054" y="193"/>
                  </a:lnTo>
                  <a:lnTo>
                    <a:pt x="1054" y="193"/>
                  </a:lnTo>
                  <a:lnTo>
                    <a:pt x="1055" y="194"/>
                  </a:lnTo>
                  <a:lnTo>
                    <a:pt x="1058" y="199"/>
                  </a:lnTo>
                  <a:lnTo>
                    <a:pt x="1058" y="199"/>
                  </a:lnTo>
                  <a:lnTo>
                    <a:pt x="1058" y="199"/>
                  </a:lnTo>
                  <a:lnTo>
                    <a:pt x="1057" y="197"/>
                  </a:lnTo>
                  <a:lnTo>
                    <a:pt x="1054" y="196"/>
                  </a:lnTo>
                  <a:lnTo>
                    <a:pt x="1054" y="196"/>
                  </a:lnTo>
                  <a:lnTo>
                    <a:pt x="1051" y="193"/>
                  </a:lnTo>
                  <a:lnTo>
                    <a:pt x="1050" y="190"/>
                  </a:lnTo>
                  <a:lnTo>
                    <a:pt x="1047" y="189"/>
                  </a:lnTo>
                  <a:lnTo>
                    <a:pt x="1047" y="189"/>
                  </a:lnTo>
                  <a:lnTo>
                    <a:pt x="1045" y="184"/>
                  </a:lnTo>
                  <a:lnTo>
                    <a:pt x="1045" y="184"/>
                  </a:lnTo>
                  <a:lnTo>
                    <a:pt x="1045" y="184"/>
                  </a:lnTo>
                  <a:lnTo>
                    <a:pt x="1045" y="184"/>
                  </a:lnTo>
                  <a:lnTo>
                    <a:pt x="1041" y="180"/>
                  </a:lnTo>
                  <a:lnTo>
                    <a:pt x="1038" y="174"/>
                  </a:lnTo>
                  <a:lnTo>
                    <a:pt x="1038" y="174"/>
                  </a:lnTo>
                  <a:lnTo>
                    <a:pt x="1035" y="174"/>
                  </a:lnTo>
                  <a:lnTo>
                    <a:pt x="1032" y="173"/>
                  </a:lnTo>
                  <a:lnTo>
                    <a:pt x="1032" y="173"/>
                  </a:lnTo>
                  <a:lnTo>
                    <a:pt x="1037" y="174"/>
                  </a:lnTo>
                  <a:lnTo>
                    <a:pt x="1041" y="176"/>
                  </a:lnTo>
                  <a:lnTo>
                    <a:pt x="1041" y="176"/>
                  </a:lnTo>
                  <a:lnTo>
                    <a:pt x="1051" y="183"/>
                  </a:lnTo>
                  <a:lnTo>
                    <a:pt x="1051" y="183"/>
                  </a:lnTo>
                  <a:lnTo>
                    <a:pt x="1044" y="174"/>
                  </a:lnTo>
                  <a:lnTo>
                    <a:pt x="1044" y="174"/>
                  </a:lnTo>
                  <a:lnTo>
                    <a:pt x="1041" y="173"/>
                  </a:lnTo>
                  <a:lnTo>
                    <a:pt x="1040" y="172"/>
                  </a:lnTo>
                  <a:lnTo>
                    <a:pt x="1040" y="172"/>
                  </a:lnTo>
                  <a:lnTo>
                    <a:pt x="1038" y="172"/>
                  </a:lnTo>
                  <a:lnTo>
                    <a:pt x="1037" y="172"/>
                  </a:lnTo>
                  <a:lnTo>
                    <a:pt x="1037" y="172"/>
                  </a:lnTo>
                  <a:lnTo>
                    <a:pt x="1034" y="169"/>
                  </a:lnTo>
                  <a:lnTo>
                    <a:pt x="1032" y="164"/>
                  </a:lnTo>
                  <a:lnTo>
                    <a:pt x="1032" y="164"/>
                  </a:lnTo>
                  <a:lnTo>
                    <a:pt x="1031" y="164"/>
                  </a:lnTo>
                  <a:lnTo>
                    <a:pt x="1030" y="164"/>
                  </a:lnTo>
                  <a:lnTo>
                    <a:pt x="1024" y="160"/>
                  </a:lnTo>
                  <a:lnTo>
                    <a:pt x="1024" y="160"/>
                  </a:lnTo>
                  <a:lnTo>
                    <a:pt x="1018" y="154"/>
                  </a:lnTo>
                  <a:lnTo>
                    <a:pt x="1018" y="154"/>
                  </a:lnTo>
                  <a:lnTo>
                    <a:pt x="1015" y="150"/>
                  </a:lnTo>
                  <a:lnTo>
                    <a:pt x="1015" y="150"/>
                  </a:lnTo>
                  <a:lnTo>
                    <a:pt x="1014" y="150"/>
                  </a:lnTo>
                  <a:lnTo>
                    <a:pt x="1012" y="149"/>
                  </a:lnTo>
                  <a:lnTo>
                    <a:pt x="1008" y="146"/>
                  </a:lnTo>
                  <a:lnTo>
                    <a:pt x="1008" y="146"/>
                  </a:lnTo>
                  <a:lnTo>
                    <a:pt x="1012" y="150"/>
                  </a:lnTo>
                  <a:lnTo>
                    <a:pt x="1017" y="153"/>
                  </a:lnTo>
                  <a:lnTo>
                    <a:pt x="1017" y="153"/>
                  </a:lnTo>
                  <a:lnTo>
                    <a:pt x="1015" y="153"/>
                  </a:lnTo>
                  <a:lnTo>
                    <a:pt x="1011" y="150"/>
                  </a:lnTo>
                  <a:lnTo>
                    <a:pt x="1005" y="144"/>
                  </a:lnTo>
                  <a:lnTo>
                    <a:pt x="1005" y="144"/>
                  </a:lnTo>
                  <a:lnTo>
                    <a:pt x="1001" y="143"/>
                  </a:lnTo>
                  <a:lnTo>
                    <a:pt x="1001" y="143"/>
                  </a:lnTo>
                  <a:lnTo>
                    <a:pt x="1000" y="142"/>
                  </a:lnTo>
                  <a:lnTo>
                    <a:pt x="1001" y="142"/>
                  </a:lnTo>
                  <a:lnTo>
                    <a:pt x="1001" y="142"/>
                  </a:lnTo>
                  <a:lnTo>
                    <a:pt x="1000" y="140"/>
                  </a:lnTo>
                  <a:lnTo>
                    <a:pt x="998" y="140"/>
                  </a:lnTo>
                  <a:lnTo>
                    <a:pt x="998" y="142"/>
                  </a:lnTo>
                  <a:lnTo>
                    <a:pt x="1000" y="143"/>
                  </a:lnTo>
                  <a:lnTo>
                    <a:pt x="1000" y="143"/>
                  </a:lnTo>
                  <a:lnTo>
                    <a:pt x="1002" y="146"/>
                  </a:lnTo>
                  <a:lnTo>
                    <a:pt x="1005" y="147"/>
                  </a:lnTo>
                  <a:lnTo>
                    <a:pt x="1005" y="147"/>
                  </a:lnTo>
                  <a:lnTo>
                    <a:pt x="1007" y="150"/>
                  </a:lnTo>
                  <a:lnTo>
                    <a:pt x="1007" y="150"/>
                  </a:lnTo>
                  <a:lnTo>
                    <a:pt x="1000" y="144"/>
                  </a:lnTo>
                  <a:lnTo>
                    <a:pt x="994" y="140"/>
                  </a:lnTo>
                  <a:lnTo>
                    <a:pt x="994" y="140"/>
                  </a:lnTo>
                  <a:lnTo>
                    <a:pt x="995" y="140"/>
                  </a:lnTo>
                  <a:lnTo>
                    <a:pt x="997" y="140"/>
                  </a:lnTo>
                  <a:lnTo>
                    <a:pt x="998" y="140"/>
                  </a:lnTo>
                  <a:lnTo>
                    <a:pt x="997" y="137"/>
                  </a:lnTo>
                  <a:lnTo>
                    <a:pt x="997" y="137"/>
                  </a:lnTo>
                  <a:lnTo>
                    <a:pt x="997" y="139"/>
                  </a:lnTo>
                  <a:lnTo>
                    <a:pt x="995" y="137"/>
                  </a:lnTo>
                  <a:lnTo>
                    <a:pt x="991" y="135"/>
                  </a:lnTo>
                  <a:lnTo>
                    <a:pt x="991" y="135"/>
                  </a:lnTo>
                  <a:lnTo>
                    <a:pt x="991" y="135"/>
                  </a:lnTo>
                  <a:lnTo>
                    <a:pt x="992" y="135"/>
                  </a:lnTo>
                  <a:lnTo>
                    <a:pt x="988" y="130"/>
                  </a:lnTo>
                  <a:lnTo>
                    <a:pt x="988" y="130"/>
                  </a:lnTo>
                  <a:lnTo>
                    <a:pt x="987" y="132"/>
                  </a:lnTo>
                  <a:lnTo>
                    <a:pt x="982" y="129"/>
                  </a:lnTo>
                  <a:lnTo>
                    <a:pt x="982" y="129"/>
                  </a:lnTo>
                  <a:lnTo>
                    <a:pt x="981" y="127"/>
                  </a:lnTo>
                  <a:lnTo>
                    <a:pt x="978" y="125"/>
                  </a:lnTo>
                  <a:lnTo>
                    <a:pt x="975" y="123"/>
                  </a:lnTo>
                  <a:lnTo>
                    <a:pt x="973" y="120"/>
                  </a:lnTo>
                  <a:lnTo>
                    <a:pt x="973" y="120"/>
                  </a:lnTo>
                  <a:lnTo>
                    <a:pt x="988" y="130"/>
                  </a:lnTo>
                  <a:lnTo>
                    <a:pt x="997" y="136"/>
                  </a:lnTo>
                  <a:lnTo>
                    <a:pt x="1005" y="144"/>
                  </a:lnTo>
                  <a:lnTo>
                    <a:pt x="1005" y="144"/>
                  </a:lnTo>
                  <a:lnTo>
                    <a:pt x="1004" y="143"/>
                  </a:lnTo>
                  <a:lnTo>
                    <a:pt x="1005" y="143"/>
                  </a:lnTo>
                  <a:lnTo>
                    <a:pt x="1008" y="144"/>
                  </a:lnTo>
                  <a:lnTo>
                    <a:pt x="1012" y="147"/>
                  </a:lnTo>
                  <a:lnTo>
                    <a:pt x="1014" y="147"/>
                  </a:lnTo>
                  <a:lnTo>
                    <a:pt x="1014" y="147"/>
                  </a:lnTo>
                  <a:lnTo>
                    <a:pt x="1014" y="147"/>
                  </a:lnTo>
                  <a:lnTo>
                    <a:pt x="1010" y="143"/>
                  </a:lnTo>
                  <a:lnTo>
                    <a:pt x="1010" y="143"/>
                  </a:lnTo>
                  <a:lnTo>
                    <a:pt x="1007" y="142"/>
                  </a:lnTo>
                  <a:lnTo>
                    <a:pt x="1004" y="139"/>
                  </a:lnTo>
                  <a:lnTo>
                    <a:pt x="1000" y="133"/>
                  </a:lnTo>
                  <a:lnTo>
                    <a:pt x="1000" y="133"/>
                  </a:lnTo>
                  <a:lnTo>
                    <a:pt x="1000" y="135"/>
                  </a:lnTo>
                  <a:lnTo>
                    <a:pt x="998" y="133"/>
                  </a:lnTo>
                  <a:lnTo>
                    <a:pt x="997" y="133"/>
                  </a:lnTo>
                  <a:lnTo>
                    <a:pt x="997" y="135"/>
                  </a:lnTo>
                  <a:lnTo>
                    <a:pt x="997" y="135"/>
                  </a:lnTo>
                  <a:lnTo>
                    <a:pt x="992" y="132"/>
                  </a:lnTo>
                  <a:lnTo>
                    <a:pt x="988" y="129"/>
                  </a:lnTo>
                  <a:lnTo>
                    <a:pt x="988" y="129"/>
                  </a:lnTo>
                  <a:lnTo>
                    <a:pt x="988" y="129"/>
                  </a:lnTo>
                  <a:lnTo>
                    <a:pt x="990" y="129"/>
                  </a:lnTo>
                  <a:lnTo>
                    <a:pt x="991" y="130"/>
                  </a:lnTo>
                  <a:lnTo>
                    <a:pt x="992" y="130"/>
                  </a:lnTo>
                  <a:lnTo>
                    <a:pt x="991" y="129"/>
                  </a:lnTo>
                  <a:lnTo>
                    <a:pt x="991" y="129"/>
                  </a:lnTo>
                  <a:lnTo>
                    <a:pt x="992" y="129"/>
                  </a:lnTo>
                  <a:lnTo>
                    <a:pt x="994" y="130"/>
                  </a:lnTo>
                  <a:lnTo>
                    <a:pt x="995" y="132"/>
                  </a:lnTo>
                  <a:lnTo>
                    <a:pt x="997" y="132"/>
                  </a:lnTo>
                  <a:lnTo>
                    <a:pt x="997" y="132"/>
                  </a:lnTo>
                  <a:lnTo>
                    <a:pt x="997" y="130"/>
                  </a:lnTo>
                  <a:lnTo>
                    <a:pt x="995" y="129"/>
                  </a:lnTo>
                  <a:lnTo>
                    <a:pt x="995" y="129"/>
                  </a:lnTo>
                  <a:lnTo>
                    <a:pt x="991" y="127"/>
                  </a:lnTo>
                  <a:lnTo>
                    <a:pt x="990" y="126"/>
                  </a:lnTo>
                  <a:lnTo>
                    <a:pt x="988" y="122"/>
                  </a:lnTo>
                  <a:lnTo>
                    <a:pt x="988" y="122"/>
                  </a:lnTo>
                  <a:lnTo>
                    <a:pt x="985" y="122"/>
                  </a:lnTo>
                  <a:lnTo>
                    <a:pt x="980" y="119"/>
                  </a:lnTo>
                  <a:lnTo>
                    <a:pt x="980" y="119"/>
                  </a:lnTo>
                  <a:lnTo>
                    <a:pt x="968" y="110"/>
                  </a:lnTo>
                  <a:lnTo>
                    <a:pt x="968" y="110"/>
                  </a:lnTo>
                  <a:lnTo>
                    <a:pt x="967" y="110"/>
                  </a:lnTo>
                  <a:lnTo>
                    <a:pt x="968" y="110"/>
                  </a:lnTo>
                  <a:lnTo>
                    <a:pt x="971" y="113"/>
                  </a:lnTo>
                  <a:lnTo>
                    <a:pt x="971" y="113"/>
                  </a:lnTo>
                  <a:lnTo>
                    <a:pt x="964" y="110"/>
                  </a:lnTo>
                  <a:lnTo>
                    <a:pt x="958" y="106"/>
                  </a:lnTo>
                  <a:lnTo>
                    <a:pt x="953" y="103"/>
                  </a:lnTo>
                  <a:lnTo>
                    <a:pt x="948" y="102"/>
                  </a:lnTo>
                  <a:lnTo>
                    <a:pt x="948" y="102"/>
                  </a:lnTo>
                  <a:lnTo>
                    <a:pt x="947" y="100"/>
                  </a:lnTo>
                  <a:lnTo>
                    <a:pt x="948" y="99"/>
                  </a:lnTo>
                  <a:lnTo>
                    <a:pt x="948" y="99"/>
                  </a:lnTo>
                  <a:lnTo>
                    <a:pt x="950" y="99"/>
                  </a:lnTo>
                  <a:lnTo>
                    <a:pt x="950" y="99"/>
                  </a:lnTo>
                  <a:lnTo>
                    <a:pt x="964" y="109"/>
                  </a:lnTo>
                  <a:lnTo>
                    <a:pt x="964" y="109"/>
                  </a:lnTo>
                  <a:lnTo>
                    <a:pt x="967" y="109"/>
                  </a:lnTo>
                  <a:lnTo>
                    <a:pt x="967" y="107"/>
                  </a:lnTo>
                  <a:lnTo>
                    <a:pt x="967" y="107"/>
                  </a:lnTo>
                  <a:lnTo>
                    <a:pt x="964" y="106"/>
                  </a:lnTo>
                  <a:lnTo>
                    <a:pt x="963" y="105"/>
                  </a:lnTo>
                  <a:lnTo>
                    <a:pt x="963" y="105"/>
                  </a:lnTo>
                  <a:lnTo>
                    <a:pt x="961" y="105"/>
                  </a:lnTo>
                  <a:lnTo>
                    <a:pt x="961" y="106"/>
                  </a:lnTo>
                  <a:lnTo>
                    <a:pt x="961" y="106"/>
                  </a:lnTo>
                  <a:lnTo>
                    <a:pt x="957" y="102"/>
                  </a:lnTo>
                  <a:lnTo>
                    <a:pt x="950" y="97"/>
                  </a:lnTo>
                  <a:lnTo>
                    <a:pt x="950" y="97"/>
                  </a:lnTo>
                  <a:lnTo>
                    <a:pt x="943" y="93"/>
                  </a:lnTo>
                  <a:lnTo>
                    <a:pt x="937" y="92"/>
                  </a:lnTo>
                  <a:lnTo>
                    <a:pt x="937" y="92"/>
                  </a:lnTo>
                  <a:lnTo>
                    <a:pt x="938" y="92"/>
                  </a:lnTo>
                  <a:lnTo>
                    <a:pt x="938" y="90"/>
                  </a:lnTo>
                  <a:lnTo>
                    <a:pt x="935" y="89"/>
                  </a:lnTo>
                  <a:lnTo>
                    <a:pt x="931" y="86"/>
                  </a:lnTo>
                  <a:lnTo>
                    <a:pt x="930" y="83"/>
                  </a:lnTo>
                  <a:lnTo>
                    <a:pt x="930" y="83"/>
                  </a:lnTo>
                  <a:lnTo>
                    <a:pt x="924" y="80"/>
                  </a:lnTo>
                  <a:lnTo>
                    <a:pt x="924" y="80"/>
                  </a:lnTo>
                  <a:lnTo>
                    <a:pt x="924" y="80"/>
                  </a:lnTo>
                  <a:lnTo>
                    <a:pt x="925" y="82"/>
                  </a:lnTo>
                  <a:lnTo>
                    <a:pt x="930" y="85"/>
                  </a:lnTo>
                  <a:lnTo>
                    <a:pt x="930" y="85"/>
                  </a:lnTo>
                  <a:lnTo>
                    <a:pt x="928" y="86"/>
                  </a:lnTo>
                  <a:lnTo>
                    <a:pt x="925" y="85"/>
                  </a:lnTo>
                  <a:lnTo>
                    <a:pt x="925" y="85"/>
                  </a:lnTo>
                  <a:lnTo>
                    <a:pt x="917" y="83"/>
                  </a:lnTo>
                  <a:lnTo>
                    <a:pt x="917" y="83"/>
                  </a:lnTo>
                  <a:lnTo>
                    <a:pt x="917" y="80"/>
                  </a:lnTo>
                  <a:lnTo>
                    <a:pt x="918" y="82"/>
                  </a:lnTo>
                  <a:lnTo>
                    <a:pt x="923" y="82"/>
                  </a:lnTo>
                  <a:lnTo>
                    <a:pt x="924" y="82"/>
                  </a:lnTo>
                  <a:lnTo>
                    <a:pt x="924" y="82"/>
                  </a:lnTo>
                  <a:lnTo>
                    <a:pt x="920" y="79"/>
                  </a:lnTo>
                  <a:lnTo>
                    <a:pt x="914" y="77"/>
                  </a:lnTo>
                  <a:lnTo>
                    <a:pt x="914" y="77"/>
                  </a:lnTo>
                  <a:lnTo>
                    <a:pt x="914" y="79"/>
                  </a:lnTo>
                  <a:lnTo>
                    <a:pt x="914" y="80"/>
                  </a:lnTo>
                  <a:lnTo>
                    <a:pt x="914" y="80"/>
                  </a:lnTo>
                  <a:lnTo>
                    <a:pt x="910" y="79"/>
                  </a:lnTo>
                  <a:lnTo>
                    <a:pt x="905" y="76"/>
                  </a:lnTo>
                  <a:lnTo>
                    <a:pt x="905" y="76"/>
                  </a:lnTo>
                  <a:lnTo>
                    <a:pt x="910" y="79"/>
                  </a:lnTo>
                  <a:lnTo>
                    <a:pt x="913" y="80"/>
                  </a:lnTo>
                  <a:lnTo>
                    <a:pt x="915" y="82"/>
                  </a:lnTo>
                  <a:lnTo>
                    <a:pt x="918" y="85"/>
                  </a:lnTo>
                  <a:lnTo>
                    <a:pt x="918" y="85"/>
                  </a:lnTo>
                  <a:lnTo>
                    <a:pt x="927" y="87"/>
                  </a:lnTo>
                  <a:lnTo>
                    <a:pt x="935" y="92"/>
                  </a:lnTo>
                  <a:lnTo>
                    <a:pt x="935" y="92"/>
                  </a:lnTo>
                  <a:lnTo>
                    <a:pt x="935" y="92"/>
                  </a:lnTo>
                  <a:lnTo>
                    <a:pt x="933" y="92"/>
                  </a:lnTo>
                  <a:lnTo>
                    <a:pt x="928" y="89"/>
                  </a:lnTo>
                  <a:lnTo>
                    <a:pt x="928" y="89"/>
                  </a:lnTo>
                  <a:lnTo>
                    <a:pt x="928" y="89"/>
                  </a:lnTo>
                  <a:lnTo>
                    <a:pt x="930" y="90"/>
                  </a:lnTo>
                  <a:lnTo>
                    <a:pt x="933" y="92"/>
                  </a:lnTo>
                  <a:lnTo>
                    <a:pt x="933" y="92"/>
                  </a:lnTo>
                  <a:lnTo>
                    <a:pt x="933" y="92"/>
                  </a:lnTo>
                  <a:lnTo>
                    <a:pt x="931" y="92"/>
                  </a:lnTo>
                  <a:lnTo>
                    <a:pt x="927" y="92"/>
                  </a:lnTo>
                  <a:lnTo>
                    <a:pt x="927" y="92"/>
                  </a:lnTo>
                  <a:lnTo>
                    <a:pt x="921" y="89"/>
                  </a:lnTo>
                  <a:lnTo>
                    <a:pt x="921" y="89"/>
                  </a:lnTo>
                  <a:lnTo>
                    <a:pt x="918" y="86"/>
                  </a:lnTo>
                  <a:lnTo>
                    <a:pt x="918" y="86"/>
                  </a:lnTo>
                  <a:lnTo>
                    <a:pt x="915" y="85"/>
                  </a:lnTo>
                  <a:lnTo>
                    <a:pt x="915" y="85"/>
                  </a:lnTo>
                  <a:lnTo>
                    <a:pt x="900" y="76"/>
                  </a:lnTo>
                  <a:lnTo>
                    <a:pt x="900" y="76"/>
                  </a:lnTo>
                  <a:lnTo>
                    <a:pt x="893" y="72"/>
                  </a:lnTo>
                  <a:lnTo>
                    <a:pt x="893" y="72"/>
                  </a:lnTo>
                  <a:lnTo>
                    <a:pt x="886" y="69"/>
                  </a:lnTo>
                  <a:lnTo>
                    <a:pt x="886" y="69"/>
                  </a:lnTo>
                  <a:lnTo>
                    <a:pt x="887" y="70"/>
                  </a:lnTo>
                  <a:lnTo>
                    <a:pt x="888" y="72"/>
                  </a:lnTo>
                  <a:lnTo>
                    <a:pt x="887" y="72"/>
                  </a:lnTo>
                  <a:lnTo>
                    <a:pt x="887" y="72"/>
                  </a:lnTo>
                  <a:lnTo>
                    <a:pt x="891" y="73"/>
                  </a:lnTo>
                  <a:lnTo>
                    <a:pt x="893" y="73"/>
                  </a:lnTo>
                  <a:lnTo>
                    <a:pt x="894" y="75"/>
                  </a:lnTo>
                  <a:lnTo>
                    <a:pt x="894" y="75"/>
                  </a:lnTo>
                  <a:lnTo>
                    <a:pt x="890" y="75"/>
                  </a:lnTo>
                  <a:lnTo>
                    <a:pt x="890" y="75"/>
                  </a:lnTo>
                  <a:lnTo>
                    <a:pt x="886" y="72"/>
                  </a:lnTo>
                  <a:lnTo>
                    <a:pt x="884" y="70"/>
                  </a:lnTo>
                  <a:lnTo>
                    <a:pt x="884" y="70"/>
                  </a:lnTo>
                  <a:lnTo>
                    <a:pt x="884" y="72"/>
                  </a:lnTo>
                  <a:lnTo>
                    <a:pt x="883" y="72"/>
                  </a:lnTo>
                  <a:lnTo>
                    <a:pt x="880" y="70"/>
                  </a:lnTo>
                  <a:lnTo>
                    <a:pt x="876" y="69"/>
                  </a:lnTo>
                  <a:lnTo>
                    <a:pt x="873" y="67"/>
                  </a:lnTo>
                  <a:lnTo>
                    <a:pt x="873" y="67"/>
                  </a:lnTo>
                  <a:lnTo>
                    <a:pt x="876" y="67"/>
                  </a:lnTo>
                  <a:lnTo>
                    <a:pt x="881" y="70"/>
                  </a:lnTo>
                  <a:lnTo>
                    <a:pt x="881" y="70"/>
                  </a:lnTo>
                  <a:lnTo>
                    <a:pt x="881" y="69"/>
                  </a:lnTo>
                  <a:lnTo>
                    <a:pt x="883" y="69"/>
                  </a:lnTo>
                  <a:lnTo>
                    <a:pt x="886" y="69"/>
                  </a:lnTo>
                  <a:lnTo>
                    <a:pt x="886" y="69"/>
                  </a:lnTo>
                  <a:lnTo>
                    <a:pt x="878" y="63"/>
                  </a:lnTo>
                  <a:lnTo>
                    <a:pt x="878" y="63"/>
                  </a:lnTo>
                  <a:lnTo>
                    <a:pt x="888" y="67"/>
                  </a:lnTo>
                  <a:lnTo>
                    <a:pt x="888" y="67"/>
                  </a:lnTo>
                  <a:lnTo>
                    <a:pt x="894" y="70"/>
                  </a:lnTo>
                  <a:lnTo>
                    <a:pt x="894" y="70"/>
                  </a:lnTo>
                  <a:lnTo>
                    <a:pt x="901" y="72"/>
                  </a:lnTo>
                  <a:lnTo>
                    <a:pt x="901" y="72"/>
                  </a:lnTo>
                  <a:lnTo>
                    <a:pt x="900" y="70"/>
                  </a:lnTo>
                  <a:lnTo>
                    <a:pt x="900" y="70"/>
                  </a:lnTo>
                  <a:lnTo>
                    <a:pt x="895" y="67"/>
                  </a:lnTo>
                  <a:lnTo>
                    <a:pt x="895" y="67"/>
                  </a:lnTo>
                  <a:lnTo>
                    <a:pt x="897" y="69"/>
                  </a:lnTo>
                  <a:lnTo>
                    <a:pt x="895" y="69"/>
                  </a:lnTo>
                  <a:lnTo>
                    <a:pt x="893" y="69"/>
                  </a:lnTo>
                  <a:lnTo>
                    <a:pt x="893" y="69"/>
                  </a:lnTo>
                  <a:lnTo>
                    <a:pt x="881" y="63"/>
                  </a:lnTo>
                  <a:lnTo>
                    <a:pt x="871" y="59"/>
                  </a:lnTo>
                  <a:lnTo>
                    <a:pt x="871" y="59"/>
                  </a:lnTo>
                  <a:lnTo>
                    <a:pt x="873" y="60"/>
                  </a:lnTo>
                  <a:lnTo>
                    <a:pt x="873" y="60"/>
                  </a:lnTo>
                  <a:lnTo>
                    <a:pt x="873" y="60"/>
                  </a:lnTo>
                  <a:lnTo>
                    <a:pt x="881" y="66"/>
                  </a:lnTo>
                  <a:lnTo>
                    <a:pt x="881" y="66"/>
                  </a:lnTo>
                  <a:lnTo>
                    <a:pt x="878" y="66"/>
                  </a:lnTo>
                  <a:lnTo>
                    <a:pt x="874" y="65"/>
                  </a:lnTo>
                  <a:lnTo>
                    <a:pt x="874" y="65"/>
                  </a:lnTo>
                  <a:lnTo>
                    <a:pt x="873" y="63"/>
                  </a:lnTo>
                  <a:lnTo>
                    <a:pt x="874" y="63"/>
                  </a:lnTo>
                  <a:lnTo>
                    <a:pt x="874" y="63"/>
                  </a:lnTo>
                  <a:lnTo>
                    <a:pt x="871" y="62"/>
                  </a:lnTo>
                  <a:lnTo>
                    <a:pt x="870" y="62"/>
                  </a:lnTo>
                  <a:lnTo>
                    <a:pt x="868" y="62"/>
                  </a:lnTo>
                  <a:lnTo>
                    <a:pt x="866" y="60"/>
                  </a:lnTo>
                  <a:lnTo>
                    <a:pt x="866" y="60"/>
                  </a:lnTo>
                  <a:lnTo>
                    <a:pt x="867" y="59"/>
                  </a:lnTo>
                  <a:lnTo>
                    <a:pt x="868" y="59"/>
                  </a:lnTo>
                  <a:lnTo>
                    <a:pt x="868" y="59"/>
                  </a:lnTo>
                  <a:lnTo>
                    <a:pt x="868" y="59"/>
                  </a:lnTo>
                  <a:lnTo>
                    <a:pt x="861" y="56"/>
                  </a:lnTo>
                  <a:lnTo>
                    <a:pt x="853" y="53"/>
                  </a:lnTo>
                  <a:lnTo>
                    <a:pt x="853" y="53"/>
                  </a:lnTo>
                  <a:lnTo>
                    <a:pt x="844" y="50"/>
                  </a:lnTo>
                  <a:lnTo>
                    <a:pt x="837" y="47"/>
                  </a:lnTo>
                  <a:lnTo>
                    <a:pt x="837" y="47"/>
                  </a:lnTo>
                  <a:lnTo>
                    <a:pt x="837" y="47"/>
                  </a:lnTo>
                  <a:lnTo>
                    <a:pt x="837" y="47"/>
                  </a:lnTo>
                  <a:lnTo>
                    <a:pt x="834" y="45"/>
                  </a:lnTo>
                  <a:lnTo>
                    <a:pt x="834" y="45"/>
                  </a:lnTo>
                  <a:lnTo>
                    <a:pt x="828" y="43"/>
                  </a:lnTo>
                  <a:lnTo>
                    <a:pt x="821" y="42"/>
                  </a:lnTo>
                  <a:lnTo>
                    <a:pt x="821" y="42"/>
                  </a:lnTo>
                  <a:lnTo>
                    <a:pt x="824" y="43"/>
                  </a:lnTo>
                  <a:lnTo>
                    <a:pt x="826" y="45"/>
                  </a:lnTo>
                  <a:lnTo>
                    <a:pt x="826" y="45"/>
                  </a:lnTo>
                  <a:lnTo>
                    <a:pt x="817" y="43"/>
                  </a:lnTo>
                  <a:lnTo>
                    <a:pt x="810" y="40"/>
                  </a:lnTo>
                  <a:lnTo>
                    <a:pt x="810" y="40"/>
                  </a:lnTo>
                  <a:lnTo>
                    <a:pt x="810" y="39"/>
                  </a:lnTo>
                  <a:lnTo>
                    <a:pt x="811" y="39"/>
                  </a:lnTo>
                  <a:lnTo>
                    <a:pt x="811" y="39"/>
                  </a:lnTo>
                  <a:lnTo>
                    <a:pt x="816" y="40"/>
                  </a:lnTo>
                  <a:lnTo>
                    <a:pt x="820" y="42"/>
                  </a:lnTo>
                  <a:lnTo>
                    <a:pt x="820" y="42"/>
                  </a:lnTo>
                  <a:lnTo>
                    <a:pt x="818" y="42"/>
                  </a:lnTo>
                  <a:lnTo>
                    <a:pt x="820" y="40"/>
                  </a:lnTo>
                  <a:lnTo>
                    <a:pt x="820" y="40"/>
                  </a:lnTo>
                  <a:lnTo>
                    <a:pt x="820" y="39"/>
                  </a:lnTo>
                  <a:lnTo>
                    <a:pt x="820" y="39"/>
                  </a:lnTo>
                  <a:lnTo>
                    <a:pt x="816" y="39"/>
                  </a:lnTo>
                  <a:lnTo>
                    <a:pt x="811" y="37"/>
                  </a:lnTo>
                  <a:lnTo>
                    <a:pt x="811" y="37"/>
                  </a:lnTo>
                  <a:lnTo>
                    <a:pt x="800" y="36"/>
                  </a:lnTo>
                  <a:lnTo>
                    <a:pt x="800" y="36"/>
                  </a:lnTo>
                  <a:lnTo>
                    <a:pt x="803" y="37"/>
                  </a:lnTo>
                  <a:lnTo>
                    <a:pt x="807" y="37"/>
                  </a:lnTo>
                  <a:lnTo>
                    <a:pt x="807" y="37"/>
                  </a:lnTo>
                  <a:lnTo>
                    <a:pt x="806" y="39"/>
                  </a:lnTo>
                  <a:lnTo>
                    <a:pt x="803" y="37"/>
                  </a:lnTo>
                  <a:lnTo>
                    <a:pt x="796" y="36"/>
                  </a:lnTo>
                  <a:lnTo>
                    <a:pt x="796" y="36"/>
                  </a:lnTo>
                  <a:lnTo>
                    <a:pt x="796" y="35"/>
                  </a:lnTo>
                  <a:lnTo>
                    <a:pt x="794" y="35"/>
                  </a:lnTo>
                  <a:lnTo>
                    <a:pt x="794" y="35"/>
                  </a:lnTo>
                  <a:lnTo>
                    <a:pt x="790" y="35"/>
                  </a:lnTo>
                  <a:lnTo>
                    <a:pt x="786" y="33"/>
                  </a:lnTo>
                  <a:lnTo>
                    <a:pt x="786" y="33"/>
                  </a:lnTo>
                  <a:lnTo>
                    <a:pt x="783" y="32"/>
                  </a:lnTo>
                  <a:lnTo>
                    <a:pt x="783" y="32"/>
                  </a:lnTo>
                  <a:lnTo>
                    <a:pt x="780" y="30"/>
                  </a:lnTo>
                  <a:lnTo>
                    <a:pt x="780" y="30"/>
                  </a:lnTo>
                  <a:lnTo>
                    <a:pt x="774" y="30"/>
                  </a:lnTo>
                  <a:lnTo>
                    <a:pt x="774" y="30"/>
                  </a:lnTo>
                  <a:lnTo>
                    <a:pt x="774" y="29"/>
                  </a:lnTo>
                  <a:lnTo>
                    <a:pt x="774" y="29"/>
                  </a:lnTo>
                  <a:lnTo>
                    <a:pt x="779" y="29"/>
                  </a:lnTo>
                  <a:lnTo>
                    <a:pt x="783" y="29"/>
                  </a:lnTo>
                  <a:lnTo>
                    <a:pt x="784" y="29"/>
                  </a:lnTo>
                  <a:lnTo>
                    <a:pt x="784" y="29"/>
                  </a:lnTo>
                  <a:lnTo>
                    <a:pt x="781" y="29"/>
                  </a:lnTo>
                  <a:lnTo>
                    <a:pt x="781" y="29"/>
                  </a:lnTo>
                  <a:lnTo>
                    <a:pt x="780" y="27"/>
                  </a:lnTo>
                  <a:lnTo>
                    <a:pt x="780" y="27"/>
                  </a:lnTo>
                  <a:lnTo>
                    <a:pt x="781" y="27"/>
                  </a:lnTo>
                  <a:lnTo>
                    <a:pt x="780" y="26"/>
                  </a:lnTo>
                  <a:lnTo>
                    <a:pt x="780" y="26"/>
                  </a:lnTo>
                  <a:lnTo>
                    <a:pt x="773" y="25"/>
                  </a:lnTo>
                  <a:lnTo>
                    <a:pt x="771" y="25"/>
                  </a:lnTo>
                  <a:lnTo>
                    <a:pt x="771" y="26"/>
                  </a:lnTo>
                  <a:lnTo>
                    <a:pt x="771" y="26"/>
                  </a:lnTo>
                  <a:lnTo>
                    <a:pt x="769" y="26"/>
                  </a:lnTo>
                  <a:lnTo>
                    <a:pt x="766" y="25"/>
                  </a:lnTo>
                  <a:lnTo>
                    <a:pt x="760" y="23"/>
                  </a:lnTo>
                  <a:lnTo>
                    <a:pt x="760" y="23"/>
                  </a:lnTo>
                  <a:lnTo>
                    <a:pt x="760" y="22"/>
                  </a:lnTo>
                  <a:lnTo>
                    <a:pt x="761" y="22"/>
                  </a:lnTo>
                  <a:lnTo>
                    <a:pt x="764" y="23"/>
                  </a:lnTo>
                  <a:lnTo>
                    <a:pt x="764" y="23"/>
                  </a:lnTo>
                  <a:lnTo>
                    <a:pt x="763" y="22"/>
                  </a:lnTo>
                  <a:lnTo>
                    <a:pt x="757" y="20"/>
                  </a:lnTo>
                  <a:lnTo>
                    <a:pt x="757" y="20"/>
                  </a:lnTo>
                  <a:lnTo>
                    <a:pt x="751" y="19"/>
                  </a:lnTo>
                  <a:lnTo>
                    <a:pt x="750" y="19"/>
                  </a:lnTo>
                  <a:lnTo>
                    <a:pt x="750" y="17"/>
                  </a:lnTo>
                  <a:lnTo>
                    <a:pt x="750" y="17"/>
                  </a:lnTo>
                  <a:lnTo>
                    <a:pt x="741" y="17"/>
                  </a:lnTo>
                  <a:lnTo>
                    <a:pt x="741" y="17"/>
                  </a:lnTo>
                  <a:lnTo>
                    <a:pt x="744" y="19"/>
                  </a:lnTo>
                  <a:lnTo>
                    <a:pt x="744" y="20"/>
                  </a:lnTo>
                  <a:lnTo>
                    <a:pt x="744" y="20"/>
                  </a:lnTo>
                  <a:lnTo>
                    <a:pt x="740" y="19"/>
                  </a:lnTo>
                  <a:lnTo>
                    <a:pt x="739" y="17"/>
                  </a:lnTo>
                  <a:lnTo>
                    <a:pt x="739" y="17"/>
                  </a:lnTo>
                  <a:lnTo>
                    <a:pt x="733" y="17"/>
                  </a:lnTo>
                  <a:lnTo>
                    <a:pt x="727" y="16"/>
                  </a:lnTo>
                  <a:lnTo>
                    <a:pt x="727" y="16"/>
                  </a:lnTo>
                  <a:lnTo>
                    <a:pt x="713" y="12"/>
                  </a:lnTo>
                  <a:lnTo>
                    <a:pt x="713" y="12"/>
                  </a:lnTo>
                  <a:lnTo>
                    <a:pt x="706" y="12"/>
                  </a:lnTo>
                  <a:lnTo>
                    <a:pt x="697" y="10"/>
                  </a:lnTo>
                  <a:lnTo>
                    <a:pt x="697" y="10"/>
                  </a:lnTo>
                  <a:lnTo>
                    <a:pt x="689" y="9"/>
                  </a:lnTo>
                  <a:lnTo>
                    <a:pt x="680" y="7"/>
                  </a:lnTo>
                  <a:lnTo>
                    <a:pt x="680" y="7"/>
                  </a:lnTo>
                  <a:lnTo>
                    <a:pt x="680" y="9"/>
                  </a:lnTo>
                  <a:lnTo>
                    <a:pt x="683" y="9"/>
                  </a:lnTo>
                  <a:lnTo>
                    <a:pt x="687" y="10"/>
                  </a:lnTo>
                  <a:lnTo>
                    <a:pt x="687" y="10"/>
                  </a:lnTo>
                  <a:lnTo>
                    <a:pt x="684" y="10"/>
                  </a:lnTo>
                  <a:lnTo>
                    <a:pt x="680" y="10"/>
                  </a:lnTo>
                  <a:lnTo>
                    <a:pt x="669" y="9"/>
                  </a:lnTo>
                  <a:lnTo>
                    <a:pt x="669" y="9"/>
                  </a:lnTo>
                  <a:lnTo>
                    <a:pt x="669" y="9"/>
                  </a:lnTo>
                  <a:lnTo>
                    <a:pt x="669" y="9"/>
                  </a:lnTo>
                  <a:lnTo>
                    <a:pt x="672" y="9"/>
                  </a:lnTo>
                  <a:lnTo>
                    <a:pt x="674" y="9"/>
                  </a:lnTo>
                  <a:lnTo>
                    <a:pt x="674" y="7"/>
                  </a:lnTo>
                  <a:lnTo>
                    <a:pt x="674" y="7"/>
                  </a:lnTo>
                  <a:lnTo>
                    <a:pt x="670" y="6"/>
                  </a:lnTo>
                  <a:lnTo>
                    <a:pt x="669" y="5"/>
                  </a:lnTo>
                  <a:lnTo>
                    <a:pt x="669" y="5"/>
                  </a:lnTo>
                  <a:lnTo>
                    <a:pt x="656" y="9"/>
                  </a:lnTo>
                  <a:lnTo>
                    <a:pt x="656" y="9"/>
                  </a:lnTo>
                  <a:lnTo>
                    <a:pt x="653" y="7"/>
                  </a:lnTo>
                  <a:lnTo>
                    <a:pt x="652" y="7"/>
                  </a:lnTo>
                  <a:lnTo>
                    <a:pt x="649" y="6"/>
                  </a:lnTo>
                  <a:lnTo>
                    <a:pt x="649" y="6"/>
                  </a:lnTo>
                  <a:lnTo>
                    <a:pt x="642" y="6"/>
                  </a:lnTo>
                  <a:lnTo>
                    <a:pt x="639" y="6"/>
                  </a:lnTo>
                  <a:lnTo>
                    <a:pt x="637" y="5"/>
                  </a:lnTo>
                  <a:lnTo>
                    <a:pt x="637" y="5"/>
                  </a:lnTo>
                  <a:lnTo>
                    <a:pt x="637" y="5"/>
                  </a:lnTo>
                  <a:lnTo>
                    <a:pt x="624" y="6"/>
                  </a:lnTo>
                  <a:lnTo>
                    <a:pt x="612" y="5"/>
                  </a:lnTo>
                  <a:lnTo>
                    <a:pt x="612" y="5"/>
                  </a:lnTo>
                  <a:lnTo>
                    <a:pt x="609" y="5"/>
                  </a:lnTo>
                  <a:lnTo>
                    <a:pt x="610" y="3"/>
                  </a:lnTo>
                  <a:lnTo>
                    <a:pt x="612" y="3"/>
                  </a:lnTo>
                  <a:lnTo>
                    <a:pt x="610" y="2"/>
                  </a:lnTo>
                  <a:lnTo>
                    <a:pt x="610" y="2"/>
                  </a:lnTo>
                  <a:lnTo>
                    <a:pt x="607" y="3"/>
                  </a:lnTo>
                  <a:lnTo>
                    <a:pt x="607" y="3"/>
                  </a:lnTo>
                  <a:lnTo>
                    <a:pt x="609" y="5"/>
                  </a:lnTo>
                  <a:lnTo>
                    <a:pt x="606" y="5"/>
                  </a:lnTo>
                  <a:lnTo>
                    <a:pt x="606" y="5"/>
                  </a:lnTo>
                  <a:lnTo>
                    <a:pt x="603" y="5"/>
                  </a:lnTo>
                  <a:lnTo>
                    <a:pt x="602" y="5"/>
                  </a:lnTo>
                  <a:lnTo>
                    <a:pt x="597" y="3"/>
                  </a:lnTo>
                  <a:lnTo>
                    <a:pt x="597" y="3"/>
                  </a:lnTo>
                  <a:lnTo>
                    <a:pt x="593" y="3"/>
                  </a:lnTo>
                  <a:lnTo>
                    <a:pt x="587" y="3"/>
                  </a:lnTo>
                  <a:lnTo>
                    <a:pt x="587" y="3"/>
                  </a:lnTo>
                  <a:lnTo>
                    <a:pt x="589" y="2"/>
                  </a:lnTo>
                  <a:lnTo>
                    <a:pt x="587" y="2"/>
                  </a:lnTo>
                  <a:lnTo>
                    <a:pt x="583" y="0"/>
                  </a:lnTo>
                  <a:lnTo>
                    <a:pt x="583" y="0"/>
                  </a:lnTo>
                  <a:lnTo>
                    <a:pt x="583" y="2"/>
                  </a:lnTo>
                  <a:lnTo>
                    <a:pt x="580" y="2"/>
                  </a:lnTo>
                  <a:lnTo>
                    <a:pt x="580" y="2"/>
                  </a:lnTo>
                  <a:lnTo>
                    <a:pt x="579" y="2"/>
                  </a:lnTo>
                  <a:lnTo>
                    <a:pt x="580" y="2"/>
                  </a:lnTo>
                  <a:lnTo>
                    <a:pt x="585" y="3"/>
                  </a:lnTo>
                  <a:lnTo>
                    <a:pt x="585" y="3"/>
                  </a:lnTo>
                  <a:lnTo>
                    <a:pt x="580" y="3"/>
                  </a:lnTo>
                  <a:lnTo>
                    <a:pt x="575" y="3"/>
                  </a:lnTo>
                  <a:lnTo>
                    <a:pt x="575" y="3"/>
                  </a:lnTo>
                  <a:lnTo>
                    <a:pt x="575" y="3"/>
                  </a:lnTo>
                  <a:lnTo>
                    <a:pt x="576" y="3"/>
                  </a:lnTo>
                  <a:lnTo>
                    <a:pt x="580" y="3"/>
                  </a:lnTo>
                  <a:lnTo>
                    <a:pt x="580" y="3"/>
                  </a:lnTo>
                  <a:lnTo>
                    <a:pt x="580" y="5"/>
                  </a:lnTo>
                  <a:lnTo>
                    <a:pt x="579" y="6"/>
                  </a:lnTo>
                  <a:lnTo>
                    <a:pt x="579" y="6"/>
                  </a:lnTo>
                  <a:lnTo>
                    <a:pt x="575" y="6"/>
                  </a:lnTo>
                  <a:lnTo>
                    <a:pt x="572" y="7"/>
                  </a:lnTo>
                  <a:lnTo>
                    <a:pt x="572" y="7"/>
                  </a:lnTo>
                  <a:lnTo>
                    <a:pt x="570" y="6"/>
                  </a:lnTo>
                  <a:lnTo>
                    <a:pt x="572" y="6"/>
                  </a:lnTo>
                  <a:lnTo>
                    <a:pt x="573" y="5"/>
                  </a:lnTo>
                  <a:lnTo>
                    <a:pt x="573" y="5"/>
                  </a:lnTo>
                  <a:lnTo>
                    <a:pt x="570" y="5"/>
                  </a:lnTo>
                  <a:lnTo>
                    <a:pt x="567" y="7"/>
                  </a:lnTo>
                  <a:lnTo>
                    <a:pt x="567" y="7"/>
                  </a:lnTo>
                  <a:lnTo>
                    <a:pt x="552" y="7"/>
                  </a:lnTo>
                  <a:lnTo>
                    <a:pt x="552" y="7"/>
                  </a:lnTo>
                  <a:lnTo>
                    <a:pt x="553" y="6"/>
                  </a:lnTo>
                  <a:lnTo>
                    <a:pt x="555" y="5"/>
                  </a:lnTo>
                  <a:lnTo>
                    <a:pt x="555" y="5"/>
                  </a:lnTo>
                  <a:lnTo>
                    <a:pt x="547" y="5"/>
                  </a:lnTo>
                  <a:lnTo>
                    <a:pt x="547" y="5"/>
                  </a:lnTo>
                  <a:lnTo>
                    <a:pt x="543" y="5"/>
                  </a:lnTo>
                  <a:lnTo>
                    <a:pt x="539" y="5"/>
                  </a:lnTo>
                  <a:lnTo>
                    <a:pt x="539" y="5"/>
                  </a:lnTo>
                  <a:lnTo>
                    <a:pt x="533" y="3"/>
                  </a:lnTo>
                  <a:lnTo>
                    <a:pt x="523" y="3"/>
                  </a:lnTo>
                  <a:lnTo>
                    <a:pt x="523" y="3"/>
                  </a:lnTo>
                  <a:lnTo>
                    <a:pt x="527" y="3"/>
                  </a:lnTo>
                  <a:lnTo>
                    <a:pt x="529" y="5"/>
                  </a:lnTo>
                  <a:lnTo>
                    <a:pt x="530" y="5"/>
                  </a:lnTo>
                  <a:lnTo>
                    <a:pt x="530" y="5"/>
                  </a:lnTo>
                  <a:lnTo>
                    <a:pt x="525" y="6"/>
                  </a:lnTo>
                  <a:lnTo>
                    <a:pt x="519" y="6"/>
                  </a:lnTo>
                  <a:lnTo>
                    <a:pt x="519" y="6"/>
                  </a:lnTo>
                  <a:lnTo>
                    <a:pt x="519" y="7"/>
                  </a:lnTo>
                  <a:lnTo>
                    <a:pt x="519" y="7"/>
                  </a:lnTo>
                  <a:lnTo>
                    <a:pt x="519" y="7"/>
                  </a:lnTo>
                  <a:lnTo>
                    <a:pt x="516" y="9"/>
                  </a:lnTo>
                  <a:lnTo>
                    <a:pt x="516" y="9"/>
                  </a:lnTo>
                  <a:lnTo>
                    <a:pt x="525" y="7"/>
                  </a:lnTo>
                  <a:lnTo>
                    <a:pt x="529" y="7"/>
                  </a:lnTo>
                  <a:lnTo>
                    <a:pt x="530" y="7"/>
                  </a:lnTo>
                  <a:lnTo>
                    <a:pt x="530" y="7"/>
                  </a:lnTo>
                  <a:lnTo>
                    <a:pt x="532" y="7"/>
                  </a:lnTo>
                  <a:lnTo>
                    <a:pt x="529" y="9"/>
                  </a:lnTo>
                  <a:lnTo>
                    <a:pt x="529" y="9"/>
                  </a:lnTo>
                  <a:lnTo>
                    <a:pt x="526" y="9"/>
                  </a:lnTo>
                  <a:lnTo>
                    <a:pt x="522" y="10"/>
                  </a:lnTo>
                  <a:lnTo>
                    <a:pt x="522" y="10"/>
                  </a:lnTo>
                  <a:lnTo>
                    <a:pt x="519" y="10"/>
                  </a:lnTo>
                  <a:lnTo>
                    <a:pt x="520" y="10"/>
                  </a:lnTo>
                  <a:lnTo>
                    <a:pt x="520" y="9"/>
                  </a:lnTo>
                  <a:lnTo>
                    <a:pt x="519" y="9"/>
                  </a:lnTo>
                  <a:lnTo>
                    <a:pt x="519" y="9"/>
                  </a:lnTo>
                  <a:lnTo>
                    <a:pt x="519" y="10"/>
                  </a:lnTo>
                  <a:lnTo>
                    <a:pt x="516" y="10"/>
                  </a:lnTo>
                  <a:lnTo>
                    <a:pt x="509" y="12"/>
                  </a:lnTo>
                  <a:lnTo>
                    <a:pt x="509" y="12"/>
                  </a:lnTo>
                  <a:lnTo>
                    <a:pt x="508" y="13"/>
                  </a:lnTo>
                  <a:lnTo>
                    <a:pt x="509" y="13"/>
                  </a:lnTo>
                  <a:lnTo>
                    <a:pt x="513" y="12"/>
                  </a:lnTo>
                  <a:lnTo>
                    <a:pt x="513" y="12"/>
                  </a:lnTo>
                  <a:lnTo>
                    <a:pt x="508" y="15"/>
                  </a:lnTo>
                  <a:lnTo>
                    <a:pt x="508" y="15"/>
                  </a:lnTo>
                  <a:lnTo>
                    <a:pt x="503" y="13"/>
                  </a:lnTo>
                  <a:lnTo>
                    <a:pt x="502" y="13"/>
                  </a:lnTo>
                  <a:lnTo>
                    <a:pt x="502" y="13"/>
                  </a:lnTo>
                  <a:lnTo>
                    <a:pt x="502" y="13"/>
                  </a:lnTo>
                  <a:lnTo>
                    <a:pt x="496" y="15"/>
                  </a:lnTo>
                  <a:lnTo>
                    <a:pt x="493" y="15"/>
                  </a:lnTo>
                  <a:lnTo>
                    <a:pt x="493" y="15"/>
                  </a:lnTo>
                  <a:lnTo>
                    <a:pt x="493" y="15"/>
                  </a:lnTo>
                  <a:lnTo>
                    <a:pt x="493" y="15"/>
                  </a:lnTo>
                  <a:lnTo>
                    <a:pt x="490" y="15"/>
                  </a:lnTo>
                  <a:lnTo>
                    <a:pt x="489" y="16"/>
                  </a:lnTo>
                  <a:lnTo>
                    <a:pt x="489" y="16"/>
                  </a:lnTo>
                  <a:lnTo>
                    <a:pt x="486" y="17"/>
                  </a:lnTo>
                  <a:lnTo>
                    <a:pt x="482" y="19"/>
                  </a:lnTo>
                  <a:lnTo>
                    <a:pt x="482" y="19"/>
                  </a:lnTo>
                  <a:lnTo>
                    <a:pt x="482" y="17"/>
                  </a:lnTo>
                  <a:lnTo>
                    <a:pt x="483" y="17"/>
                  </a:lnTo>
                  <a:lnTo>
                    <a:pt x="486" y="16"/>
                  </a:lnTo>
                  <a:lnTo>
                    <a:pt x="486" y="16"/>
                  </a:lnTo>
                  <a:lnTo>
                    <a:pt x="475" y="17"/>
                  </a:lnTo>
                  <a:lnTo>
                    <a:pt x="470" y="19"/>
                  </a:lnTo>
                  <a:lnTo>
                    <a:pt x="468" y="20"/>
                  </a:lnTo>
                  <a:lnTo>
                    <a:pt x="468" y="20"/>
                  </a:lnTo>
                  <a:lnTo>
                    <a:pt x="462" y="22"/>
                  </a:lnTo>
                  <a:lnTo>
                    <a:pt x="460" y="20"/>
                  </a:lnTo>
                  <a:lnTo>
                    <a:pt x="462" y="20"/>
                  </a:lnTo>
                  <a:lnTo>
                    <a:pt x="462" y="20"/>
                  </a:lnTo>
                  <a:lnTo>
                    <a:pt x="459" y="20"/>
                  </a:lnTo>
                  <a:lnTo>
                    <a:pt x="459" y="20"/>
                  </a:lnTo>
                  <a:lnTo>
                    <a:pt x="455" y="23"/>
                  </a:lnTo>
                  <a:lnTo>
                    <a:pt x="455" y="23"/>
                  </a:lnTo>
                  <a:lnTo>
                    <a:pt x="448" y="26"/>
                  </a:lnTo>
                  <a:lnTo>
                    <a:pt x="448" y="26"/>
                  </a:lnTo>
                  <a:lnTo>
                    <a:pt x="440" y="29"/>
                  </a:lnTo>
                  <a:lnTo>
                    <a:pt x="438" y="33"/>
                  </a:lnTo>
                  <a:lnTo>
                    <a:pt x="438" y="33"/>
                  </a:lnTo>
                  <a:lnTo>
                    <a:pt x="429" y="36"/>
                  </a:lnTo>
                  <a:lnTo>
                    <a:pt x="429" y="36"/>
                  </a:lnTo>
                  <a:lnTo>
                    <a:pt x="428" y="36"/>
                  </a:lnTo>
                  <a:lnTo>
                    <a:pt x="429" y="35"/>
                  </a:lnTo>
                  <a:lnTo>
                    <a:pt x="429" y="33"/>
                  </a:lnTo>
                  <a:lnTo>
                    <a:pt x="426" y="33"/>
                  </a:lnTo>
                  <a:lnTo>
                    <a:pt x="426" y="33"/>
                  </a:lnTo>
                  <a:lnTo>
                    <a:pt x="432" y="32"/>
                  </a:lnTo>
                  <a:lnTo>
                    <a:pt x="432" y="32"/>
                  </a:lnTo>
                  <a:lnTo>
                    <a:pt x="436" y="30"/>
                  </a:lnTo>
                  <a:lnTo>
                    <a:pt x="436" y="30"/>
                  </a:lnTo>
                  <a:lnTo>
                    <a:pt x="440" y="27"/>
                  </a:lnTo>
                  <a:lnTo>
                    <a:pt x="440" y="27"/>
                  </a:lnTo>
                  <a:lnTo>
                    <a:pt x="438" y="27"/>
                  </a:lnTo>
                  <a:lnTo>
                    <a:pt x="438" y="27"/>
                  </a:lnTo>
                  <a:lnTo>
                    <a:pt x="438" y="27"/>
                  </a:lnTo>
                  <a:lnTo>
                    <a:pt x="439" y="27"/>
                  </a:lnTo>
                  <a:lnTo>
                    <a:pt x="439" y="27"/>
                  </a:lnTo>
                  <a:lnTo>
                    <a:pt x="433" y="30"/>
                  </a:lnTo>
                  <a:lnTo>
                    <a:pt x="429" y="30"/>
                  </a:lnTo>
                  <a:lnTo>
                    <a:pt x="429" y="30"/>
                  </a:lnTo>
                  <a:lnTo>
                    <a:pt x="428" y="30"/>
                  </a:lnTo>
                  <a:lnTo>
                    <a:pt x="429" y="30"/>
                  </a:lnTo>
                  <a:lnTo>
                    <a:pt x="429" y="30"/>
                  </a:lnTo>
                  <a:lnTo>
                    <a:pt x="433" y="27"/>
                  </a:lnTo>
                  <a:lnTo>
                    <a:pt x="433" y="27"/>
                  </a:lnTo>
                  <a:lnTo>
                    <a:pt x="431" y="29"/>
                  </a:lnTo>
                  <a:lnTo>
                    <a:pt x="429" y="29"/>
                  </a:lnTo>
                  <a:lnTo>
                    <a:pt x="429" y="29"/>
                  </a:lnTo>
                  <a:lnTo>
                    <a:pt x="426" y="30"/>
                  </a:lnTo>
                  <a:lnTo>
                    <a:pt x="423" y="30"/>
                  </a:lnTo>
                  <a:lnTo>
                    <a:pt x="423" y="30"/>
                  </a:lnTo>
                  <a:lnTo>
                    <a:pt x="421" y="33"/>
                  </a:lnTo>
                  <a:lnTo>
                    <a:pt x="415" y="35"/>
                  </a:lnTo>
                  <a:lnTo>
                    <a:pt x="402" y="37"/>
                  </a:lnTo>
                  <a:lnTo>
                    <a:pt x="402" y="37"/>
                  </a:lnTo>
                  <a:lnTo>
                    <a:pt x="398" y="40"/>
                  </a:lnTo>
                  <a:lnTo>
                    <a:pt x="398" y="40"/>
                  </a:lnTo>
                  <a:lnTo>
                    <a:pt x="399" y="42"/>
                  </a:lnTo>
                  <a:lnTo>
                    <a:pt x="403" y="40"/>
                  </a:lnTo>
                  <a:lnTo>
                    <a:pt x="403" y="40"/>
                  </a:lnTo>
                  <a:lnTo>
                    <a:pt x="403" y="39"/>
                  </a:lnTo>
                  <a:lnTo>
                    <a:pt x="405" y="39"/>
                  </a:lnTo>
                  <a:lnTo>
                    <a:pt x="411" y="37"/>
                  </a:lnTo>
                  <a:lnTo>
                    <a:pt x="411" y="37"/>
                  </a:lnTo>
                  <a:lnTo>
                    <a:pt x="409" y="37"/>
                  </a:lnTo>
                  <a:lnTo>
                    <a:pt x="406" y="39"/>
                  </a:lnTo>
                  <a:lnTo>
                    <a:pt x="406" y="39"/>
                  </a:lnTo>
                  <a:lnTo>
                    <a:pt x="409" y="39"/>
                  </a:lnTo>
                  <a:lnTo>
                    <a:pt x="415" y="37"/>
                  </a:lnTo>
                  <a:lnTo>
                    <a:pt x="426" y="33"/>
                  </a:lnTo>
                  <a:lnTo>
                    <a:pt x="426" y="33"/>
                  </a:lnTo>
                  <a:lnTo>
                    <a:pt x="411" y="39"/>
                  </a:lnTo>
                  <a:lnTo>
                    <a:pt x="411" y="39"/>
                  </a:lnTo>
                  <a:lnTo>
                    <a:pt x="402" y="43"/>
                  </a:lnTo>
                  <a:lnTo>
                    <a:pt x="402" y="43"/>
                  </a:lnTo>
                  <a:lnTo>
                    <a:pt x="393" y="46"/>
                  </a:lnTo>
                  <a:lnTo>
                    <a:pt x="393" y="46"/>
                  </a:lnTo>
                  <a:lnTo>
                    <a:pt x="376" y="53"/>
                  </a:lnTo>
                  <a:lnTo>
                    <a:pt x="376" y="53"/>
                  </a:lnTo>
                  <a:lnTo>
                    <a:pt x="372" y="55"/>
                  </a:lnTo>
                  <a:lnTo>
                    <a:pt x="372" y="55"/>
                  </a:lnTo>
                  <a:lnTo>
                    <a:pt x="368" y="56"/>
                  </a:lnTo>
                  <a:lnTo>
                    <a:pt x="368" y="56"/>
                  </a:lnTo>
                  <a:lnTo>
                    <a:pt x="361" y="60"/>
                  </a:lnTo>
                  <a:lnTo>
                    <a:pt x="361" y="60"/>
                  </a:lnTo>
                  <a:lnTo>
                    <a:pt x="361" y="60"/>
                  </a:lnTo>
                  <a:lnTo>
                    <a:pt x="361" y="60"/>
                  </a:lnTo>
                  <a:lnTo>
                    <a:pt x="362" y="59"/>
                  </a:lnTo>
                  <a:lnTo>
                    <a:pt x="362" y="59"/>
                  </a:lnTo>
                  <a:lnTo>
                    <a:pt x="358" y="60"/>
                  </a:lnTo>
                  <a:lnTo>
                    <a:pt x="353" y="63"/>
                  </a:lnTo>
                  <a:lnTo>
                    <a:pt x="353" y="63"/>
                  </a:lnTo>
                  <a:lnTo>
                    <a:pt x="352" y="63"/>
                  </a:lnTo>
                  <a:lnTo>
                    <a:pt x="351" y="63"/>
                  </a:lnTo>
                  <a:lnTo>
                    <a:pt x="345" y="66"/>
                  </a:lnTo>
                  <a:lnTo>
                    <a:pt x="345" y="66"/>
                  </a:lnTo>
                  <a:lnTo>
                    <a:pt x="345" y="66"/>
                  </a:lnTo>
                  <a:lnTo>
                    <a:pt x="345" y="65"/>
                  </a:lnTo>
                  <a:lnTo>
                    <a:pt x="346" y="63"/>
                  </a:lnTo>
                  <a:lnTo>
                    <a:pt x="348" y="62"/>
                  </a:lnTo>
                  <a:lnTo>
                    <a:pt x="345" y="63"/>
                  </a:lnTo>
                  <a:lnTo>
                    <a:pt x="345" y="63"/>
                  </a:lnTo>
                  <a:lnTo>
                    <a:pt x="341" y="66"/>
                  </a:lnTo>
                  <a:lnTo>
                    <a:pt x="332" y="70"/>
                  </a:lnTo>
                  <a:lnTo>
                    <a:pt x="332" y="70"/>
                  </a:lnTo>
                  <a:lnTo>
                    <a:pt x="326" y="75"/>
                  </a:lnTo>
                  <a:lnTo>
                    <a:pt x="324" y="76"/>
                  </a:lnTo>
                  <a:lnTo>
                    <a:pt x="319" y="77"/>
                  </a:lnTo>
                  <a:lnTo>
                    <a:pt x="319" y="77"/>
                  </a:lnTo>
                  <a:lnTo>
                    <a:pt x="315" y="80"/>
                  </a:lnTo>
                  <a:lnTo>
                    <a:pt x="315" y="80"/>
                  </a:lnTo>
                  <a:lnTo>
                    <a:pt x="309" y="85"/>
                  </a:lnTo>
                  <a:lnTo>
                    <a:pt x="309" y="85"/>
                  </a:lnTo>
                  <a:lnTo>
                    <a:pt x="299" y="87"/>
                  </a:lnTo>
                  <a:lnTo>
                    <a:pt x="288" y="95"/>
                  </a:lnTo>
                  <a:lnTo>
                    <a:pt x="288" y="95"/>
                  </a:lnTo>
                  <a:lnTo>
                    <a:pt x="275" y="103"/>
                  </a:lnTo>
                  <a:lnTo>
                    <a:pt x="261" y="112"/>
                  </a:lnTo>
                  <a:lnTo>
                    <a:pt x="261" y="112"/>
                  </a:lnTo>
                  <a:lnTo>
                    <a:pt x="261" y="112"/>
                  </a:lnTo>
                  <a:lnTo>
                    <a:pt x="259" y="115"/>
                  </a:lnTo>
                  <a:lnTo>
                    <a:pt x="258" y="116"/>
                  </a:lnTo>
                  <a:lnTo>
                    <a:pt x="255" y="116"/>
                  </a:lnTo>
                  <a:lnTo>
                    <a:pt x="255" y="116"/>
                  </a:lnTo>
                  <a:lnTo>
                    <a:pt x="252" y="119"/>
                  </a:lnTo>
                  <a:lnTo>
                    <a:pt x="254" y="120"/>
                  </a:lnTo>
                  <a:lnTo>
                    <a:pt x="254" y="120"/>
                  </a:lnTo>
                  <a:lnTo>
                    <a:pt x="249" y="123"/>
                  </a:lnTo>
                  <a:lnTo>
                    <a:pt x="249" y="123"/>
                  </a:lnTo>
                  <a:lnTo>
                    <a:pt x="249" y="122"/>
                  </a:lnTo>
                  <a:lnTo>
                    <a:pt x="251" y="117"/>
                  </a:lnTo>
                  <a:lnTo>
                    <a:pt x="251" y="117"/>
                  </a:lnTo>
                  <a:lnTo>
                    <a:pt x="248" y="120"/>
                  </a:lnTo>
                  <a:lnTo>
                    <a:pt x="248" y="122"/>
                  </a:lnTo>
                  <a:lnTo>
                    <a:pt x="247" y="123"/>
                  </a:lnTo>
                  <a:lnTo>
                    <a:pt x="244" y="125"/>
                  </a:lnTo>
                  <a:lnTo>
                    <a:pt x="244" y="125"/>
                  </a:lnTo>
                  <a:lnTo>
                    <a:pt x="244" y="126"/>
                  </a:lnTo>
                  <a:lnTo>
                    <a:pt x="242" y="127"/>
                  </a:lnTo>
                  <a:lnTo>
                    <a:pt x="237" y="132"/>
                  </a:lnTo>
                  <a:lnTo>
                    <a:pt x="237" y="132"/>
                  </a:lnTo>
                  <a:lnTo>
                    <a:pt x="235" y="132"/>
                  </a:lnTo>
                  <a:lnTo>
                    <a:pt x="235" y="132"/>
                  </a:lnTo>
                  <a:lnTo>
                    <a:pt x="238" y="127"/>
                  </a:lnTo>
                  <a:lnTo>
                    <a:pt x="238" y="127"/>
                  </a:lnTo>
                  <a:lnTo>
                    <a:pt x="234" y="130"/>
                  </a:lnTo>
                  <a:lnTo>
                    <a:pt x="234" y="130"/>
                  </a:lnTo>
                  <a:lnTo>
                    <a:pt x="231" y="135"/>
                  </a:lnTo>
                  <a:lnTo>
                    <a:pt x="231" y="135"/>
                  </a:lnTo>
                  <a:lnTo>
                    <a:pt x="222" y="140"/>
                  </a:lnTo>
                  <a:lnTo>
                    <a:pt x="222" y="140"/>
                  </a:lnTo>
                  <a:lnTo>
                    <a:pt x="217" y="147"/>
                  </a:lnTo>
                  <a:lnTo>
                    <a:pt x="211" y="154"/>
                  </a:lnTo>
                  <a:lnTo>
                    <a:pt x="211" y="154"/>
                  </a:lnTo>
                  <a:lnTo>
                    <a:pt x="207" y="157"/>
                  </a:lnTo>
                  <a:lnTo>
                    <a:pt x="204" y="160"/>
                  </a:lnTo>
                  <a:lnTo>
                    <a:pt x="204" y="160"/>
                  </a:lnTo>
                  <a:lnTo>
                    <a:pt x="202" y="160"/>
                  </a:lnTo>
                  <a:lnTo>
                    <a:pt x="202" y="159"/>
                  </a:lnTo>
                  <a:lnTo>
                    <a:pt x="202" y="157"/>
                  </a:lnTo>
                  <a:lnTo>
                    <a:pt x="201" y="159"/>
                  </a:lnTo>
                  <a:lnTo>
                    <a:pt x="201" y="159"/>
                  </a:lnTo>
                  <a:lnTo>
                    <a:pt x="199" y="162"/>
                  </a:lnTo>
                  <a:lnTo>
                    <a:pt x="201" y="162"/>
                  </a:lnTo>
                  <a:lnTo>
                    <a:pt x="201" y="162"/>
                  </a:lnTo>
                  <a:lnTo>
                    <a:pt x="198" y="166"/>
                  </a:lnTo>
                  <a:lnTo>
                    <a:pt x="195" y="169"/>
                  </a:lnTo>
                  <a:lnTo>
                    <a:pt x="195" y="169"/>
                  </a:lnTo>
                  <a:lnTo>
                    <a:pt x="194" y="169"/>
                  </a:lnTo>
                  <a:lnTo>
                    <a:pt x="194" y="169"/>
                  </a:lnTo>
                  <a:lnTo>
                    <a:pt x="194" y="166"/>
                  </a:lnTo>
                  <a:lnTo>
                    <a:pt x="199" y="160"/>
                  </a:lnTo>
                  <a:lnTo>
                    <a:pt x="199" y="160"/>
                  </a:lnTo>
                  <a:lnTo>
                    <a:pt x="198" y="160"/>
                  </a:lnTo>
                  <a:lnTo>
                    <a:pt x="199" y="159"/>
                  </a:lnTo>
                  <a:lnTo>
                    <a:pt x="199" y="159"/>
                  </a:lnTo>
                  <a:lnTo>
                    <a:pt x="187" y="167"/>
                  </a:lnTo>
                  <a:lnTo>
                    <a:pt x="187" y="167"/>
                  </a:lnTo>
                  <a:lnTo>
                    <a:pt x="184" y="170"/>
                  </a:lnTo>
                  <a:lnTo>
                    <a:pt x="184" y="170"/>
                  </a:lnTo>
                  <a:lnTo>
                    <a:pt x="181" y="173"/>
                  </a:lnTo>
                  <a:lnTo>
                    <a:pt x="181" y="173"/>
                  </a:lnTo>
                  <a:lnTo>
                    <a:pt x="175" y="180"/>
                  </a:lnTo>
                  <a:lnTo>
                    <a:pt x="175" y="180"/>
                  </a:lnTo>
                  <a:lnTo>
                    <a:pt x="175" y="182"/>
                  </a:lnTo>
                  <a:lnTo>
                    <a:pt x="175" y="179"/>
                  </a:lnTo>
                  <a:lnTo>
                    <a:pt x="175" y="177"/>
                  </a:lnTo>
                  <a:lnTo>
                    <a:pt x="174" y="179"/>
                  </a:lnTo>
                  <a:lnTo>
                    <a:pt x="174" y="179"/>
                  </a:lnTo>
                  <a:lnTo>
                    <a:pt x="171" y="182"/>
                  </a:lnTo>
                  <a:lnTo>
                    <a:pt x="167" y="186"/>
                  </a:lnTo>
                  <a:lnTo>
                    <a:pt x="167" y="186"/>
                  </a:lnTo>
                  <a:lnTo>
                    <a:pt x="162" y="192"/>
                  </a:lnTo>
                  <a:lnTo>
                    <a:pt x="162" y="192"/>
                  </a:lnTo>
                  <a:lnTo>
                    <a:pt x="158" y="196"/>
                  </a:lnTo>
                  <a:lnTo>
                    <a:pt x="158" y="196"/>
                  </a:lnTo>
                  <a:lnTo>
                    <a:pt x="157" y="200"/>
                  </a:lnTo>
                  <a:lnTo>
                    <a:pt x="157" y="200"/>
                  </a:lnTo>
                  <a:lnTo>
                    <a:pt x="155" y="199"/>
                  </a:lnTo>
                  <a:lnTo>
                    <a:pt x="154" y="199"/>
                  </a:lnTo>
                  <a:lnTo>
                    <a:pt x="154" y="199"/>
                  </a:lnTo>
                  <a:lnTo>
                    <a:pt x="152" y="202"/>
                  </a:lnTo>
                  <a:lnTo>
                    <a:pt x="152" y="203"/>
                  </a:lnTo>
                  <a:lnTo>
                    <a:pt x="152" y="203"/>
                  </a:lnTo>
                  <a:lnTo>
                    <a:pt x="151" y="203"/>
                  </a:lnTo>
                  <a:lnTo>
                    <a:pt x="151" y="203"/>
                  </a:lnTo>
                  <a:lnTo>
                    <a:pt x="151" y="203"/>
                  </a:lnTo>
                  <a:lnTo>
                    <a:pt x="151" y="203"/>
                  </a:lnTo>
                  <a:lnTo>
                    <a:pt x="147" y="207"/>
                  </a:lnTo>
                  <a:lnTo>
                    <a:pt x="145" y="210"/>
                  </a:lnTo>
                  <a:lnTo>
                    <a:pt x="145" y="210"/>
                  </a:lnTo>
                  <a:lnTo>
                    <a:pt x="145" y="210"/>
                  </a:lnTo>
                  <a:lnTo>
                    <a:pt x="142" y="213"/>
                  </a:lnTo>
                  <a:lnTo>
                    <a:pt x="142" y="213"/>
                  </a:lnTo>
                  <a:lnTo>
                    <a:pt x="142" y="213"/>
                  </a:lnTo>
                  <a:lnTo>
                    <a:pt x="142" y="212"/>
                  </a:lnTo>
                  <a:lnTo>
                    <a:pt x="144" y="210"/>
                  </a:lnTo>
                  <a:lnTo>
                    <a:pt x="144" y="210"/>
                  </a:lnTo>
                  <a:lnTo>
                    <a:pt x="141" y="213"/>
                  </a:lnTo>
                  <a:lnTo>
                    <a:pt x="141" y="213"/>
                  </a:lnTo>
                  <a:lnTo>
                    <a:pt x="137" y="217"/>
                  </a:lnTo>
                  <a:lnTo>
                    <a:pt x="137" y="217"/>
                  </a:lnTo>
                  <a:lnTo>
                    <a:pt x="131" y="224"/>
                  </a:lnTo>
                  <a:lnTo>
                    <a:pt x="131" y="224"/>
                  </a:lnTo>
                  <a:lnTo>
                    <a:pt x="124" y="232"/>
                  </a:lnTo>
                  <a:lnTo>
                    <a:pt x="121" y="237"/>
                  </a:lnTo>
                  <a:lnTo>
                    <a:pt x="121" y="237"/>
                  </a:lnTo>
                  <a:lnTo>
                    <a:pt x="115" y="244"/>
                  </a:lnTo>
                  <a:lnTo>
                    <a:pt x="111" y="249"/>
                  </a:lnTo>
                  <a:lnTo>
                    <a:pt x="111" y="249"/>
                  </a:lnTo>
                  <a:lnTo>
                    <a:pt x="108" y="257"/>
                  </a:lnTo>
                  <a:lnTo>
                    <a:pt x="104" y="266"/>
                  </a:lnTo>
                  <a:lnTo>
                    <a:pt x="104" y="266"/>
                  </a:lnTo>
                  <a:lnTo>
                    <a:pt x="110" y="260"/>
                  </a:lnTo>
                  <a:lnTo>
                    <a:pt x="110" y="260"/>
                  </a:lnTo>
                  <a:lnTo>
                    <a:pt x="105" y="264"/>
                  </a:lnTo>
                  <a:lnTo>
                    <a:pt x="105" y="264"/>
                  </a:lnTo>
                  <a:lnTo>
                    <a:pt x="102" y="269"/>
                  </a:lnTo>
                  <a:lnTo>
                    <a:pt x="102" y="269"/>
                  </a:lnTo>
                  <a:lnTo>
                    <a:pt x="102" y="269"/>
                  </a:lnTo>
                  <a:lnTo>
                    <a:pt x="102" y="267"/>
                  </a:lnTo>
                  <a:lnTo>
                    <a:pt x="104" y="266"/>
                  </a:lnTo>
                  <a:lnTo>
                    <a:pt x="104" y="266"/>
                  </a:lnTo>
                  <a:lnTo>
                    <a:pt x="90" y="283"/>
                  </a:lnTo>
                  <a:lnTo>
                    <a:pt x="90" y="283"/>
                  </a:lnTo>
                  <a:lnTo>
                    <a:pt x="90" y="283"/>
                  </a:lnTo>
                  <a:lnTo>
                    <a:pt x="90" y="283"/>
                  </a:lnTo>
                  <a:lnTo>
                    <a:pt x="90" y="280"/>
                  </a:lnTo>
                  <a:lnTo>
                    <a:pt x="90" y="280"/>
                  </a:lnTo>
                  <a:lnTo>
                    <a:pt x="87" y="284"/>
                  </a:lnTo>
                  <a:lnTo>
                    <a:pt x="84" y="290"/>
                  </a:lnTo>
                  <a:lnTo>
                    <a:pt x="84" y="290"/>
                  </a:lnTo>
                  <a:lnTo>
                    <a:pt x="84" y="292"/>
                  </a:lnTo>
                  <a:lnTo>
                    <a:pt x="82" y="296"/>
                  </a:lnTo>
                  <a:lnTo>
                    <a:pt x="77" y="304"/>
                  </a:lnTo>
                  <a:lnTo>
                    <a:pt x="77" y="304"/>
                  </a:lnTo>
                  <a:lnTo>
                    <a:pt x="70" y="314"/>
                  </a:lnTo>
                  <a:lnTo>
                    <a:pt x="70" y="314"/>
                  </a:lnTo>
                  <a:lnTo>
                    <a:pt x="65" y="324"/>
                  </a:lnTo>
                  <a:lnTo>
                    <a:pt x="70" y="316"/>
                  </a:lnTo>
                  <a:lnTo>
                    <a:pt x="70" y="316"/>
                  </a:lnTo>
                  <a:lnTo>
                    <a:pt x="75" y="306"/>
                  </a:lnTo>
                  <a:lnTo>
                    <a:pt x="75" y="306"/>
                  </a:lnTo>
                  <a:lnTo>
                    <a:pt x="87" y="289"/>
                  </a:lnTo>
                  <a:lnTo>
                    <a:pt x="87" y="289"/>
                  </a:lnTo>
                  <a:lnTo>
                    <a:pt x="84" y="296"/>
                  </a:lnTo>
                  <a:lnTo>
                    <a:pt x="80" y="301"/>
                  </a:lnTo>
                  <a:lnTo>
                    <a:pt x="80" y="301"/>
                  </a:lnTo>
                  <a:lnTo>
                    <a:pt x="81" y="301"/>
                  </a:lnTo>
                  <a:lnTo>
                    <a:pt x="82" y="300"/>
                  </a:lnTo>
                  <a:lnTo>
                    <a:pt x="85" y="294"/>
                  </a:lnTo>
                  <a:lnTo>
                    <a:pt x="85" y="294"/>
                  </a:lnTo>
                  <a:lnTo>
                    <a:pt x="82" y="303"/>
                  </a:lnTo>
                  <a:lnTo>
                    <a:pt x="82" y="303"/>
                  </a:lnTo>
                  <a:lnTo>
                    <a:pt x="81" y="303"/>
                  </a:lnTo>
                  <a:lnTo>
                    <a:pt x="80" y="304"/>
                  </a:lnTo>
                  <a:lnTo>
                    <a:pt x="80" y="304"/>
                  </a:lnTo>
                  <a:lnTo>
                    <a:pt x="77" y="310"/>
                  </a:lnTo>
                  <a:lnTo>
                    <a:pt x="77" y="314"/>
                  </a:lnTo>
                  <a:lnTo>
                    <a:pt x="77" y="314"/>
                  </a:lnTo>
                  <a:lnTo>
                    <a:pt x="74" y="319"/>
                  </a:lnTo>
                  <a:lnTo>
                    <a:pt x="71" y="324"/>
                  </a:lnTo>
                  <a:lnTo>
                    <a:pt x="71" y="324"/>
                  </a:lnTo>
                  <a:lnTo>
                    <a:pt x="71" y="323"/>
                  </a:lnTo>
                  <a:lnTo>
                    <a:pt x="72" y="320"/>
                  </a:lnTo>
                  <a:lnTo>
                    <a:pt x="72" y="320"/>
                  </a:lnTo>
                  <a:lnTo>
                    <a:pt x="74" y="317"/>
                  </a:lnTo>
                  <a:lnTo>
                    <a:pt x="74" y="317"/>
                  </a:lnTo>
                  <a:lnTo>
                    <a:pt x="74" y="313"/>
                  </a:lnTo>
                  <a:lnTo>
                    <a:pt x="74" y="313"/>
                  </a:lnTo>
                  <a:lnTo>
                    <a:pt x="72" y="314"/>
                  </a:lnTo>
                  <a:lnTo>
                    <a:pt x="72" y="314"/>
                  </a:lnTo>
                  <a:lnTo>
                    <a:pt x="72" y="313"/>
                  </a:lnTo>
                  <a:lnTo>
                    <a:pt x="72" y="313"/>
                  </a:lnTo>
                  <a:lnTo>
                    <a:pt x="71" y="320"/>
                  </a:lnTo>
                  <a:lnTo>
                    <a:pt x="70" y="326"/>
                  </a:lnTo>
                  <a:lnTo>
                    <a:pt x="65" y="330"/>
                  </a:lnTo>
                  <a:lnTo>
                    <a:pt x="65" y="330"/>
                  </a:lnTo>
                  <a:lnTo>
                    <a:pt x="65" y="331"/>
                  </a:lnTo>
                  <a:lnTo>
                    <a:pt x="65" y="330"/>
                  </a:lnTo>
                  <a:lnTo>
                    <a:pt x="65" y="327"/>
                  </a:lnTo>
                  <a:lnTo>
                    <a:pt x="65" y="327"/>
                  </a:lnTo>
                  <a:lnTo>
                    <a:pt x="64" y="330"/>
                  </a:lnTo>
                  <a:lnTo>
                    <a:pt x="63" y="334"/>
                  </a:lnTo>
                  <a:lnTo>
                    <a:pt x="61" y="339"/>
                  </a:lnTo>
                  <a:lnTo>
                    <a:pt x="60" y="343"/>
                  </a:lnTo>
                  <a:lnTo>
                    <a:pt x="60" y="343"/>
                  </a:lnTo>
                  <a:lnTo>
                    <a:pt x="58" y="344"/>
                  </a:lnTo>
                  <a:lnTo>
                    <a:pt x="58" y="343"/>
                  </a:lnTo>
                  <a:lnTo>
                    <a:pt x="57" y="343"/>
                  </a:lnTo>
                  <a:lnTo>
                    <a:pt x="55" y="344"/>
                  </a:lnTo>
                  <a:lnTo>
                    <a:pt x="55" y="344"/>
                  </a:lnTo>
                  <a:lnTo>
                    <a:pt x="55" y="344"/>
                  </a:lnTo>
                  <a:lnTo>
                    <a:pt x="57" y="344"/>
                  </a:lnTo>
                  <a:lnTo>
                    <a:pt x="57" y="344"/>
                  </a:lnTo>
                  <a:lnTo>
                    <a:pt x="55" y="347"/>
                  </a:lnTo>
                  <a:lnTo>
                    <a:pt x="55" y="349"/>
                  </a:lnTo>
                  <a:lnTo>
                    <a:pt x="55" y="350"/>
                  </a:lnTo>
                  <a:lnTo>
                    <a:pt x="55" y="350"/>
                  </a:lnTo>
                  <a:lnTo>
                    <a:pt x="54" y="354"/>
                  </a:lnTo>
                  <a:lnTo>
                    <a:pt x="53" y="357"/>
                  </a:lnTo>
                  <a:lnTo>
                    <a:pt x="53" y="357"/>
                  </a:lnTo>
                  <a:lnTo>
                    <a:pt x="53" y="357"/>
                  </a:lnTo>
                  <a:lnTo>
                    <a:pt x="51" y="361"/>
                  </a:lnTo>
                  <a:lnTo>
                    <a:pt x="50" y="364"/>
                  </a:lnTo>
                  <a:lnTo>
                    <a:pt x="50" y="364"/>
                  </a:lnTo>
                  <a:lnTo>
                    <a:pt x="50" y="360"/>
                  </a:lnTo>
                  <a:lnTo>
                    <a:pt x="50" y="359"/>
                  </a:lnTo>
                  <a:lnTo>
                    <a:pt x="48" y="357"/>
                  </a:lnTo>
                  <a:lnTo>
                    <a:pt x="48" y="357"/>
                  </a:lnTo>
                  <a:lnTo>
                    <a:pt x="45" y="369"/>
                  </a:lnTo>
                  <a:lnTo>
                    <a:pt x="45" y="369"/>
                  </a:lnTo>
                  <a:lnTo>
                    <a:pt x="44" y="370"/>
                  </a:lnTo>
                  <a:lnTo>
                    <a:pt x="43" y="371"/>
                  </a:lnTo>
                  <a:lnTo>
                    <a:pt x="43" y="371"/>
                  </a:lnTo>
                  <a:lnTo>
                    <a:pt x="34" y="391"/>
                  </a:lnTo>
                  <a:lnTo>
                    <a:pt x="34" y="391"/>
                  </a:lnTo>
                  <a:lnTo>
                    <a:pt x="33" y="391"/>
                  </a:lnTo>
                  <a:lnTo>
                    <a:pt x="34" y="390"/>
                  </a:lnTo>
                  <a:lnTo>
                    <a:pt x="34" y="384"/>
                  </a:lnTo>
                  <a:lnTo>
                    <a:pt x="34" y="384"/>
                  </a:lnTo>
                  <a:lnTo>
                    <a:pt x="33" y="390"/>
                  </a:lnTo>
                  <a:lnTo>
                    <a:pt x="31" y="394"/>
                  </a:lnTo>
                  <a:lnTo>
                    <a:pt x="31" y="399"/>
                  </a:lnTo>
                  <a:lnTo>
                    <a:pt x="28" y="404"/>
                  </a:lnTo>
                  <a:lnTo>
                    <a:pt x="28" y="404"/>
                  </a:lnTo>
                  <a:lnTo>
                    <a:pt x="27" y="409"/>
                  </a:lnTo>
                  <a:lnTo>
                    <a:pt x="27" y="411"/>
                  </a:lnTo>
                  <a:lnTo>
                    <a:pt x="27" y="411"/>
                  </a:lnTo>
                  <a:lnTo>
                    <a:pt x="27" y="413"/>
                  </a:lnTo>
                  <a:lnTo>
                    <a:pt x="27" y="411"/>
                  </a:lnTo>
                  <a:lnTo>
                    <a:pt x="30" y="407"/>
                  </a:lnTo>
                  <a:lnTo>
                    <a:pt x="30" y="407"/>
                  </a:lnTo>
                  <a:lnTo>
                    <a:pt x="28" y="411"/>
                  </a:lnTo>
                  <a:lnTo>
                    <a:pt x="28" y="411"/>
                  </a:lnTo>
                  <a:lnTo>
                    <a:pt x="24" y="421"/>
                  </a:lnTo>
                  <a:lnTo>
                    <a:pt x="24" y="421"/>
                  </a:lnTo>
                  <a:lnTo>
                    <a:pt x="23" y="426"/>
                  </a:lnTo>
                  <a:lnTo>
                    <a:pt x="23" y="426"/>
                  </a:lnTo>
                  <a:lnTo>
                    <a:pt x="21" y="431"/>
                  </a:lnTo>
                  <a:lnTo>
                    <a:pt x="21" y="431"/>
                  </a:lnTo>
                  <a:lnTo>
                    <a:pt x="20" y="429"/>
                  </a:lnTo>
                  <a:lnTo>
                    <a:pt x="21" y="426"/>
                  </a:lnTo>
                  <a:lnTo>
                    <a:pt x="21" y="426"/>
                  </a:lnTo>
                  <a:lnTo>
                    <a:pt x="24" y="419"/>
                  </a:lnTo>
                  <a:lnTo>
                    <a:pt x="24" y="419"/>
                  </a:lnTo>
                  <a:lnTo>
                    <a:pt x="27" y="409"/>
                  </a:lnTo>
                  <a:lnTo>
                    <a:pt x="27" y="409"/>
                  </a:lnTo>
                  <a:lnTo>
                    <a:pt x="23" y="417"/>
                  </a:lnTo>
                  <a:lnTo>
                    <a:pt x="21" y="421"/>
                  </a:lnTo>
                  <a:lnTo>
                    <a:pt x="20" y="427"/>
                  </a:lnTo>
                  <a:lnTo>
                    <a:pt x="20" y="427"/>
                  </a:lnTo>
                  <a:lnTo>
                    <a:pt x="18" y="429"/>
                  </a:lnTo>
                  <a:lnTo>
                    <a:pt x="18" y="429"/>
                  </a:lnTo>
                  <a:lnTo>
                    <a:pt x="18" y="427"/>
                  </a:lnTo>
                  <a:lnTo>
                    <a:pt x="17" y="429"/>
                  </a:lnTo>
                  <a:lnTo>
                    <a:pt x="17" y="429"/>
                  </a:lnTo>
                  <a:lnTo>
                    <a:pt x="17" y="434"/>
                  </a:lnTo>
                  <a:lnTo>
                    <a:pt x="14" y="441"/>
                  </a:lnTo>
                  <a:lnTo>
                    <a:pt x="14" y="441"/>
                  </a:lnTo>
                  <a:lnTo>
                    <a:pt x="13" y="450"/>
                  </a:lnTo>
                  <a:lnTo>
                    <a:pt x="13" y="450"/>
                  </a:lnTo>
                  <a:lnTo>
                    <a:pt x="11" y="454"/>
                  </a:lnTo>
                  <a:lnTo>
                    <a:pt x="11" y="454"/>
                  </a:lnTo>
                  <a:lnTo>
                    <a:pt x="10" y="458"/>
                  </a:lnTo>
                  <a:lnTo>
                    <a:pt x="10" y="458"/>
                  </a:lnTo>
                  <a:lnTo>
                    <a:pt x="10" y="458"/>
                  </a:lnTo>
                  <a:lnTo>
                    <a:pt x="10" y="457"/>
                  </a:lnTo>
                  <a:lnTo>
                    <a:pt x="10" y="453"/>
                  </a:lnTo>
                  <a:lnTo>
                    <a:pt x="10" y="453"/>
                  </a:lnTo>
                  <a:lnTo>
                    <a:pt x="8" y="457"/>
                  </a:lnTo>
                  <a:lnTo>
                    <a:pt x="7" y="460"/>
                  </a:lnTo>
                  <a:lnTo>
                    <a:pt x="7" y="460"/>
                  </a:lnTo>
                  <a:lnTo>
                    <a:pt x="4" y="468"/>
                  </a:lnTo>
                  <a:lnTo>
                    <a:pt x="3" y="478"/>
                  </a:lnTo>
                  <a:lnTo>
                    <a:pt x="3" y="478"/>
                  </a:lnTo>
                  <a:lnTo>
                    <a:pt x="1" y="483"/>
                  </a:lnTo>
                  <a:lnTo>
                    <a:pt x="0" y="487"/>
                  </a:lnTo>
                  <a:lnTo>
                    <a:pt x="0" y="487"/>
                  </a:lnTo>
                  <a:lnTo>
                    <a:pt x="0" y="501"/>
                  </a:lnTo>
                  <a:lnTo>
                    <a:pt x="0" y="501"/>
                  </a:lnTo>
                  <a:lnTo>
                    <a:pt x="1" y="493"/>
                  </a:lnTo>
                  <a:lnTo>
                    <a:pt x="3" y="486"/>
                  </a:lnTo>
                  <a:lnTo>
                    <a:pt x="3" y="486"/>
                  </a:lnTo>
                  <a:lnTo>
                    <a:pt x="3" y="484"/>
                  </a:lnTo>
                  <a:lnTo>
                    <a:pt x="3" y="484"/>
                  </a:lnTo>
                  <a:lnTo>
                    <a:pt x="3" y="484"/>
                  </a:lnTo>
                  <a:lnTo>
                    <a:pt x="3" y="480"/>
                  </a:lnTo>
                  <a:lnTo>
                    <a:pt x="4" y="476"/>
                  </a:lnTo>
                  <a:lnTo>
                    <a:pt x="4" y="476"/>
                  </a:lnTo>
                  <a:lnTo>
                    <a:pt x="5" y="476"/>
                  </a:lnTo>
                  <a:lnTo>
                    <a:pt x="4" y="477"/>
                  </a:lnTo>
                  <a:lnTo>
                    <a:pt x="4" y="480"/>
                  </a:lnTo>
                  <a:lnTo>
                    <a:pt x="4" y="480"/>
                  </a:lnTo>
                  <a:lnTo>
                    <a:pt x="8" y="473"/>
                  </a:lnTo>
                  <a:lnTo>
                    <a:pt x="10" y="468"/>
                  </a:lnTo>
                  <a:lnTo>
                    <a:pt x="10" y="463"/>
                  </a:lnTo>
                  <a:lnTo>
                    <a:pt x="10" y="463"/>
                  </a:lnTo>
                  <a:lnTo>
                    <a:pt x="13" y="458"/>
                  </a:lnTo>
                  <a:lnTo>
                    <a:pt x="14" y="453"/>
                  </a:lnTo>
                  <a:lnTo>
                    <a:pt x="14" y="453"/>
                  </a:lnTo>
                  <a:lnTo>
                    <a:pt x="18" y="439"/>
                  </a:lnTo>
                  <a:lnTo>
                    <a:pt x="18" y="439"/>
                  </a:lnTo>
                  <a:lnTo>
                    <a:pt x="20" y="437"/>
                  </a:lnTo>
                  <a:lnTo>
                    <a:pt x="21" y="434"/>
                  </a:lnTo>
                  <a:lnTo>
                    <a:pt x="21" y="434"/>
                  </a:lnTo>
                  <a:lnTo>
                    <a:pt x="24" y="426"/>
                  </a:lnTo>
                  <a:lnTo>
                    <a:pt x="24" y="426"/>
                  </a:lnTo>
                  <a:lnTo>
                    <a:pt x="28" y="417"/>
                  </a:lnTo>
                  <a:lnTo>
                    <a:pt x="28" y="417"/>
                  </a:lnTo>
                  <a:lnTo>
                    <a:pt x="34" y="400"/>
                  </a:lnTo>
                  <a:lnTo>
                    <a:pt x="34" y="400"/>
                  </a:lnTo>
                  <a:lnTo>
                    <a:pt x="35" y="399"/>
                  </a:lnTo>
                  <a:lnTo>
                    <a:pt x="38" y="394"/>
                  </a:lnTo>
                  <a:lnTo>
                    <a:pt x="40" y="391"/>
                  </a:lnTo>
                  <a:lnTo>
                    <a:pt x="40" y="391"/>
                  </a:lnTo>
                  <a:lnTo>
                    <a:pt x="40" y="393"/>
                  </a:lnTo>
                  <a:lnTo>
                    <a:pt x="40" y="393"/>
                  </a:lnTo>
                  <a:lnTo>
                    <a:pt x="44" y="381"/>
                  </a:lnTo>
                  <a:lnTo>
                    <a:pt x="44" y="381"/>
                  </a:lnTo>
                  <a:lnTo>
                    <a:pt x="40" y="387"/>
                  </a:lnTo>
                  <a:lnTo>
                    <a:pt x="40" y="387"/>
                  </a:lnTo>
                  <a:lnTo>
                    <a:pt x="43" y="380"/>
                  </a:lnTo>
                  <a:lnTo>
                    <a:pt x="43" y="380"/>
                  </a:lnTo>
                  <a:lnTo>
                    <a:pt x="44" y="380"/>
                  </a:lnTo>
                  <a:lnTo>
                    <a:pt x="44" y="381"/>
                  </a:lnTo>
                  <a:lnTo>
                    <a:pt x="44" y="381"/>
                  </a:lnTo>
                  <a:lnTo>
                    <a:pt x="45" y="379"/>
                  </a:lnTo>
                  <a:lnTo>
                    <a:pt x="48" y="374"/>
                  </a:lnTo>
                  <a:lnTo>
                    <a:pt x="48" y="374"/>
                  </a:lnTo>
                  <a:lnTo>
                    <a:pt x="48" y="373"/>
                  </a:lnTo>
                  <a:lnTo>
                    <a:pt x="48" y="371"/>
                  </a:lnTo>
                  <a:lnTo>
                    <a:pt x="48" y="371"/>
                  </a:lnTo>
                  <a:lnTo>
                    <a:pt x="51" y="369"/>
                  </a:lnTo>
                  <a:lnTo>
                    <a:pt x="53" y="364"/>
                  </a:lnTo>
                  <a:lnTo>
                    <a:pt x="53" y="364"/>
                  </a:lnTo>
                  <a:lnTo>
                    <a:pt x="54" y="361"/>
                  </a:lnTo>
                  <a:lnTo>
                    <a:pt x="55" y="359"/>
                  </a:lnTo>
                  <a:lnTo>
                    <a:pt x="55" y="359"/>
                  </a:lnTo>
                  <a:lnTo>
                    <a:pt x="55" y="359"/>
                  </a:lnTo>
                  <a:lnTo>
                    <a:pt x="55" y="360"/>
                  </a:lnTo>
                  <a:lnTo>
                    <a:pt x="55" y="361"/>
                  </a:lnTo>
                  <a:lnTo>
                    <a:pt x="57" y="360"/>
                  </a:lnTo>
                  <a:lnTo>
                    <a:pt x="57" y="360"/>
                  </a:lnTo>
                  <a:lnTo>
                    <a:pt x="58" y="354"/>
                  </a:lnTo>
                  <a:lnTo>
                    <a:pt x="63" y="346"/>
                  </a:lnTo>
                  <a:lnTo>
                    <a:pt x="63" y="346"/>
                  </a:lnTo>
                  <a:lnTo>
                    <a:pt x="67" y="339"/>
                  </a:lnTo>
                  <a:lnTo>
                    <a:pt x="71" y="334"/>
                  </a:lnTo>
                  <a:lnTo>
                    <a:pt x="71" y="334"/>
                  </a:lnTo>
                  <a:lnTo>
                    <a:pt x="71" y="331"/>
                  </a:lnTo>
                  <a:lnTo>
                    <a:pt x="71" y="331"/>
                  </a:lnTo>
                  <a:lnTo>
                    <a:pt x="71" y="329"/>
                  </a:lnTo>
                  <a:lnTo>
                    <a:pt x="71" y="329"/>
                  </a:lnTo>
                  <a:lnTo>
                    <a:pt x="72" y="326"/>
                  </a:lnTo>
                  <a:lnTo>
                    <a:pt x="72" y="326"/>
                  </a:lnTo>
                  <a:lnTo>
                    <a:pt x="75" y="324"/>
                  </a:lnTo>
                  <a:lnTo>
                    <a:pt x="78" y="323"/>
                  </a:lnTo>
                  <a:lnTo>
                    <a:pt x="78" y="323"/>
                  </a:lnTo>
                  <a:lnTo>
                    <a:pt x="78" y="319"/>
                  </a:lnTo>
                  <a:lnTo>
                    <a:pt x="78" y="319"/>
                  </a:lnTo>
                  <a:lnTo>
                    <a:pt x="81" y="316"/>
                  </a:lnTo>
                  <a:lnTo>
                    <a:pt x="81" y="316"/>
                  </a:lnTo>
                  <a:lnTo>
                    <a:pt x="85" y="309"/>
                  </a:lnTo>
                  <a:lnTo>
                    <a:pt x="85" y="309"/>
                  </a:lnTo>
                  <a:lnTo>
                    <a:pt x="95" y="293"/>
                  </a:lnTo>
                  <a:lnTo>
                    <a:pt x="95" y="293"/>
                  </a:lnTo>
                  <a:lnTo>
                    <a:pt x="97" y="289"/>
                  </a:lnTo>
                  <a:lnTo>
                    <a:pt x="98" y="286"/>
                  </a:lnTo>
                  <a:lnTo>
                    <a:pt x="98" y="286"/>
                  </a:lnTo>
                  <a:lnTo>
                    <a:pt x="97" y="287"/>
                  </a:lnTo>
                  <a:lnTo>
                    <a:pt x="95" y="290"/>
                  </a:lnTo>
                  <a:lnTo>
                    <a:pt x="95" y="292"/>
                  </a:lnTo>
                  <a:lnTo>
                    <a:pt x="94" y="294"/>
                  </a:lnTo>
                  <a:lnTo>
                    <a:pt x="94" y="294"/>
                  </a:lnTo>
                  <a:lnTo>
                    <a:pt x="94" y="293"/>
                  </a:lnTo>
                  <a:lnTo>
                    <a:pt x="91" y="294"/>
                  </a:lnTo>
                  <a:lnTo>
                    <a:pt x="91" y="294"/>
                  </a:lnTo>
                  <a:lnTo>
                    <a:pt x="92" y="289"/>
                  </a:lnTo>
                  <a:lnTo>
                    <a:pt x="95" y="284"/>
                  </a:lnTo>
                  <a:lnTo>
                    <a:pt x="98" y="282"/>
                  </a:lnTo>
                  <a:lnTo>
                    <a:pt x="101" y="280"/>
                  </a:lnTo>
                  <a:lnTo>
                    <a:pt x="101" y="280"/>
                  </a:lnTo>
                  <a:lnTo>
                    <a:pt x="100" y="283"/>
                  </a:lnTo>
                  <a:lnTo>
                    <a:pt x="98" y="284"/>
                  </a:lnTo>
                  <a:lnTo>
                    <a:pt x="97" y="286"/>
                  </a:lnTo>
                  <a:lnTo>
                    <a:pt x="95" y="289"/>
                  </a:lnTo>
                  <a:lnTo>
                    <a:pt x="95" y="289"/>
                  </a:lnTo>
                  <a:lnTo>
                    <a:pt x="100" y="284"/>
                  </a:lnTo>
                  <a:lnTo>
                    <a:pt x="100" y="286"/>
                  </a:lnTo>
                  <a:lnTo>
                    <a:pt x="100" y="287"/>
                  </a:lnTo>
                  <a:lnTo>
                    <a:pt x="100" y="287"/>
                  </a:lnTo>
                  <a:lnTo>
                    <a:pt x="112" y="270"/>
                  </a:lnTo>
                  <a:lnTo>
                    <a:pt x="112" y="270"/>
                  </a:lnTo>
                  <a:lnTo>
                    <a:pt x="112" y="272"/>
                  </a:lnTo>
                  <a:lnTo>
                    <a:pt x="112" y="272"/>
                  </a:lnTo>
                  <a:lnTo>
                    <a:pt x="117" y="267"/>
                  </a:lnTo>
                  <a:lnTo>
                    <a:pt x="117" y="267"/>
                  </a:lnTo>
                  <a:lnTo>
                    <a:pt x="114" y="272"/>
                  </a:lnTo>
                  <a:lnTo>
                    <a:pt x="110" y="276"/>
                  </a:lnTo>
                  <a:lnTo>
                    <a:pt x="110" y="276"/>
                  </a:lnTo>
                  <a:lnTo>
                    <a:pt x="110" y="277"/>
                  </a:lnTo>
                  <a:lnTo>
                    <a:pt x="110" y="276"/>
                  </a:lnTo>
                  <a:lnTo>
                    <a:pt x="111" y="276"/>
                  </a:lnTo>
                  <a:lnTo>
                    <a:pt x="111" y="277"/>
                  </a:lnTo>
                  <a:lnTo>
                    <a:pt x="111" y="277"/>
                  </a:lnTo>
                  <a:lnTo>
                    <a:pt x="114" y="272"/>
                  </a:lnTo>
                  <a:lnTo>
                    <a:pt x="118" y="267"/>
                  </a:lnTo>
                  <a:lnTo>
                    <a:pt x="118" y="267"/>
                  </a:lnTo>
                  <a:lnTo>
                    <a:pt x="118" y="266"/>
                  </a:lnTo>
                  <a:lnTo>
                    <a:pt x="117" y="266"/>
                  </a:lnTo>
                  <a:lnTo>
                    <a:pt x="114" y="269"/>
                  </a:lnTo>
                  <a:lnTo>
                    <a:pt x="114" y="269"/>
                  </a:lnTo>
                  <a:lnTo>
                    <a:pt x="120" y="262"/>
                  </a:lnTo>
                  <a:lnTo>
                    <a:pt x="125" y="253"/>
                  </a:lnTo>
                  <a:lnTo>
                    <a:pt x="125" y="253"/>
                  </a:lnTo>
                  <a:lnTo>
                    <a:pt x="124" y="252"/>
                  </a:lnTo>
                  <a:lnTo>
                    <a:pt x="122" y="252"/>
                  </a:lnTo>
                  <a:lnTo>
                    <a:pt x="122" y="250"/>
                  </a:lnTo>
                  <a:lnTo>
                    <a:pt x="122" y="250"/>
                  </a:lnTo>
                  <a:lnTo>
                    <a:pt x="125" y="249"/>
                  </a:lnTo>
                  <a:lnTo>
                    <a:pt x="125" y="249"/>
                  </a:lnTo>
                  <a:lnTo>
                    <a:pt x="127" y="249"/>
                  </a:lnTo>
                  <a:lnTo>
                    <a:pt x="128" y="247"/>
                  </a:lnTo>
                  <a:lnTo>
                    <a:pt x="128" y="247"/>
                  </a:lnTo>
                  <a:lnTo>
                    <a:pt x="128" y="249"/>
                  </a:lnTo>
                  <a:lnTo>
                    <a:pt x="127" y="252"/>
                  </a:lnTo>
                  <a:lnTo>
                    <a:pt x="127" y="252"/>
                  </a:lnTo>
                  <a:lnTo>
                    <a:pt x="131" y="247"/>
                  </a:lnTo>
                  <a:lnTo>
                    <a:pt x="131" y="247"/>
                  </a:lnTo>
                  <a:lnTo>
                    <a:pt x="137" y="240"/>
                  </a:lnTo>
                  <a:lnTo>
                    <a:pt x="137" y="240"/>
                  </a:lnTo>
                  <a:lnTo>
                    <a:pt x="142" y="234"/>
                  </a:lnTo>
                  <a:lnTo>
                    <a:pt x="148" y="230"/>
                  </a:lnTo>
                  <a:lnTo>
                    <a:pt x="148" y="230"/>
                  </a:lnTo>
                  <a:lnTo>
                    <a:pt x="151" y="224"/>
                  </a:lnTo>
                  <a:lnTo>
                    <a:pt x="151" y="224"/>
                  </a:lnTo>
                  <a:lnTo>
                    <a:pt x="157" y="219"/>
                  </a:lnTo>
                  <a:lnTo>
                    <a:pt x="157" y="219"/>
                  </a:lnTo>
                  <a:lnTo>
                    <a:pt x="167" y="209"/>
                  </a:lnTo>
                  <a:lnTo>
                    <a:pt x="167" y="209"/>
                  </a:lnTo>
                  <a:lnTo>
                    <a:pt x="167" y="209"/>
                  </a:lnTo>
                  <a:lnTo>
                    <a:pt x="167" y="209"/>
                  </a:lnTo>
                  <a:lnTo>
                    <a:pt x="165" y="212"/>
                  </a:lnTo>
                  <a:lnTo>
                    <a:pt x="164" y="214"/>
                  </a:lnTo>
                  <a:lnTo>
                    <a:pt x="164" y="216"/>
                  </a:lnTo>
                  <a:lnTo>
                    <a:pt x="164" y="216"/>
                  </a:lnTo>
                  <a:lnTo>
                    <a:pt x="167" y="213"/>
                  </a:lnTo>
                  <a:lnTo>
                    <a:pt x="168" y="210"/>
                  </a:lnTo>
                  <a:lnTo>
                    <a:pt x="169" y="209"/>
                  </a:lnTo>
                  <a:lnTo>
                    <a:pt x="171" y="209"/>
                  </a:lnTo>
                  <a:lnTo>
                    <a:pt x="171" y="209"/>
                  </a:lnTo>
                  <a:lnTo>
                    <a:pt x="171" y="207"/>
                  </a:lnTo>
                  <a:lnTo>
                    <a:pt x="169" y="207"/>
                  </a:lnTo>
                  <a:lnTo>
                    <a:pt x="169" y="207"/>
                  </a:lnTo>
                  <a:lnTo>
                    <a:pt x="172" y="202"/>
                  </a:lnTo>
                  <a:lnTo>
                    <a:pt x="172" y="202"/>
                  </a:lnTo>
                  <a:lnTo>
                    <a:pt x="177" y="197"/>
                  </a:lnTo>
                  <a:lnTo>
                    <a:pt x="177" y="197"/>
                  </a:lnTo>
                  <a:lnTo>
                    <a:pt x="187" y="190"/>
                  </a:lnTo>
                  <a:lnTo>
                    <a:pt x="187" y="190"/>
                  </a:lnTo>
                  <a:lnTo>
                    <a:pt x="188" y="187"/>
                  </a:lnTo>
                  <a:lnTo>
                    <a:pt x="189" y="183"/>
                  </a:lnTo>
                  <a:lnTo>
                    <a:pt x="189" y="183"/>
                  </a:lnTo>
                  <a:lnTo>
                    <a:pt x="194" y="180"/>
                  </a:lnTo>
                  <a:lnTo>
                    <a:pt x="194" y="180"/>
                  </a:lnTo>
                  <a:lnTo>
                    <a:pt x="197" y="177"/>
                  </a:lnTo>
                  <a:lnTo>
                    <a:pt x="197" y="177"/>
                  </a:lnTo>
                  <a:lnTo>
                    <a:pt x="198" y="177"/>
                  </a:lnTo>
                  <a:lnTo>
                    <a:pt x="198" y="179"/>
                  </a:lnTo>
                  <a:lnTo>
                    <a:pt x="197" y="180"/>
                  </a:lnTo>
                  <a:lnTo>
                    <a:pt x="197" y="180"/>
                  </a:lnTo>
                  <a:lnTo>
                    <a:pt x="191" y="183"/>
                  </a:lnTo>
                  <a:lnTo>
                    <a:pt x="191" y="183"/>
                  </a:lnTo>
                  <a:lnTo>
                    <a:pt x="191" y="184"/>
                  </a:lnTo>
                  <a:lnTo>
                    <a:pt x="191" y="184"/>
                  </a:lnTo>
                  <a:lnTo>
                    <a:pt x="191" y="184"/>
                  </a:lnTo>
                  <a:lnTo>
                    <a:pt x="189" y="187"/>
                  </a:lnTo>
                  <a:lnTo>
                    <a:pt x="189" y="187"/>
                  </a:lnTo>
                  <a:lnTo>
                    <a:pt x="194" y="183"/>
                  </a:lnTo>
                  <a:lnTo>
                    <a:pt x="197" y="180"/>
                  </a:lnTo>
                  <a:lnTo>
                    <a:pt x="199" y="179"/>
                  </a:lnTo>
                  <a:lnTo>
                    <a:pt x="199" y="179"/>
                  </a:lnTo>
                  <a:lnTo>
                    <a:pt x="197" y="182"/>
                  </a:lnTo>
                  <a:lnTo>
                    <a:pt x="197" y="182"/>
                  </a:lnTo>
                  <a:lnTo>
                    <a:pt x="194" y="184"/>
                  </a:lnTo>
                  <a:lnTo>
                    <a:pt x="194" y="184"/>
                  </a:lnTo>
                  <a:lnTo>
                    <a:pt x="195" y="186"/>
                  </a:lnTo>
                  <a:lnTo>
                    <a:pt x="197" y="183"/>
                  </a:lnTo>
                  <a:lnTo>
                    <a:pt x="197" y="183"/>
                  </a:lnTo>
                  <a:lnTo>
                    <a:pt x="201" y="180"/>
                  </a:lnTo>
                  <a:lnTo>
                    <a:pt x="201" y="180"/>
                  </a:lnTo>
                  <a:lnTo>
                    <a:pt x="201" y="182"/>
                  </a:lnTo>
                  <a:lnTo>
                    <a:pt x="204" y="179"/>
                  </a:lnTo>
                  <a:lnTo>
                    <a:pt x="214" y="172"/>
                  </a:lnTo>
                  <a:lnTo>
                    <a:pt x="214" y="172"/>
                  </a:lnTo>
                  <a:lnTo>
                    <a:pt x="214" y="169"/>
                  </a:lnTo>
                  <a:lnTo>
                    <a:pt x="217" y="164"/>
                  </a:lnTo>
                  <a:lnTo>
                    <a:pt x="217" y="164"/>
                  </a:lnTo>
                  <a:lnTo>
                    <a:pt x="217" y="166"/>
                  </a:lnTo>
                  <a:lnTo>
                    <a:pt x="218" y="166"/>
                  </a:lnTo>
                  <a:lnTo>
                    <a:pt x="219" y="166"/>
                  </a:lnTo>
                  <a:lnTo>
                    <a:pt x="221" y="166"/>
                  </a:lnTo>
                  <a:lnTo>
                    <a:pt x="221" y="166"/>
                  </a:lnTo>
                  <a:lnTo>
                    <a:pt x="224" y="163"/>
                  </a:lnTo>
                  <a:lnTo>
                    <a:pt x="224" y="163"/>
                  </a:lnTo>
                  <a:lnTo>
                    <a:pt x="222" y="162"/>
                  </a:lnTo>
                  <a:lnTo>
                    <a:pt x="224" y="160"/>
                  </a:lnTo>
                  <a:lnTo>
                    <a:pt x="227" y="156"/>
                  </a:lnTo>
                  <a:lnTo>
                    <a:pt x="227" y="156"/>
                  </a:lnTo>
                  <a:lnTo>
                    <a:pt x="234" y="152"/>
                  </a:lnTo>
                  <a:lnTo>
                    <a:pt x="238" y="147"/>
                  </a:lnTo>
                  <a:lnTo>
                    <a:pt x="242" y="144"/>
                  </a:lnTo>
                  <a:lnTo>
                    <a:pt x="242" y="144"/>
                  </a:lnTo>
                  <a:lnTo>
                    <a:pt x="244" y="143"/>
                  </a:lnTo>
                  <a:lnTo>
                    <a:pt x="244" y="144"/>
                  </a:lnTo>
                  <a:lnTo>
                    <a:pt x="244" y="146"/>
                  </a:lnTo>
                  <a:lnTo>
                    <a:pt x="244" y="146"/>
                  </a:lnTo>
                  <a:lnTo>
                    <a:pt x="251" y="142"/>
                  </a:lnTo>
                  <a:lnTo>
                    <a:pt x="258" y="139"/>
                  </a:lnTo>
                  <a:lnTo>
                    <a:pt x="258" y="139"/>
                  </a:lnTo>
                  <a:lnTo>
                    <a:pt x="261" y="135"/>
                  </a:lnTo>
                  <a:lnTo>
                    <a:pt x="256" y="136"/>
                  </a:lnTo>
                  <a:lnTo>
                    <a:pt x="256" y="136"/>
                  </a:lnTo>
                  <a:lnTo>
                    <a:pt x="254" y="139"/>
                  </a:lnTo>
                  <a:lnTo>
                    <a:pt x="251" y="140"/>
                  </a:lnTo>
                  <a:lnTo>
                    <a:pt x="247" y="143"/>
                  </a:lnTo>
                  <a:lnTo>
                    <a:pt x="247" y="143"/>
                  </a:lnTo>
                  <a:lnTo>
                    <a:pt x="249" y="140"/>
                  </a:lnTo>
                  <a:lnTo>
                    <a:pt x="252" y="139"/>
                  </a:lnTo>
                  <a:lnTo>
                    <a:pt x="258" y="133"/>
                  </a:lnTo>
                  <a:lnTo>
                    <a:pt x="258" y="133"/>
                  </a:lnTo>
                  <a:lnTo>
                    <a:pt x="259" y="135"/>
                  </a:lnTo>
                  <a:lnTo>
                    <a:pt x="261" y="133"/>
                  </a:lnTo>
                  <a:lnTo>
                    <a:pt x="265" y="132"/>
                  </a:lnTo>
                  <a:lnTo>
                    <a:pt x="265" y="132"/>
                  </a:lnTo>
                  <a:lnTo>
                    <a:pt x="272" y="127"/>
                  </a:lnTo>
                  <a:lnTo>
                    <a:pt x="272" y="127"/>
                  </a:lnTo>
                  <a:lnTo>
                    <a:pt x="278" y="125"/>
                  </a:lnTo>
                  <a:lnTo>
                    <a:pt x="278" y="125"/>
                  </a:lnTo>
                  <a:lnTo>
                    <a:pt x="269" y="129"/>
                  </a:lnTo>
                  <a:lnTo>
                    <a:pt x="269" y="129"/>
                  </a:lnTo>
                  <a:lnTo>
                    <a:pt x="271" y="129"/>
                  </a:lnTo>
                  <a:lnTo>
                    <a:pt x="274" y="127"/>
                  </a:lnTo>
                  <a:lnTo>
                    <a:pt x="281" y="123"/>
                  </a:lnTo>
                  <a:lnTo>
                    <a:pt x="281" y="123"/>
                  </a:lnTo>
                  <a:lnTo>
                    <a:pt x="281" y="122"/>
                  </a:lnTo>
                  <a:lnTo>
                    <a:pt x="281" y="120"/>
                  </a:lnTo>
                  <a:lnTo>
                    <a:pt x="281" y="120"/>
                  </a:lnTo>
                  <a:lnTo>
                    <a:pt x="284" y="117"/>
                  </a:lnTo>
                  <a:lnTo>
                    <a:pt x="285" y="117"/>
                  </a:lnTo>
                  <a:lnTo>
                    <a:pt x="285" y="119"/>
                  </a:lnTo>
                  <a:lnTo>
                    <a:pt x="286" y="119"/>
                  </a:lnTo>
                  <a:lnTo>
                    <a:pt x="286" y="119"/>
                  </a:lnTo>
                  <a:lnTo>
                    <a:pt x="288" y="117"/>
                  </a:lnTo>
                  <a:lnTo>
                    <a:pt x="291" y="116"/>
                  </a:lnTo>
                  <a:lnTo>
                    <a:pt x="291" y="116"/>
                  </a:lnTo>
                  <a:lnTo>
                    <a:pt x="291" y="115"/>
                  </a:lnTo>
                  <a:lnTo>
                    <a:pt x="294" y="113"/>
                  </a:lnTo>
                  <a:lnTo>
                    <a:pt x="294" y="113"/>
                  </a:lnTo>
                  <a:lnTo>
                    <a:pt x="301" y="110"/>
                  </a:lnTo>
                  <a:lnTo>
                    <a:pt x="301" y="110"/>
                  </a:lnTo>
                  <a:lnTo>
                    <a:pt x="299" y="110"/>
                  </a:lnTo>
                  <a:lnTo>
                    <a:pt x="299" y="109"/>
                  </a:lnTo>
                  <a:lnTo>
                    <a:pt x="305" y="105"/>
                  </a:lnTo>
                  <a:lnTo>
                    <a:pt x="305" y="105"/>
                  </a:lnTo>
                  <a:lnTo>
                    <a:pt x="306" y="105"/>
                  </a:lnTo>
                  <a:lnTo>
                    <a:pt x="305" y="106"/>
                  </a:lnTo>
                  <a:lnTo>
                    <a:pt x="304" y="107"/>
                  </a:lnTo>
                  <a:lnTo>
                    <a:pt x="306" y="107"/>
                  </a:lnTo>
                  <a:lnTo>
                    <a:pt x="306" y="107"/>
                  </a:lnTo>
                  <a:lnTo>
                    <a:pt x="308" y="105"/>
                  </a:lnTo>
                  <a:lnTo>
                    <a:pt x="309" y="103"/>
                  </a:lnTo>
                  <a:lnTo>
                    <a:pt x="314" y="100"/>
                  </a:lnTo>
                  <a:lnTo>
                    <a:pt x="314" y="100"/>
                  </a:lnTo>
                  <a:lnTo>
                    <a:pt x="315" y="100"/>
                  </a:lnTo>
                  <a:lnTo>
                    <a:pt x="312" y="102"/>
                  </a:lnTo>
                  <a:lnTo>
                    <a:pt x="311" y="103"/>
                  </a:lnTo>
                  <a:lnTo>
                    <a:pt x="311" y="105"/>
                  </a:lnTo>
                  <a:lnTo>
                    <a:pt x="311" y="105"/>
                  </a:lnTo>
                  <a:lnTo>
                    <a:pt x="315" y="102"/>
                  </a:lnTo>
                  <a:lnTo>
                    <a:pt x="318" y="97"/>
                  </a:lnTo>
                  <a:lnTo>
                    <a:pt x="318" y="97"/>
                  </a:lnTo>
                  <a:lnTo>
                    <a:pt x="321" y="97"/>
                  </a:lnTo>
                  <a:lnTo>
                    <a:pt x="319" y="99"/>
                  </a:lnTo>
                  <a:lnTo>
                    <a:pt x="318" y="100"/>
                  </a:lnTo>
                  <a:lnTo>
                    <a:pt x="316" y="100"/>
                  </a:lnTo>
                  <a:lnTo>
                    <a:pt x="316" y="100"/>
                  </a:lnTo>
                  <a:lnTo>
                    <a:pt x="324" y="99"/>
                  </a:lnTo>
                  <a:lnTo>
                    <a:pt x="328" y="96"/>
                  </a:lnTo>
                  <a:lnTo>
                    <a:pt x="336" y="89"/>
                  </a:lnTo>
                  <a:lnTo>
                    <a:pt x="336" y="89"/>
                  </a:lnTo>
                  <a:lnTo>
                    <a:pt x="339" y="89"/>
                  </a:lnTo>
                  <a:lnTo>
                    <a:pt x="342" y="89"/>
                  </a:lnTo>
                  <a:lnTo>
                    <a:pt x="342" y="89"/>
                  </a:lnTo>
                  <a:lnTo>
                    <a:pt x="349" y="85"/>
                  </a:lnTo>
                  <a:lnTo>
                    <a:pt x="355" y="80"/>
                  </a:lnTo>
                  <a:lnTo>
                    <a:pt x="355" y="80"/>
                  </a:lnTo>
                  <a:lnTo>
                    <a:pt x="356" y="82"/>
                  </a:lnTo>
                  <a:lnTo>
                    <a:pt x="356" y="82"/>
                  </a:lnTo>
                  <a:lnTo>
                    <a:pt x="356" y="83"/>
                  </a:lnTo>
                  <a:lnTo>
                    <a:pt x="356" y="83"/>
                  </a:lnTo>
                  <a:lnTo>
                    <a:pt x="352" y="86"/>
                  </a:lnTo>
                  <a:lnTo>
                    <a:pt x="352" y="86"/>
                  </a:lnTo>
                  <a:lnTo>
                    <a:pt x="351" y="86"/>
                  </a:lnTo>
                  <a:lnTo>
                    <a:pt x="351" y="86"/>
                  </a:lnTo>
                  <a:lnTo>
                    <a:pt x="352" y="85"/>
                  </a:lnTo>
                  <a:lnTo>
                    <a:pt x="352" y="85"/>
                  </a:lnTo>
                  <a:lnTo>
                    <a:pt x="345" y="89"/>
                  </a:lnTo>
                  <a:lnTo>
                    <a:pt x="336" y="93"/>
                  </a:lnTo>
                  <a:lnTo>
                    <a:pt x="336" y="93"/>
                  </a:lnTo>
                  <a:lnTo>
                    <a:pt x="343" y="90"/>
                  </a:lnTo>
                  <a:lnTo>
                    <a:pt x="351" y="87"/>
                  </a:lnTo>
                  <a:lnTo>
                    <a:pt x="351" y="87"/>
                  </a:lnTo>
                  <a:lnTo>
                    <a:pt x="351" y="87"/>
                  </a:lnTo>
                  <a:lnTo>
                    <a:pt x="349" y="87"/>
                  </a:lnTo>
                  <a:lnTo>
                    <a:pt x="348" y="89"/>
                  </a:lnTo>
                  <a:lnTo>
                    <a:pt x="349" y="89"/>
                  </a:lnTo>
                  <a:lnTo>
                    <a:pt x="349" y="89"/>
                  </a:lnTo>
                  <a:lnTo>
                    <a:pt x="335" y="96"/>
                  </a:lnTo>
                  <a:lnTo>
                    <a:pt x="335" y="96"/>
                  </a:lnTo>
                  <a:lnTo>
                    <a:pt x="335" y="96"/>
                  </a:lnTo>
                  <a:lnTo>
                    <a:pt x="335" y="96"/>
                  </a:lnTo>
                  <a:lnTo>
                    <a:pt x="335" y="97"/>
                  </a:lnTo>
                  <a:lnTo>
                    <a:pt x="335" y="97"/>
                  </a:lnTo>
                  <a:lnTo>
                    <a:pt x="334" y="97"/>
                  </a:lnTo>
                  <a:lnTo>
                    <a:pt x="332" y="97"/>
                  </a:lnTo>
                  <a:lnTo>
                    <a:pt x="331" y="97"/>
                  </a:lnTo>
                  <a:lnTo>
                    <a:pt x="329" y="97"/>
                  </a:lnTo>
                  <a:lnTo>
                    <a:pt x="329" y="97"/>
                  </a:lnTo>
                  <a:lnTo>
                    <a:pt x="325" y="100"/>
                  </a:lnTo>
                  <a:lnTo>
                    <a:pt x="325" y="100"/>
                  </a:lnTo>
                  <a:lnTo>
                    <a:pt x="324" y="102"/>
                  </a:lnTo>
                  <a:lnTo>
                    <a:pt x="324" y="103"/>
                  </a:lnTo>
                  <a:lnTo>
                    <a:pt x="319" y="106"/>
                  </a:lnTo>
                  <a:lnTo>
                    <a:pt x="315" y="107"/>
                  </a:lnTo>
                  <a:lnTo>
                    <a:pt x="311" y="112"/>
                  </a:lnTo>
                  <a:lnTo>
                    <a:pt x="311" y="112"/>
                  </a:lnTo>
                  <a:lnTo>
                    <a:pt x="308" y="112"/>
                  </a:lnTo>
                  <a:lnTo>
                    <a:pt x="308" y="110"/>
                  </a:lnTo>
                  <a:lnTo>
                    <a:pt x="308" y="110"/>
                  </a:lnTo>
                  <a:lnTo>
                    <a:pt x="305" y="112"/>
                  </a:lnTo>
                  <a:lnTo>
                    <a:pt x="305" y="112"/>
                  </a:lnTo>
                  <a:lnTo>
                    <a:pt x="305" y="113"/>
                  </a:lnTo>
                  <a:lnTo>
                    <a:pt x="305" y="113"/>
                  </a:lnTo>
                  <a:lnTo>
                    <a:pt x="306" y="115"/>
                  </a:lnTo>
                  <a:lnTo>
                    <a:pt x="305" y="116"/>
                  </a:lnTo>
                  <a:lnTo>
                    <a:pt x="305" y="116"/>
                  </a:lnTo>
                  <a:lnTo>
                    <a:pt x="309" y="115"/>
                  </a:lnTo>
                  <a:lnTo>
                    <a:pt x="314" y="112"/>
                  </a:lnTo>
                  <a:lnTo>
                    <a:pt x="314" y="112"/>
                  </a:lnTo>
                  <a:lnTo>
                    <a:pt x="314" y="112"/>
                  </a:lnTo>
                  <a:lnTo>
                    <a:pt x="312" y="112"/>
                  </a:lnTo>
                  <a:lnTo>
                    <a:pt x="311" y="112"/>
                  </a:lnTo>
                  <a:lnTo>
                    <a:pt x="311" y="112"/>
                  </a:lnTo>
                  <a:lnTo>
                    <a:pt x="315" y="109"/>
                  </a:lnTo>
                  <a:lnTo>
                    <a:pt x="321" y="106"/>
                  </a:lnTo>
                  <a:lnTo>
                    <a:pt x="321" y="106"/>
                  </a:lnTo>
                  <a:lnTo>
                    <a:pt x="321" y="107"/>
                  </a:lnTo>
                  <a:lnTo>
                    <a:pt x="319" y="109"/>
                  </a:lnTo>
                  <a:lnTo>
                    <a:pt x="318" y="110"/>
                  </a:lnTo>
                  <a:lnTo>
                    <a:pt x="318" y="110"/>
                  </a:lnTo>
                  <a:lnTo>
                    <a:pt x="311" y="115"/>
                  </a:lnTo>
                  <a:lnTo>
                    <a:pt x="306" y="117"/>
                  </a:lnTo>
                  <a:lnTo>
                    <a:pt x="306" y="117"/>
                  </a:lnTo>
                  <a:lnTo>
                    <a:pt x="304" y="119"/>
                  </a:lnTo>
                  <a:lnTo>
                    <a:pt x="304" y="117"/>
                  </a:lnTo>
                  <a:lnTo>
                    <a:pt x="304" y="117"/>
                  </a:lnTo>
                  <a:lnTo>
                    <a:pt x="301" y="119"/>
                  </a:lnTo>
                  <a:lnTo>
                    <a:pt x="301" y="119"/>
                  </a:lnTo>
                  <a:lnTo>
                    <a:pt x="299" y="122"/>
                  </a:lnTo>
                  <a:lnTo>
                    <a:pt x="295" y="125"/>
                  </a:lnTo>
                  <a:lnTo>
                    <a:pt x="285" y="132"/>
                  </a:lnTo>
                  <a:lnTo>
                    <a:pt x="274" y="139"/>
                  </a:lnTo>
                  <a:lnTo>
                    <a:pt x="264" y="146"/>
                  </a:lnTo>
                  <a:lnTo>
                    <a:pt x="264" y="146"/>
                  </a:lnTo>
                  <a:lnTo>
                    <a:pt x="265" y="143"/>
                  </a:lnTo>
                  <a:lnTo>
                    <a:pt x="265" y="143"/>
                  </a:lnTo>
                  <a:lnTo>
                    <a:pt x="264" y="142"/>
                  </a:lnTo>
                  <a:lnTo>
                    <a:pt x="264" y="142"/>
                  </a:lnTo>
                  <a:lnTo>
                    <a:pt x="281" y="132"/>
                  </a:lnTo>
                  <a:lnTo>
                    <a:pt x="298" y="120"/>
                  </a:lnTo>
                  <a:lnTo>
                    <a:pt x="298" y="120"/>
                  </a:lnTo>
                  <a:lnTo>
                    <a:pt x="298" y="120"/>
                  </a:lnTo>
                  <a:lnTo>
                    <a:pt x="296" y="120"/>
                  </a:lnTo>
                  <a:lnTo>
                    <a:pt x="292" y="125"/>
                  </a:lnTo>
                  <a:lnTo>
                    <a:pt x="292" y="125"/>
                  </a:lnTo>
                  <a:lnTo>
                    <a:pt x="288" y="126"/>
                  </a:lnTo>
                  <a:lnTo>
                    <a:pt x="288" y="126"/>
                  </a:lnTo>
                  <a:lnTo>
                    <a:pt x="289" y="125"/>
                  </a:lnTo>
                  <a:lnTo>
                    <a:pt x="289" y="125"/>
                  </a:lnTo>
                  <a:lnTo>
                    <a:pt x="279" y="130"/>
                  </a:lnTo>
                  <a:lnTo>
                    <a:pt x="279" y="130"/>
                  </a:lnTo>
                  <a:lnTo>
                    <a:pt x="279" y="130"/>
                  </a:lnTo>
                  <a:lnTo>
                    <a:pt x="279" y="129"/>
                  </a:lnTo>
                  <a:lnTo>
                    <a:pt x="279" y="129"/>
                  </a:lnTo>
                  <a:lnTo>
                    <a:pt x="276" y="130"/>
                  </a:lnTo>
                  <a:lnTo>
                    <a:pt x="276" y="130"/>
                  </a:lnTo>
                  <a:lnTo>
                    <a:pt x="274" y="133"/>
                  </a:lnTo>
                  <a:lnTo>
                    <a:pt x="269" y="136"/>
                  </a:lnTo>
                  <a:lnTo>
                    <a:pt x="269" y="136"/>
                  </a:lnTo>
                  <a:lnTo>
                    <a:pt x="268" y="137"/>
                  </a:lnTo>
                  <a:lnTo>
                    <a:pt x="266" y="136"/>
                  </a:lnTo>
                  <a:lnTo>
                    <a:pt x="266" y="136"/>
                  </a:lnTo>
                  <a:lnTo>
                    <a:pt x="265" y="136"/>
                  </a:lnTo>
                  <a:lnTo>
                    <a:pt x="265" y="136"/>
                  </a:lnTo>
                  <a:lnTo>
                    <a:pt x="255" y="144"/>
                  </a:lnTo>
                  <a:lnTo>
                    <a:pt x="248" y="152"/>
                  </a:lnTo>
                  <a:lnTo>
                    <a:pt x="248" y="152"/>
                  </a:lnTo>
                  <a:lnTo>
                    <a:pt x="247" y="152"/>
                  </a:lnTo>
                  <a:lnTo>
                    <a:pt x="247" y="152"/>
                  </a:lnTo>
                  <a:lnTo>
                    <a:pt x="247" y="150"/>
                  </a:lnTo>
                  <a:lnTo>
                    <a:pt x="247" y="150"/>
                  </a:lnTo>
                  <a:lnTo>
                    <a:pt x="247" y="150"/>
                  </a:lnTo>
                  <a:lnTo>
                    <a:pt x="248" y="150"/>
                  </a:lnTo>
                  <a:lnTo>
                    <a:pt x="248" y="150"/>
                  </a:lnTo>
                  <a:lnTo>
                    <a:pt x="249" y="147"/>
                  </a:lnTo>
                  <a:lnTo>
                    <a:pt x="249" y="147"/>
                  </a:lnTo>
                  <a:lnTo>
                    <a:pt x="241" y="153"/>
                  </a:lnTo>
                  <a:lnTo>
                    <a:pt x="234" y="160"/>
                  </a:lnTo>
                  <a:lnTo>
                    <a:pt x="234" y="160"/>
                  </a:lnTo>
                  <a:lnTo>
                    <a:pt x="228" y="166"/>
                  </a:lnTo>
                  <a:lnTo>
                    <a:pt x="228" y="166"/>
                  </a:lnTo>
                  <a:lnTo>
                    <a:pt x="225" y="167"/>
                  </a:lnTo>
                  <a:lnTo>
                    <a:pt x="221" y="169"/>
                  </a:lnTo>
                  <a:lnTo>
                    <a:pt x="221" y="169"/>
                  </a:lnTo>
                  <a:lnTo>
                    <a:pt x="221" y="170"/>
                  </a:lnTo>
                  <a:lnTo>
                    <a:pt x="222" y="170"/>
                  </a:lnTo>
                  <a:lnTo>
                    <a:pt x="227" y="169"/>
                  </a:lnTo>
                  <a:lnTo>
                    <a:pt x="227" y="169"/>
                  </a:lnTo>
                  <a:lnTo>
                    <a:pt x="224" y="170"/>
                  </a:lnTo>
                  <a:lnTo>
                    <a:pt x="222" y="172"/>
                  </a:lnTo>
                  <a:lnTo>
                    <a:pt x="219" y="174"/>
                  </a:lnTo>
                  <a:lnTo>
                    <a:pt x="217" y="176"/>
                  </a:lnTo>
                  <a:lnTo>
                    <a:pt x="217" y="176"/>
                  </a:lnTo>
                  <a:lnTo>
                    <a:pt x="215" y="177"/>
                  </a:lnTo>
                  <a:lnTo>
                    <a:pt x="215" y="176"/>
                  </a:lnTo>
                  <a:lnTo>
                    <a:pt x="215" y="174"/>
                  </a:lnTo>
                  <a:lnTo>
                    <a:pt x="214" y="174"/>
                  </a:lnTo>
                  <a:lnTo>
                    <a:pt x="214" y="174"/>
                  </a:lnTo>
                  <a:lnTo>
                    <a:pt x="214" y="176"/>
                  </a:lnTo>
                  <a:lnTo>
                    <a:pt x="215" y="174"/>
                  </a:lnTo>
                  <a:lnTo>
                    <a:pt x="215" y="174"/>
                  </a:lnTo>
                  <a:lnTo>
                    <a:pt x="205" y="184"/>
                  </a:lnTo>
                  <a:lnTo>
                    <a:pt x="195" y="193"/>
                  </a:lnTo>
                  <a:lnTo>
                    <a:pt x="195" y="193"/>
                  </a:lnTo>
                  <a:lnTo>
                    <a:pt x="195" y="194"/>
                  </a:lnTo>
                  <a:lnTo>
                    <a:pt x="197" y="194"/>
                  </a:lnTo>
                  <a:lnTo>
                    <a:pt x="201" y="190"/>
                  </a:lnTo>
                  <a:lnTo>
                    <a:pt x="201" y="190"/>
                  </a:lnTo>
                  <a:lnTo>
                    <a:pt x="198" y="196"/>
                  </a:lnTo>
                  <a:lnTo>
                    <a:pt x="197" y="199"/>
                  </a:lnTo>
                  <a:lnTo>
                    <a:pt x="194" y="200"/>
                  </a:lnTo>
                  <a:lnTo>
                    <a:pt x="194" y="200"/>
                  </a:lnTo>
                  <a:lnTo>
                    <a:pt x="194" y="200"/>
                  </a:lnTo>
                  <a:lnTo>
                    <a:pt x="194" y="199"/>
                  </a:lnTo>
                  <a:lnTo>
                    <a:pt x="195" y="197"/>
                  </a:lnTo>
                  <a:lnTo>
                    <a:pt x="195" y="197"/>
                  </a:lnTo>
                  <a:lnTo>
                    <a:pt x="195" y="197"/>
                  </a:lnTo>
                  <a:lnTo>
                    <a:pt x="194" y="197"/>
                  </a:lnTo>
                  <a:lnTo>
                    <a:pt x="192" y="199"/>
                  </a:lnTo>
                  <a:lnTo>
                    <a:pt x="191" y="200"/>
                  </a:lnTo>
                  <a:lnTo>
                    <a:pt x="189" y="202"/>
                  </a:lnTo>
                  <a:lnTo>
                    <a:pt x="189" y="202"/>
                  </a:lnTo>
                  <a:lnTo>
                    <a:pt x="189" y="203"/>
                  </a:lnTo>
                  <a:lnTo>
                    <a:pt x="187" y="207"/>
                  </a:lnTo>
                  <a:lnTo>
                    <a:pt x="187" y="207"/>
                  </a:lnTo>
                  <a:lnTo>
                    <a:pt x="185" y="207"/>
                  </a:lnTo>
                  <a:lnTo>
                    <a:pt x="187" y="206"/>
                  </a:lnTo>
                  <a:lnTo>
                    <a:pt x="187" y="206"/>
                  </a:lnTo>
                  <a:lnTo>
                    <a:pt x="184" y="207"/>
                  </a:lnTo>
                  <a:lnTo>
                    <a:pt x="182" y="210"/>
                  </a:lnTo>
                  <a:lnTo>
                    <a:pt x="181" y="212"/>
                  </a:lnTo>
                  <a:lnTo>
                    <a:pt x="179" y="214"/>
                  </a:lnTo>
                  <a:lnTo>
                    <a:pt x="179" y="214"/>
                  </a:lnTo>
                  <a:lnTo>
                    <a:pt x="178" y="213"/>
                  </a:lnTo>
                  <a:lnTo>
                    <a:pt x="179" y="212"/>
                  </a:lnTo>
                  <a:lnTo>
                    <a:pt x="179" y="210"/>
                  </a:lnTo>
                  <a:lnTo>
                    <a:pt x="178" y="212"/>
                  </a:lnTo>
                  <a:lnTo>
                    <a:pt x="178" y="212"/>
                  </a:lnTo>
                  <a:lnTo>
                    <a:pt x="177" y="214"/>
                  </a:lnTo>
                  <a:lnTo>
                    <a:pt x="175" y="217"/>
                  </a:lnTo>
                  <a:lnTo>
                    <a:pt x="175" y="217"/>
                  </a:lnTo>
                  <a:lnTo>
                    <a:pt x="172" y="220"/>
                  </a:lnTo>
                  <a:lnTo>
                    <a:pt x="172" y="220"/>
                  </a:lnTo>
                  <a:lnTo>
                    <a:pt x="174" y="217"/>
                  </a:lnTo>
                  <a:lnTo>
                    <a:pt x="174" y="216"/>
                  </a:lnTo>
                  <a:lnTo>
                    <a:pt x="174" y="216"/>
                  </a:lnTo>
                  <a:lnTo>
                    <a:pt x="174" y="216"/>
                  </a:lnTo>
                  <a:lnTo>
                    <a:pt x="169" y="219"/>
                  </a:lnTo>
                  <a:lnTo>
                    <a:pt x="165" y="222"/>
                  </a:lnTo>
                  <a:lnTo>
                    <a:pt x="165" y="222"/>
                  </a:lnTo>
                  <a:lnTo>
                    <a:pt x="159" y="227"/>
                  </a:lnTo>
                  <a:lnTo>
                    <a:pt x="155" y="233"/>
                  </a:lnTo>
                  <a:lnTo>
                    <a:pt x="147" y="244"/>
                  </a:lnTo>
                  <a:lnTo>
                    <a:pt x="147" y="244"/>
                  </a:lnTo>
                  <a:lnTo>
                    <a:pt x="147" y="243"/>
                  </a:lnTo>
                  <a:lnTo>
                    <a:pt x="145" y="243"/>
                  </a:lnTo>
                  <a:lnTo>
                    <a:pt x="141" y="249"/>
                  </a:lnTo>
                  <a:lnTo>
                    <a:pt x="141" y="249"/>
                  </a:lnTo>
                  <a:lnTo>
                    <a:pt x="134" y="257"/>
                  </a:lnTo>
                  <a:lnTo>
                    <a:pt x="134" y="257"/>
                  </a:lnTo>
                  <a:lnTo>
                    <a:pt x="128" y="263"/>
                  </a:lnTo>
                  <a:lnTo>
                    <a:pt x="128" y="263"/>
                  </a:lnTo>
                  <a:lnTo>
                    <a:pt x="130" y="262"/>
                  </a:lnTo>
                  <a:lnTo>
                    <a:pt x="132" y="257"/>
                  </a:lnTo>
                  <a:lnTo>
                    <a:pt x="135" y="254"/>
                  </a:lnTo>
                  <a:lnTo>
                    <a:pt x="137" y="250"/>
                  </a:lnTo>
                  <a:lnTo>
                    <a:pt x="137" y="250"/>
                  </a:lnTo>
                  <a:lnTo>
                    <a:pt x="132" y="256"/>
                  </a:lnTo>
                  <a:lnTo>
                    <a:pt x="128" y="260"/>
                  </a:lnTo>
                  <a:lnTo>
                    <a:pt x="125" y="266"/>
                  </a:lnTo>
                  <a:lnTo>
                    <a:pt x="122" y="269"/>
                  </a:lnTo>
                  <a:lnTo>
                    <a:pt x="122" y="269"/>
                  </a:lnTo>
                  <a:lnTo>
                    <a:pt x="122" y="270"/>
                  </a:lnTo>
                  <a:lnTo>
                    <a:pt x="122" y="270"/>
                  </a:lnTo>
                  <a:lnTo>
                    <a:pt x="124" y="269"/>
                  </a:lnTo>
                  <a:lnTo>
                    <a:pt x="124" y="269"/>
                  </a:lnTo>
                  <a:lnTo>
                    <a:pt x="122" y="273"/>
                  </a:lnTo>
                  <a:lnTo>
                    <a:pt x="120" y="277"/>
                  </a:lnTo>
                  <a:lnTo>
                    <a:pt x="120" y="277"/>
                  </a:lnTo>
                  <a:lnTo>
                    <a:pt x="115" y="282"/>
                  </a:lnTo>
                  <a:lnTo>
                    <a:pt x="111" y="287"/>
                  </a:lnTo>
                  <a:lnTo>
                    <a:pt x="107" y="293"/>
                  </a:lnTo>
                  <a:lnTo>
                    <a:pt x="104" y="296"/>
                  </a:lnTo>
                  <a:lnTo>
                    <a:pt x="104" y="296"/>
                  </a:lnTo>
                  <a:lnTo>
                    <a:pt x="100" y="303"/>
                  </a:lnTo>
                  <a:lnTo>
                    <a:pt x="100" y="303"/>
                  </a:lnTo>
                  <a:lnTo>
                    <a:pt x="97" y="307"/>
                  </a:lnTo>
                  <a:lnTo>
                    <a:pt x="97" y="307"/>
                  </a:lnTo>
                  <a:lnTo>
                    <a:pt x="94" y="313"/>
                  </a:lnTo>
                  <a:lnTo>
                    <a:pt x="91" y="319"/>
                  </a:lnTo>
                  <a:lnTo>
                    <a:pt x="91" y="319"/>
                  </a:lnTo>
                  <a:lnTo>
                    <a:pt x="94" y="317"/>
                  </a:lnTo>
                  <a:lnTo>
                    <a:pt x="95" y="316"/>
                  </a:lnTo>
                  <a:lnTo>
                    <a:pt x="95" y="316"/>
                  </a:lnTo>
                  <a:lnTo>
                    <a:pt x="91" y="323"/>
                  </a:lnTo>
                  <a:lnTo>
                    <a:pt x="88" y="327"/>
                  </a:lnTo>
                  <a:lnTo>
                    <a:pt x="85" y="329"/>
                  </a:lnTo>
                  <a:lnTo>
                    <a:pt x="82" y="329"/>
                  </a:lnTo>
                  <a:lnTo>
                    <a:pt x="82" y="329"/>
                  </a:lnTo>
                  <a:lnTo>
                    <a:pt x="82" y="330"/>
                  </a:lnTo>
                  <a:lnTo>
                    <a:pt x="84" y="330"/>
                  </a:lnTo>
                  <a:lnTo>
                    <a:pt x="84" y="331"/>
                  </a:lnTo>
                  <a:lnTo>
                    <a:pt x="85" y="333"/>
                  </a:lnTo>
                  <a:lnTo>
                    <a:pt x="85" y="333"/>
                  </a:lnTo>
                  <a:lnTo>
                    <a:pt x="77" y="344"/>
                  </a:lnTo>
                  <a:lnTo>
                    <a:pt x="77" y="344"/>
                  </a:lnTo>
                  <a:lnTo>
                    <a:pt x="77" y="344"/>
                  </a:lnTo>
                  <a:lnTo>
                    <a:pt x="78" y="343"/>
                  </a:lnTo>
                  <a:lnTo>
                    <a:pt x="80" y="337"/>
                  </a:lnTo>
                  <a:lnTo>
                    <a:pt x="80" y="337"/>
                  </a:lnTo>
                  <a:lnTo>
                    <a:pt x="75" y="344"/>
                  </a:lnTo>
                  <a:lnTo>
                    <a:pt x="70" y="354"/>
                  </a:lnTo>
                  <a:lnTo>
                    <a:pt x="70" y="354"/>
                  </a:lnTo>
                  <a:lnTo>
                    <a:pt x="68" y="356"/>
                  </a:lnTo>
                  <a:lnTo>
                    <a:pt x="68" y="354"/>
                  </a:lnTo>
                  <a:lnTo>
                    <a:pt x="68" y="354"/>
                  </a:lnTo>
                  <a:lnTo>
                    <a:pt x="67" y="354"/>
                  </a:lnTo>
                  <a:lnTo>
                    <a:pt x="67" y="356"/>
                  </a:lnTo>
                  <a:lnTo>
                    <a:pt x="65" y="360"/>
                  </a:lnTo>
                  <a:lnTo>
                    <a:pt x="65" y="360"/>
                  </a:lnTo>
                  <a:lnTo>
                    <a:pt x="65" y="361"/>
                  </a:lnTo>
                  <a:lnTo>
                    <a:pt x="65" y="360"/>
                  </a:lnTo>
                  <a:lnTo>
                    <a:pt x="67" y="359"/>
                  </a:lnTo>
                  <a:lnTo>
                    <a:pt x="67" y="359"/>
                  </a:lnTo>
                  <a:lnTo>
                    <a:pt x="58" y="374"/>
                  </a:lnTo>
                  <a:lnTo>
                    <a:pt x="58" y="374"/>
                  </a:lnTo>
                  <a:lnTo>
                    <a:pt x="54" y="383"/>
                  </a:lnTo>
                  <a:lnTo>
                    <a:pt x="50" y="391"/>
                  </a:lnTo>
                  <a:lnTo>
                    <a:pt x="50" y="391"/>
                  </a:lnTo>
                  <a:lnTo>
                    <a:pt x="47" y="396"/>
                  </a:lnTo>
                  <a:lnTo>
                    <a:pt x="47" y="396"/>
                  </a:lnTo>
                  <a:lnTo>
                    <a:pt x="45" y="400"/>
                  </a:lnTo>
                  <a:lnTo>
                    <a:pt x="44" y="403"/>
                  </a:lnTo>
                  <a:lnTo>
                    <a:pt x="44" y="403"/>
                  </a:lnTo>
                  <a:lnTo>
                    <a:pt x="41" y="410"/>
                  </a:lnTo>
                  <a:lnTo>
                    <a:pt x="38" y="417"/>
                  </a:lnTo>
                  <a:lnTo>
                    <a:pt x="35" y="424"/>
                  </a:lnTo>
                  <a:lnTo>
                    <a:pt x="31" y="430"/>
                  </a:lnTo>
                  <a:lnTo>
                    <a:pt x="31" y="430"/>
                  </a:lnTo>
                  <a:lnTo>
                    <a:pt x="30" y="439"/>
                  </a:lnTo>
                  <a:lnTo>
                    <a:pt x="27" y="446"/>
                  </a:lnTo>
                  <a:lnTo>
                    <a:pt x="27" y="446"/>
                  </a:lnTo>
                  <a:lnTo>
                    <a:pt x="24" y="453"/>
                  </a:lnTo>
                  <a:lnTo>
                    <a:pt x="24" y="453"/>
                  </a:lnTo>
                  <a:lnTo>
                    <a:pt x="21" y="460"/>
                  </a:lnTo>
                  <a:lnTo>
                    <a:pt x="21" y="460"/>
                  </a:lnTo>
                  <a:lnTo>
                    <a:pt x="21" y="453"/>
                  </a:lnTo>
                  <a:lnTo>
                    <a:pt x="21" y="453"/>
                  </a:lnTo>
                  <a:lnTo>
                    <a:pt x="21" y="447"/>
                  </a:lnTo>
                  <a:lnTo>
                    <a:pt x="21" y="447"/>
                  </a:lnTo>
                  <a:lnTo>
                    <a:pt x="20" y="456"/>
                  </a:lnTo>
                  <a:lnTo>
                    <a:pt x="20" y="456"/>
                  </a:lnTo>
                  <a:lnTo>
                    <a:pt x="18" y="464"/>
                  </a:lnTo>
                  <a:lnTo>
                    <a:pt x="18" y="464"/>
                  </a:lnTo>
                  <a:lnTo>
                    <a:pt x="15" y="471"/>
                  </a:lnTo>
                  <a:lnTo>
                    <a:pt x="14" y="476"/>
                  </a:lnTo>
                  <a:lnTo>
                    <a:pt x="14" y="476"/>
                  </a:lnTo>
                  <a:lnTo>
                    <a:pt x="15" y="477"/>
                  </a:lnTo>
                  <a:lnTo>
                    <a:pt x="17" y="480"/>
                  </a:lnTo>
                  <a:lnTo>
                    <a:pt x="17" y="483"/>
                  </a:lnTo>
                  <a:lnTo>
                    <a:pt x="18" y="483"/>
                  </a:lnTo>
                  <a:lnTo>
                    <a:pt x="20" y="483"/>
                  </a:lnTo>
                  <a:lnTo>
                    <a:pt x="20" y="483"/>
                  </a:lnTo>
                  <a:lnTo>
                    <a:pt x="17" y="491"/>
                  </a:lnTo>
                  <a:lnTo>
                    <a:pt x="17" y="491"/>
                  </a:lnTo>
                  <a:lnTo>
                    <a:pt x="14" y="500"/>
                  </a:lnTo>
                  <a:lnTo>
                    <a:pt x="14" y="500"/>
                  </a:lnTo>
                  <a:lnTo>
                    <a:pt x="15" y="498"/>
                  </a:lnTo>
                  <a:lnTo>
                    <a:pt x="15" y="497"/>
                  </a:lnTo>
                  <a:lnTo>
                    <a:pt x="18" y="490"/>
                  </a:lnTo>
                  <a:lnTo>
                    <a:pt x="18" y="490"/>
                  </a:lnTo>
                  <a:lnTo>
                    <a:pt x="21" y="483"/>
                  </a:lnTo>
                  <a:lnTo>
                    <a:pt x="21" y="483"/>
                  </a:lnTo>
                  <a:lnTo>
                    <a:pt x="21" y="481"/>
                  </a:lnTo>
                  <a:lnTo>
                    <a:pt x="23" y="481"/>
                  </a:lnTo>
                  <a:lnTo>
                    <a:pt x="23" y="481"/>
                  </a:lnTo>
                  <a:lnTo>
                    <a:pt x="21" y="484"/>
                  </a:lnTo>
                  <a:lnTo>
                    <a:pt x="20" y="487"/>
                  </a:lnTo>
                  <a:lnTo>
                    <a:pt x="20" y="487"/>
                  </a:lnTo>
                  <a:lnTo>
                    <a:pt x="20" y="490"/>
                  </a:lnTo>
                  <a:lnTo>
                    <a:pt x="20" y="493"/>
                  </a:lnTo>
                  <a:lnTo>
                    <a:pt x="18" y="497"/>
                  </a:lnTo>
                  <a:lnTo>
                    <a:pt x="18" y="501"/>
                  </a:lnTo>
                  <a:lnTo>
                    <a:pt x="18" y="501"/>
                  </a:lnTo>
                  <a:lnTo>
                    <a:pt x="17" y="501"/>
                  </a:lnTo>
                  <a:lnTo>
                    <a:pt x="15" y="506"/>
                  </a:lnTo>
                  <a:lnTo>
                    <a:pt x="15" y="506"/>
                  </a:lnTo>
                  <a:lnTo>
                    <a:pt x="15" y="506"/>
                  </a:lnTo>
                  <a:lnTo>
                    <a:pt x="15" y="507"/>
                  </a:lnTo>
                  <a:lnTo>
                    <a:pt x="15" y="514"/>
                  </a:lnTo>
                  <a:lnTo>
                    <a:pt x="15" y="514"/>
                  </a:lnTo>
                  <a:lnTo>
                    <a:pt x="13" y="520"/>
                  </a:lnTo>
                  <a:lnTo>
                    <a:pt x="13" y="523"/>
                  </a:lnTo>
                  <a:lnTo>
                    <a:pt x="13" y="524"/>
                  </a:lnTo>
                  <a:lnTo>
                    <a:pt x="13" y="524"/>
                  </a:lnTo>
                  <a:lnTo>
                    <a:pt x="11" y="527"/>
                  </a:lnTo>
                  <a:lnTo>
                    <a:pt x="10" y="530"/>
                  </a:lnTo>
                  <a:lnTo>
                    <a:pt x="10" y="530"/>
                  </a:lnTo>
                  <a:lnTo>
                    <a:pt x="10" y="531"/>
                  </a:lnTo>
                  <a:lnTo>
                    <a:pt x="10" y="530"/>
                  </a:lnTo>
                  <a:lnTo>
                    <a:pt x="10" y="526"/>
                  </a:lnTo>
                  <a:lnTo>
                    <a:pt x="10" y="526"/>
                  </a:lnTo>
                  <a:lnTo>
                    <a:pt x="8" y="534"/>
                  </a:lnTo>
                  <a:lnTo>
                    <a:pt x="7" y="541"/>
                  </a:lnTo>
                  <a:lnTo>
                    <a:pt x="7" y="541"/>
                  </a:lnTo>
                  <a:lnTo>
                    <a:pt x="5" y="543"/>
                  </a:lnTo>
                  <a:lnTo>
                    <a:pt x="5" y="541"/>
                  </a:lnTo>
                  <a:lnTo>
                    <a:pt x="5" y="540"/>
                  </a:lnTo>
                  <a:lnTo>
                    <a:pt x="4" y="540"/>
                  </a:lnTo>
                  <a:lnTo>
                    <a:pt x="4" y="540"/>
                  </a:lnTo>
                  <a:lnTo>
                    <a:pt x="5" y="544"/>
                  </a:lnTo>
                  <a:lnTo>
                    <a:pt x="5" y="546"/>
                  </a:lnTo>
                  <a:lnTo>
                    <a:pt x="4" y="548"/>
                  </a:lnTo>
                  <a:lnTo>
                    <a:pt x="4" y="548"/>
                  </a:lnTo>
                  <a:lnTo>
                    <a:pt x="5" y="551"/>
                  </a:lnTo>
                  <a:lnTo>
                    <a:pt x="5" y="551"/>
                  </a:lnTo>
                  <a:lnTo>
                    <a:pt x="7" y="548"/>
                  </a:lnTo>
                  <a:lnTo>
                    <a:pt x="7" y="548"/>
                  </a:lnTo>
                  <a:lnTo>
                    <a:pt x="7" y="554"/>
                  </a:lnTo>
                  <a:lnTo>
                    <a:pt x="8" y="557"/>
                  </a:lnTo>
                  <a:lnTo>
                    <a:pt x="8" y="557"/>
                  </a:lnTo>
                  <a:lnTo>
                    <a:pt x="8" y="558"/>
                  </a:lnTo>
                  <a:lnTo>
                    <a:pt x="7" y="561"/>
                  </a:lnTo>
                  <a:lnTo>
                    <a:pt x="7" y="563"/>
                  </a:lnTo>
                  <a:lnTo>
                    <a:pt x="7" y="564"/>
                  </a:lnTo>
                  <a:lnTo>
                    <a:pt x="7" y="564"/>
                  </a:lnTo>
                  <a:lnTo>
                    <a:pt x="7" y="566"/>
                  </a:lnTo>
                  <a:lnTo>
                    <a:pt x="8" y="564"/>
                  </a:lnTo>
                  <a:lnTo>
                    <a:pt x="8" y="560"/>
                  </a:lnTo>
                  <a:lnTo>
                    <a:pt x="8" y="560"/>
                  </a:lnTo>
                  <a:lnTo>
                    <a:pt x="8" y="564"/>
                  </a:lnTo>
                  <a:lnTo>
                    <a:pt x="8" y="570"/>
                  </a:lnTo>
                  <a:lnTo>
                    <a:pt x="8" y="570"/>
                  </a:lnTo>
                  <a:lnTo>
                    <a:pt x="7" y="570"/>
                  </a:lnTo>
                  <a:lnTo>
                    <a:pt x="7" y="568"/>
                  </a:lnTo>
                  <a:lnTo>
                    <a:pt x="7" y="567"/>
                  </a:lnTo>
                  <a:lnTo>
                    <a:pt x="5" y="568"/>
                  </a:lnTo>
                  <a:lnTo>
                    <a:pt x="5" y="568"/>
                  </a:lnTo>
                  <a:lnTo>
                    <a:pt x="5" y="573"/>
                  </a:lnTo>
                  <a:lnTo>
                    <a:pt x="5" y="574"/>
                  </a:lnTo>
                  <a:lnTo>
                    <a:pt x="4" y="574"/>
                  </a:lnTo>
                  <a:lnTo>
                    <a:pt x="4" y="574"/>
                  </a:lnTo>
                  <a:lnTo>
                    <a:pt x="5" y="581"/>
                  </a:lnTo>
                  <a:lnTo>
                    <a:pt x="5" y="588"/>
                  </a:lnTo>
                  <a:lnTo>
                    <a:pt x="1" y="603"/>
                  </a:lnTo>
                  <a:lnTo>
                    <a:pt x="1" y="603"/>
                  </a:lnTo>
                  <a:lnTo>
                    <a:pt x="4" y="607"/>
                  </a:lnTo>
                  <a:lnTo>
                    <a:pt x="4" y="607"/>
                  </a:lnTo>
                  <a:lnTo>
                    <a:pt x="4" y="604"/>
                  </a:lnTo>
                  <a:lnTo>
                    <a:pt x="5" y="601"/>
                  </a:lnTo>
                  <a:lnTo>
                    <a:pt x="5" y="601"/>
                  </a:lnTo>
                  <a:lnTo>
                    <a:pt x="5" y="600"/>
                  </a:lnTo>
                  <a:lnTo>
                    <a:pt x="5" y="600"/>
                  </a:lnTo>
                  <a:lnTo>
                    <a:pt x="4" y="601"/>
                  </a:lnTo>
                  <a:lnTo>
                    <a:pt x="4" y="601"/>
                  </a:lnTo>
                  <a:lnTo>
                    <a:pt x="5" y="587"/>
                  </a:lnTo>
                  <a:lnTo>
                    <a:pt x="8" y="573"/>
                  </a:lnTo>
                  <a:lnTo>
                    <a:pt x="8" y="573"/>
                  </a:lnTo>
                  <a:lnTo>
                    <a:pt x="8" y="578"/>
                  </a:lnTo>
                  <a:lnTo>
                    <a:pt x="7" y="586"/>
                  </a:lnTo>
                  <a:lnTo>
                    <a:pt x="7" y="591"/>
                  </a:lnTo>
                  <a:lnTo>
                    <a:pt x="7" y="597"/>
                  </a:lnTo>
                  <a:lnTo>
                    <a:pt x="7" y="597"/>
                  </a:lnTo>
                  <a:lnTo>
                    <a:pt x="8" y="584"/>
                  </a:lnTo>
                  <a:lnTo>
                    <a:pt x="8" y="584"/>
                  </a:lnTo>
                  <a:lnTo>
                    <a:pt x="8" y="591"/>
                  </a:lnTo>
                  <a:lnTo>
                    <a:pt x="8" y="596"/>
                  </a:lnTo>
                  <a:lnTo>
                    <a:pt x="10" y="598"/>
                  </a:lnTo>
                  <a:lnTo>
                    <a:pt x="10" y="598"/>
                  </a:lnTo>
                  <a:lnTo>
                    <a:pt x="8" y="600"/>
                  </a:lnTo>
                  <a:lnTo>
                    <a:pt x="8" y="600"/>
                  </a:lnTo>
                  <a:lnTo>
                    <a:pt x="7" y="598"/>
                  </a:lnTo>
                  <a:lnTo>
                    <a:pt x="7" y="601"/>
                  </a:lnTo>
                  <a:lnTo>
                    <a:pt x="7" y="601"/>
                  </a:lnTo>
                  <a:lnTo>
                    <a:pt x="7" y="607"/>
                  </a:lnTo>
                  <a:lnTo>
                    <a:pt x="7" y="607"/>
                  </a:lnTo>
                  <a:lnTo>
                    <a:pt x="7" y="608"/>
                  </a:lnTo>
                  <a:lnTo>
                    <a:pt x="7" y="608"/>
                  </a:lnTo>
                  <a:lnTo>
                    <a:pt x="5" y="606"/>
                  </a:lnTo>
                  <a:lnTo>
                    <a:pt x="5" y="606"/>
                  </a:lnTo>
                  <a:lnTo>
                    <a:pt x="5" y="608"/>
                  </a:lnTo>
                  <a:lnTo>
                    <a:pt x="5" y="613"/>
                  </a:lnTo>
                  <a:lnTo>
                    <a:pt x="5" y="613"/>
                  </a:lnTo>
                  <a:lnTo>
                    <a:pt x="5" y="614"/>
                  </a:lnTo>
                  <a:lnTo>
                    <a:pt x="5" y="617"/>
                  </a:lnTo>
                  <a:lnTo>
                    <a:pt x="7" y="620"/>
                  </a:lnTo>
                  <a:lnTo>
                    <a:pt x="7" y="621"/>
                  </a:lnTo>
                  <a:lnTo>
                    <a:pt x="7" y="621"/>
                  </a:lnTo>
                  <a:lnTo>
                    <a:pt x="7" y="624"/>
                  </a:lnTo>
                  <a:lnTo>
                    <a:pt x="5" y="624"/>
                  </a:lnTo>
                  <a:lnTo>
                    <a:pt x="4" y="624"/>
                  </a:lnTo>
                  <a:lnTo>
                    <a:pt x="4" y="625"/>
                  </a:lnTo>
                  <a:lnTo>
                    <a:pt x="4" y="625"/>
                  </a:lnTo>
                  <a:lnTo>
                    <a:pt x="4" y="635"/>
                  </a:lnTo>
                  <a:lnTo>
                    <a:pt x="4" y="635"/>
                  </a:lnTo>
                  <a:lnTo>
                    <a:pt x="3" y="643"/>
                  </a:lnTo>
                  <a:lnTo>
                    <a:pt x="3" y="643"/>
                  </a:lnTo>
                  <a:lnTo>
                    <a:pt x="3" y="650"/>
                  </a:lnTo>
                  <a:lnTo>
                    <a:pt x="3" y="655"/>
                  </a:lnTo>
                  <a:lnTo>
                    <a:pt x="3" y="655"/>
                  </a:lnTo>
                  <a:lnTo>
                    <a:pt x="3" y="657"/>
                  </a:lnTo>
                  <a:lnTo>
                    <a:pt x="3" y="655"/>
                  </a:lnTo>
                  <a:lnTo>
                    <a:pt x="1" y="651"/>
                  </a:lnTo>
                  <a:lnTo>
                    <a:pt x="1" y="651"/>
                  </a:lnTo>
                  <a:lnTo>
                    <a:pt x="1" y="661"/>
                  </a:lnTo>
                  <a:lnTo>
                    <a:pt x="1" y="671"/>
                  </a:lnTo>
                  <a:lnTo>
                    <a:pt x="1" y="671"/>
                  </a:lnTo>
                  <a:lnTo>
                    <a:pt x="3" y="674"/>
                  </a:lnTo>
                  <a:lnTo>
                    <a:pt x="5" y="675"/>
                  </a:lnTo>
                  <a:lnTo>
                    <a:pt x="5" y="675"/>
                  </a:lnTo>
                  <a:lnTo>
                    <a:pt x="5" y="683"/>
                  </a:lnTo>
                  <a:lnTo>
                    <a:pt x="7" y="685"/>
                  </a:lnTo>
                  <a:lnTo>
                    <a:pt x="8" y="687"/>
                  </a:lnTo>
                  <a:lnTo>
                    <a:pt x="8" y="687"/>
                  </a:lnTo>
                  <a:lnTo>
                    <a:pt x="7" y="688"/>
                  </a:lnTo>
                  <a:lnTo>
                    <a:pt x="7" y="688"/>
                  </a:lnTo>
                  <a:lnTo>
                    <a:pt x="7" y="687"/>
                  </a:lnTo>
                  <a:lnTo>
                    <a:pt x="5" y="688"/>
                  </a:lnTo>
                  <a:lnTo>
                    <a:pt x="5" y="688"/>
                  </a:lnTo>
                  <a:lnTo>
                    <a:pt x="7" y="694"/>
                  </a:lnTo>
                  <a:lnTo>
                    <a:pt x="7" y="694"/>
                  </a:lnTo>
                  <a:lnTo>
                    <a:pt x="7" y="700"/>
                  </a:lnTo>
                  <a:lnTo>
                    <a:pt x="7" y="700"/>
                  </a:lnTo>
                  <a:lnTo>
                    <a:pt x="8" y="703"/>
                  </a:lnTo>
                  <a:lnTo>
                    <a:pt x="10" y="705"/>
                  </a:lnTo>
                  <a:lnTo>
                    <a:pt x="10" y="705"/>
                  </a:lnTo>
                  <a:lnTo>
                    <a:pt x="8" y="705"/>
                  </a:lnTo>
                  <a:lnTo>
                    <a:pt x="7" y="704"/>
                  </a:lnTo>
                  <a:lnTo>
                    <a:pt x="7" y="701"/>
                  </a:lnTo>
                  <a:lnTo>
                    <a:pt x="5" y="701"/>
                  </a:lnTo>
                  <a:lnTo>
                    <a:pt x="5" y="701"/>
                  </a:lnTo>
                  <a:lnTo>
                    <a:pt x="5" y="698"/>
                  </a:lnTo>
                  <a:lnTo>
                    <a:pt x="5" y="697"/>
                  </a:lnTo>
                  <a:lnTo>
                    <a:pt x="5" y="694"/>
                  </a:lnTo>
                  <a:lnTo>
                    <a:pt x="4" y="693"/>
                  </a:lnTo>
                  <a:lnTo>
                    <a:pt x="4" y="693"/>
                  </a:lnTo>
                  <a:lnTo>
                    <a:pt x="4" y="694"/>
                  </a:lnTo>
                  <a:lnTo>
                    <a:pt x="4" y="698"/>
                  </a:lnTo>
                  <a:lnTo>
                    <a:pt x="5" y="707"/>
                  </a:lnTo>
                  <a:lnTo>
                    <a:pt x="5" y="707"/>
                  </a:lnTo>
                  <a:lnTo>
                    <a:pt x="5" y="710"/>
                  </a:lnTo>
                  <a:lnTo>
                    <a:pt x="5" y="713"/>
                  </a:lnTo>
                  <a:lnTo>
                    <a:pt x="5" y="713"/>
                  </a:lnTo>
                  <a:lnTo>
                    <a:pt x="8" y="724"/>
                  </a:lnTo>
                  <a:lnTo>
                    <a:pt x="8" y="724"/>
                  </a:lnTo>
                  <a:lnTo>
                    <a:pt x="8" y="728"/>
                  </a:lnTo>
                  <a:lnTo>
                    <a:pt x="8" y="733"/>
                  </a:lnTo>
                  <a:lnTo>
                    <a:pt x="8" y="733"/>
                  </a:lnTo>
                  <a:lnTo>
                    <a:pt x="10" y="734"/>
                  </a:lnTo>
                  <a:lnTo>
                    <a:pt x="10" y="733"/>
                  </a:lnTo>
                  <a:lnTo>
                    <a:pt x="10" y="733"/>
                  </a:lnTo>
                  <a:lnTo>
                    <a:pt x="11" y="740"/>
                  </a:lnTo>
                  <a:lnTo>
                    <a:pt x="11" y="745"/>
                  </a:lnTo>
                  <a:lnTo>
                    <a:pt x="11" y="745"/>
                  </a:lnTo>
                  <a:lnTo>
                    <a:pt x="13" y="750"/>
                  </a:lnTo>
                  <a:lnTo>
                    <a:pt x="14" y="754"/>
                  </a:lnTo>
                  <a:lnTo>
                    <a:pt x="14" y="754"/>
                  </a:lnTo>
                  <a:lnTo>
                    <a:pt x="14" y="750"/>
                  </a:lnTo>
                  <a:lnTo>
                    <a:pt x="14" y="747"/>
                  </a:lnTo>
                  <a:lnTo>
                    <a:pt x="13" y="743"/>
                  </a:lnTo>
                  <a:lnTo>
                    <a:pt x="13" y="738"/>
                  </a:lnTo>
                  <a:lnTo>
                    <a:pt x="13" y="738"/>
                  </a:lnTo>
                  <a:lnTo>
                    <a:pt x="13" y="737"/>
                  </a:lnTo>
                  <a:lnTo>
                    <a:pt x="14" y="737"/>
                  </a:lnTo>
                  <a:lnTo>
                    <a:pt x="14" y="735"/>
                  </a:lnTo>
                  <a:lnTo>
                    <a:pt x="14" y="733"/>
                  </a:lnTo>
                  <a:lnTo>
                    <a:pt x="14" y="733"/>
                  </a:lnTo>
                  <a:lnTo>
                    <a:pt x="15" y="735"/>
                  </a:lnTo>
                  <a:lnTo>
                    <a:pt x="15" y="738"/>
                  </a:lnTo>
                  <a:lnTo>
                    <a:pt x="15" y="743"/>
                  </a:lnTo>
                  <a:lnTo>
                    <a:pt x="15" y="743"/>
                  </a:lnTo>
                  <a:lnTo>
                    <a:pt x="17" y="744"/>
                  </a:lnTo>
                  <a:lnTo>
                    <a:pt x="17" y="741"/>
                  </a:lnTo>
                  <a:lnTo>
                    <a:pt x="17" y="738"/>
                  </a:lnTo>
                  <a:lnTo>
                    <a:pt x="17" y="738"/>
                  </a:lnTo>
                  <a:lnTo>
                    <a:pt x="17" y="738"/>
                  </a:lnTo>
                  <a:lnTo>
                    <a:pt x="15" y="734"/>
                  </a:lnTo>
                  <a:lnTo>
                    <a:pt x="15" y="731"/>
                  </a:lnTo>
                  <a:lnTo>
                    <a:pt x="15" y="731"/>
                  </a:lnTo>
                  <a:lnTo>
                    <a:pt x="14" y="727"/>
                  </a:lnTo>
                  <a:lnTo>
                    <a:pt x="14" y="725"/>
                  </a:lnTo>
                  <a:lnTo>
                    <a:pt x="14" y="725"/>
                  </a:lnTo>
                  <a:lnTo>
                    <a:pt x="14" y="730"/>
                  </a:lnTo>
                  <a:lnTo>
                    <a:pt x="14" y="731"/>
                  </a:lnTo>
                  <a:lnTo>
                    <a:pt x="13" y="731"/>
                  </a:lnTo>
                  <a:lnTo>
                    <a:pt x="13" y="731"/>
                  </a:lnTo>
                  <a:lnTo>
                    <a:pt x="13" y="727"/>
                  </a:lnTo>
                  <a:lnTo>
                    <a:pt x="11" y="723"/>
                  </a:lnTo>
                  <a:lnTo>
                    <a:pt x="11" y="723"/>
                  </a:lnTo>
                  <a:lnTo>
                    <a:pt x="13" y="723"/>
                  </a:lnTo>
                  <a:lnTo>
                    <a:pt x="13" y="723"/>
                  </a:lnTo>
                  <a:lnTo>
                    <a:pt x="14" y="720"/>
                  </a:lnTo>
                  <a:lnTo>
                    <a:pt x="14" y="720"/>
                  </a:lnTo>
                  <a:lnTo>
                    <a:pt x="13" y="720"/>
                  </a:lnTo>
                  <a:lnTo>
                    <a:pt x="13" y="717"/>
                  </a:lnTo>
                  <a:lnTo>
                    <a:pt x="13" y="710"/>
                  </a:lnTo>
                  <a:lnTo>
                    <a:pt x="13" y="710"/>
                  </a:lnTo>
                  <a:lnTo>
                    <a:pt x="14" y="710"/>
                  </a:lnTo>
                  <a:lnTo>
                    <a:pt x="14" y="714"/>
                  </a:lnTo>
                  <a:lnTo>
                    <a:pt x="14" y="714"/>
                  </a:lnTo>
                  <a:lnTo>
                    <a:pt x="14" y="707"/>
                  </a:lnTo>
                  <a:lnTo>
                    <a:pt x="14" y="697"/>
                  </a:lnTo>
                  <a:lnTo>
                    <a:pt x="14" y="697"/>
                  </a:lnTo>
                  <a:lnTo>
                    <a:pt x="14" y="694"/>
                  </a:lnTo>
                  <a:lnTo>
                    <a:pt x="14" y="690"/>
                  </a:lnTo>
                  <a:lnTo>
                    <a:pt x="15" y="685"/>
                  </a:lnTo>
                  <a:lnTo>
                    <a:pt x="15" y="683"/>
                  </a:lnTo>
                  <a:lnTo>
                    <a:pt x="15" y="683"/>
                  </a:lnTo>
                  <a:lnTo>
                    <a:pt x="14" y="677"/>
                  </a:lnTo>
                  <a:lnTo>
                    <a:pt x="13" y="671"/>
                  </a:lnTo>
                  <a:lnTo>
                    <a:pt x="13" y="671"/>
                  </a:lnTo>
                  <a:lnTo>
                    <a:pt x="14" y="671"/>
                  </a:lnTo>
                  <a:lnTo>
                    <a:pt x="14" y="671"/>
                  </a:lnTo>
                  <a:lnTo>
                    <a:pt x="15" y="674"/>
                  </a:lnTo>
                  <a:lnTo>
                    <a:pt x="15" y="674"/>
                  </a:lnTo>
                  <a:lnTo>
                    <a:pt x="15" y="671"/>
                  </a:lnTo>
                  <a:lnTo>
                    <a:pt x="15" y="667"/>
                  </a:lnTo>
                  <a:lnTo>
                    <a:pt x="15" y="667"/>
                  </a:lnTo>
                  <a:lnTo>
                    <a:pt x="15" y="660"/>
                  </a:lnTo>
                  <a:lnTo>
                    <a:pt x="15" y="660"/>
                  </a:lnTo>
                  <a:lnTo>
                    <a:pt x="14" y="660"/>
                  </a:lnTo>
                  <a:lnTo>
                    <a:pt x="14" y="663"/>
                  </a:lnTo>
                  <a:lnTo>
                    <a:pt x="14" y="663"/>
                  </a:lnTo>
                  <a:lnTo>
                    <a:pt x="13" y="657"/>
                  </a:lnTo>
                  <a:lnTo>
                    <a:pt x="13" y="654"/>
                  </a:lnTo>
                  <a:lnTo>
                    <a:pt x="13" y="654"/>
                  </a:lnTo>
                  <a:lnTo>
                    <a:pt x="13" y="654"/>
                  </a:lnTo>
                  <a:lnTo>
                    <a:pt x="14" y="653"/>
                  </a:lnTo>
                  <a:lnTo>
                    <a:pt x="14" y="650"/>
                  </a:lnTo>
                  <a:lnTo>
                    <a:pt x="14" y="650"/>
                  </a:lnTo>
                  <a:lnTo>
                    <a:pt x="14" y="648"/>
                  </a:lnTo>
                  <a:lnTo>
                    <a:pt x="14" y="650"/>
                  </a:lnTo>
                  <a:lnTo>
                    <a:pt x="15" y="653"/>
                  </a:lnTo>
                  <a:lnTo>
                    <a:pt x="15" y="653"/>
                  </a:lnTo>
                  <a:lnTo>
                    <a:pt x="15" y="644"/>
                  </a:lnTo>
                  <a:lnTo>
                    <a:pt x="15" y="640"/>
                  </a:lnTo>
                  <a:lnTo>
                    <a:pt x="17" y="635"/>
                  </a:lnTo>
                  <a:lnTo>
                    <a:pt x="17" y="635"/>
                  </a:lnTo>
                  <a:lnTo>
                    <a:pt x="15" y="633"/>
                  </a:lnTo>
                  <a:lnTo>
                    <a:pt x="15" y="630"/>
                  </a:lnTo>
                  <a:lnTo>
                    <a:pt x="17" y="625"/>
                  </a:lnTo>
                  <a:lnTo>
                    <a:pt x="15" y="621"/>
                  </a:lnTo>
                  <a:lnTo>
                    <a:pt x="15" y="621"/>
                  </a:lnTo>
                  <a:lnTo>
                    <a:pt x="17" y="621"/>
                  </a:lnTo>
                  <a:lnTo>
                    <a:pt x="17" y="620"/>
                  </a:lnTo>
                  <a:lnTo>
                    <a:pt x="17" y="617"/>
                  </a:lnTo>
                  <a:lnTo>
                    <a:pt x="18" y="615"/>
                  </a:lnTo>
                  <a:lnTo>
                    <a:pt x="18" y="615"/>
                  </a:lnTo>
                  <a:lnTo>
                    <a:pt x="18" y="623"/>
                  </a:lnTo>
                  <a:lnTo>
                    <a:pt x="17" y="628"/>
                  </a:lnTo>
                  <a:lnTo>
                    <a:pt x="17" y="628"/>
                  </a:lnTo>
                  <a:lnTo>
                    <a:pt x="18" y="633"/>
                  </a:lnTo>
                  <a:lnTo>
                    <a:pt x="18" y="638"/>
                  </a:lnTo>
                  <a:lnTo>
                    <a:pt x="15" y="650"/>
                  </a:lnTo>
                  <a:lnTo>
                    <a:pt x="15" y="650"/>
                  </a:lnTo>
                  <a:lnTo>
                    <a:pt x="18" y="651"/>
                  </a:lnTo>
                  <a:lnTo>
                    <a:pt x="20" y="655"/>
                  </a:lnTo>
                  <a:lnTo>
                    <a:pt x="20" y="655"/>
                  </a:lnTo>
                  <a:lnTo>
                    <a:pt x="18" y="651"/>
                  </a:lnTo>
                  <a:lnTo>
                    <a:pt x="18" y="645"/>
                  </a:lnTo>
                  <a:lnTo>
                    <a:pt x="18" y="634"/>
                  </a:lnTo>
                  <a:lnTo>
                    <a:pt x="18" y="634"/>
                  </a:lnTo>
                  <a:lnTo>
                    <a:pt x="20" y="623"/>
                  </a:lnTo>
                  <a:lnTo>
                    <a:pt x="20" y="617"/>
                  </a:lnTo>
                  <a:lnTo>
                    <a:pt x="18" y="613"/>
                  </a:lnTo>
                  <a:lnTo>
                    <a:pt x="18" y="613"/>
                  </a:lnTo>
                  <a:lnTo>
                    <a:pt x="18" y="601"/>
                  </a:lnTo>
                  <a:lnTo>
                    <a:pt x="20" y="591"/>
                  </a:lnTo>
                  <a:lnTo>
                    <a:pt x="20" y="591"/>
                  </a:lnTo>
                  <a:lnTo>
                    <a:pt x="18" y="590"/>
                  </a:lnTo>
                  <a:lnTo>
                    <a:pt x="18" y="593"/>
                  </a:lnTo>
                  <a:lnTo>
                    <a:pt x="18" y="593"/>
                  </a:lnTo>
                  <a:lnTo>
                    <a:pt x="17" y="586"/>
                  </a:lnTo>
                  <a:lnTo>
                    <a:pt x="17" y="586"/>
                  </a:lnTo>
                  <a:lnTo>
                    <a:pt x="18" y="578"/>
                  </a:lnTo>
                  <a:lnTo>
                    <a:pt x="18" y="578"/>
                  </a:lnTo>
                  <a:lnTo>
                    <a:pt x="18" y="584"/>
                  </a:lnTo>
                  <a:lnTo>
                    <a:pt x="18" y="590"/>
                  </a:lnTo>
                  <a:lnTo>
                    <a:pt x="18" y="590"/>
                  </a:lnTo>
                  <a:lnTo>
                    <a:pt x="21" y="580"/>
                  </a:lnTo>
                  <a:lnTo>
                    <a:pt x="21" y="580"/>
                  </a:lnTo>
                  <a:lnTo>
                    <a:pt x="20" y="574"/>
                  </a:lnTo>
                  <a:lnTo>
                    <a:pt x="20" y="574"/>
                  </a:lnTo>
                  <a:lnTo>
                    <a:pt x="21" y="570"/>
                  </a:lnTo>
                  <a:lnTo>
                    <a:pt x="21" y="570"/>
                  </a:lnTo>
                  <a:lnTo>
                    <a:pt x="21" y="568"/>
                  </a:lnTo>
                  <a:lnTo>
                    <a:pt x="23" y="570"/>
                  </a:lnTo>
                  <a:lnTo>
                    <a:pt x="23" y="573"/>
                  </a:lnTo>
                  <a:lnTo>
                    <a:pt x="23" y="573"/>
                  </a:lnTo>
                  <a:lnTo>
                    <a:pt x="23" y="568"/>
                  </a:lnTo>
                  <a:lnTo>
                    <a:pt x="23" y="567"/>
                  </a:lnTo>
                  <a:lnTo>
                    <a:pt x="23" y="564"/>
                  </a:lnTo>
                  <a:lnTo>
                    <a:pt x="23" y="558"/>
                  </a:lnTo>
                  <a:lnTo>
                    <a:pt x="23" y="558"/>
                  </a:lnTo>
                  <a:lnTo>
                    <a:pt x="23" y="558"/>
                  </a:lnTo>
                  <a:lnTo>
                    <a:pt x="21" y="560"/>
                  </a:lnTo>
                  <a:lnTo>
                    <a:pt x="21" y="560"/>
                  </a:lnTo>
                  <a:lnTo>
                    <a:pt x="21" y="553"/>
                  </a:lnTo>
                  <a:lnTo>
                    <a:pt x="21" y="553"/>
                  </a:lnTo>
                  <a:lnTo>
                    <a:pt x="23" y="554"/>
                  </a:lnTo>
                  <a:lnTo>
                    <a:pt x="23" y="553"/>
                  </a:lnTo>
                  <a:lnTo>
                    <a:pt x="24" y="548"/>
                  </a:lnTo>
                  <a:lnTo>
                    <a:pt x="24" y="548"/>
                  </a:lnTo>
                  <a:lnTo>
                    <a:pt x="28" y="536"/>
                  </a:lnTo>
                  <a:lnTo>
                    <a:pt x="28" y="536"/>
                  </a:lnTo>
                  <a:lnTo>
                    <a:pt x="27" y="548"/>
                  </a:lnTo>
                  <a:lnTo>
                    <a:pt x="27" y="548"/>
                  </a:lnTo>
                  <a:lnTo>
                    <a:pt x="25" y="556"/>
                  </a:lnTo>
                  <a:lnTo>
                    <a:pt x="25" y="557"/>
                  </a:lnTo>
                  <a:lnTo>
                    <a:pt x="27" y="558"/>
                  </a:lnTo>
                  <a:lnTo>
                    <a:pt x="27" y="558"/>
                  </a:lnTo>
                  <a:lnTo>
                    <a:pt x="25" y="568"/>
                  </a:lnTo>
                  <a:lnTo>
                    <a:pt x="24" y="578"/>
                  </a:lnTo>
                  <a:lnTo>
                    <a:pt x="24" y="578"/>
                  </a:lnTo>
                  <a:lnTo>
                    <a:pt x="24" y="577"/>
                  </a:lnTo>
                  <a:lnTo>
                    <a:pt x="25" y="574"/>
                  </a:lnTo>
                  <a:lnTo>
                    <a:pt x="25" y="574"/>
                  </a:lnTo>
                  <a:lnTo>
                    <a:pt x="27" y="567"/>
                  </a:lnTo>
                  <a:lnTo>
                    <a:pt x="27" y="567"/>
                  </a:lnTo>
                  <a:lnTo>
                    <a:pt x="27" y="573"/>
                  </a:lnTo>
                  <a:lnTo>
                    <a:pt x="27" y="577"/>
                  </a:lnTo>
                  <a:lnTo>
                    <a:pt x="27" y="577"/>
                  </a:lnTo>
                  <a:lnTo>
                    <a:pt x="25" y="578"/>
                  </a:lnTo>
                  <a:lnTo>
                    <a:pt x="25" y="581"/>
                  </a:lnTo>
                  <a:lnTo>
                    <a:pt x="25" y="583"/>
                  </a:lnTo>
                  <a:lnTo>
                    <a:pt x="24" y="584"/>
                  </a:lnTo>
                  <a:lnTo>
                    <a:pt x="24" y="584"/>
                  </a:lnTo>
                  <a:lnTo>
                    <a:pt x="24" y="588"/>
                  </a:lnTo>
                  <a:lnTo>
                    <a:pt x="25" y="588"/>
                  </a:lnTo>
                  <a:lnTo>
                    <a:pt x="27" y="587"/>
                  </a:lnTo>
                  <a:lnTo>
                    <a:pt x="27" y="587"/>
                  </a:lnTo>
                  <a:lnTo>
                    <a:pt x="27" y="590"/>
                  </a:lnTo>
                  <a:lnTo>
                    <a:pt x="25" y="591"/>
                  </a:lnTo>
                  <a:lnTo>
                    <a:pt x="24" y="593"/>
                  </a:lnTo>
                  <a:lnTo>
                    <a:pt x="24" y="593"/>
                  </a:lnTo>
                  <a:lnTo>
                    <a:pt x="25" y="597"/>
                  </a:lnTo>
                  <a:lnTo>
                    <a:pt x="25" y="601"/>
                  </a:lnTo>
                  <a:lnTo>
                    <a:pt x="25" y="601"/>
                  </a:lnTo>
                  <a:lnTo>
                    <a:pt x="24" y="604"/>
                  </a:lnTo>
                  <a:lnTo>
                    <a:pt x="23" y="606"/>
                  </a:lnTo>
                  <a:lnTo>
                    <a:pt x="23" y="606"/>
                  </a:lnTo>
                  <a:lnTo>
                    <a:pt x="24" y="610"/>
                  </a:lnTo>
                  <a:lnTo>
                    <a:pt x="23" y="613"/>
                  </a:lnTo>
                  <a:lnTo>
                    <a:pt x="23" y="613"/>
                  </a:lnTo>
                  <a:lnTo>
                    <a:pt x="23" y="621"/>
                  </a:lnTo>
                  <a:lnTo>
                    <a:pt x="24" y="630"/>
                  </a:lnTo>
                  <a:lnTo>
                    <a:pt x="24" y="630"/>
                  </a:lnTo>
                  <a:lnTo>
                    <a:pt x="23" y="631"/>
                  </a:lnTo>
                  <a:lnTo>
                    <a:pt x="23" y="631"/>
                  </a:lnTo>
                  <a:lnTo>
                    <a:pt x="23" y="630"/>
                  </a:lnTo>
                  <a:lnTo>
                    <a:pt x="21" y="630"/>
                  </a:lnTo>
                  <a:lnTo>
                    <a:pt x="21" y="630"/>
                  </a:lnTo>
                  <a:lnTo>
                    <a:pt x="21" y="620"/>
                  </a:lnTo>
                  <a:lnTo>
                    <a:pt x="21" y="617"/>
                  </a:lnTo>
                  <a:lnTo>
                    <a:pt x="20" y="615"/>
                  </a:lnTo>
                  <a:lnTo>
                    <a:pt x="20" y="615"/>
                  </a:lnTo>
                  <a:lnTo>
                    <a:pt x="21" y="620"/>
                  </a:lnTo>
                  <a:lnTo>
                    <a:pt x="21" y="624"/>
                  </a:lnTo>
                  <a:lnTo>
                    <a:pt x="21" y="624"/>
                  </a:lnTo>
                  <a:lnTo>
                    <a:pt x="20" y="627"/>
                  </a:lnTo>
                  <a:lnTo>
                    <a:pt x="20" y="627"/>
                  </a:lnTo>
                  <a:lnTo>
                    <a:pt x="21" y="631"/>
                  </a:lnTo>
                  <a:lnTo>
                    <a:pt x="20" y="637"/>
                  </a:lnTo>
                  <a:lnTo>
                    <a:pt x="20" y="637"/>
                  </a:lnTo>
                  <a:lnTo>
                    <a:pt x="21" y="640"/>
                  </a:lnTo>
                  <a:lnTo>
                    <a:pt x="23" y="640"/>
                  </a:lnTo>
                  <a:lnTo>
                    <a:pt x="23" y="640"/>
                  </a:lnTo>
                  <a:lnTo>
                    <a:pt x="24" y="643"/>
                  </a:lnTo>
                  <a:lnTo>
                    <a:pt x="24" y="643"/>
                  </a:lnTo>
                  <a:lnTo>
                    <a:pt x="24" y="647"/>
                  </a:lnTo>
                  <a:lnTo>
                    <a:pt x="24" y="647"/>
                  </a:lnTo>
                  <a:lnTo>
                    <a:pt x="24" y="648"/>
                  </a:lnTo>
                  <a:lnTo>
                    <a:pt x="23" y="648"/>
                  </a:lnTo>
                  <a:lnTo>
                    <a:pt x="21" y="645"/>
                  </a:lnTo>
                  <a:lnTo>
                    <a:pt x="21" y="645"/>
                  </a:lnTo>
                  <a:lnTo>
                    <a:pt x="21" y="650"/>
                  </a:lnTo>
                  <a:lnTo>
                    <a:pt x="21" y="655"/>
                  </a:lnTo>
                  <a:lnTo>
                    <a:pt x="21" y="655"/>
                  </a:lnTo>
                  <a:lnTo>
                    <a:pt x="21" y="657"/>
                  </a:lnTo>
                  <a:lnTo>
                    <a:pt x="23" y="655"/>
                  </a:lnTo>
                  <a:lnTo>
                    <a:pt x="23" y="655"/>
                  </a:lnTo>
                  <a:lnTo>
                    <a:pt x="23" y="665"/>
                  </a:lnTo>
                  <a:lnTo>
                    <a:pt x="23" y="670"/>
                  </a:lnTo>
                  <a:lnTo>
                    <a:pt x="24" y="675"/>
                  </a:lnTo>
                  <a:lnTo>
                    <a:pt x="24" y="675"/>
                  </a:lnTo>
                  <a:lnTo>
                    <a:pt x="25" y="693"/>
                  </a:lnTo>
                  <a:lnTo>
                    <a:pt x="25" y="693"/>
                  </a:lnTo>
                  <a:lnTo>
                    <a:pt x="25" y="700"/>
                  </a:lnTo>
                  <a:lnTo>
                    <a:pt x="25" y="707"/>
                  </a:lnTo>
                  <a:lnTo>
                    <a:pt x="25" y="707"/>
                  </a:lnTo>
                  <a:lnTo>
                    <a:pt x="27" y="713"/>
                  </a:lnTo>
                  <a:lnTo>
                    <a:pt x="27" y="718"/>
                  </a:lnTo>
                  <a:lnTo>
                    <a:pt x="27" y="718"/>
                  </a:lnTo>
                  <a:lnTo>
                    <a:pt x="30" y="720"/>
                  </a:lnTo>
                  <a:lnTo>
                    <a:pt x="31" y="721"/>
                  </a:lnTo>
                  <a:lnTo>
                    <a:pt x="31" y="721"/>
                  </a:lnTo>
                  <a:lnTo>
                    <a:pt x="33" y="713"/>
                  </a:lnTo>
                  <a:lnTo>
                    <a:pt x="33" y="713"/>
                  </a:lnTo>
                  <a:lnTo>
                    <a:pt x="31" y="711"/>
                  </a:lnTo>
                  <a:lnTo>
                    <a:pt x="28" y="708"/>
                  </a:lnTo>
                  <a:lnTo>
                    <a:pt x="28" y="708"/>
                  </a:lnTo>
                  <a:lnTo>
                    <a:pt x="28" y="701"/>
                  </a:lnTo>
                  <a:lnTo>
                    <a:pt x="25" y="694"/>
                  </a:lnTo>
                  <a:lnTo>
                    <a:pt x="25" y="694"/>
                  </a:lnTo>
                  <a:lnTo>
                    <a:pt x="27" y="693"/>
                  </a:lnTo>
                  <a:lnTo>
                    <a:pt x="28" y="695"/>
                  </a:lnTo>
                  <a:lnTo>
                    <a:pt x="30" y="700"/>
                  </a:lnTo>
                  <a:lnTo>
                    <a:pt x="30" y="700"/>
                  </a:lnTo>
                  <a:lnTo>
                    <a:pt x="30" y="693"/>
                  </a:lnTo>
                  <a:lnTo>
                    <a:pt x="30" y="690"/>
                  </a:lnTo>
                  <a:lnTo>
                    <a:pt x="31" y="690"/>
                  </a:lnTo>
                  <a:lnTo>
                    <a:pt x="31" y="690"/>
                  </a:lnTo>
                  <a:lnTo>
                    <a:pt x="30" y="678"/>
                  </a:lnTo>
                  <a:lnTo>
                    <a:pt x="30" y="673"/>
                  </a:lnTo>
                  <a:lnTo>
                    <a:pt x="30" y="667"/>
                  </a:lnTo>
                  <a:lnTo>
                    <a:pt x="30" y="667"/>
                  </a:lnTo>
                  <a:lnTo>
                    <a:pt x="33" y="681"/>
                  </a:lnTo>
                  <a:lnTo>
                    <a:pt x="33" y="681"/>
                  </a:lnTo>
                  <a:lnTo>
                    <a:pt x="33" y="675"/>
                  </a:lnTo>
                  <a:lnTo>
                    <a:pt x="33" y="671"/>
                  </a:lnTo>
                  <a:lnTo>
                    <a:pt x="33" y="671"/>
                  </a:lnTo>
                  <a:lnTo>
                    <a:pt x="31" y="670"/>
                  </a:lnTo>
                  <a:lnTo>
                    <a:pt x="33" y="667"/>
                  </a:lnTo>
                  <a:lnTo>
                    <a:pt x="33" y="667"/>
                  </a:lnTo>
                  <a:lnTo>
                    <a:pt x="31" y="661"/>
                  </a:lnTo>
                  <a:lnTo>
                    <a:pt x="31" y="661"/>
                  </a:lnTo>
                  <a:lnTo>
                    <a:pt x="31" y="654"/>
                  </a:lnTo>
                  <a:lnTo>
                    <a:pt x="31" y="654"/>
                  </a:lnTo>
                  <a:lnTo>
                    <a:pt x="31" y="648"/>
                  </a:lnTo>
                  <a:lnTo>
                    <a:pt x="31" y="641"/>
                  </a:lnTo>
                  <a:lnTo>
                    <a:pt x="31" y="641"/>
                  </a:lnTo>
                  <a:lnTo>
                    <a:pt x="33" y="640"/>
                  </a:lnTo>
                  <a:lnTo>
                    <a:pt x="33" y="641"/>
                  </a:lnTo>
                  <a:lnTo>
                    <a:pt x="34" y="644"/>
                  </a:lnTo>
                  <a:lnTo>
                    <a:pt x="34" y="644"/>
                  </a:lnTo>
                  <a:lnTo>
                    <a:pt x="34" y="640"/>
                  </a:lnTo>
                  <a:lnTo>
                    <a:pt x="34" y="635"/>
                  </a:lnTo>
                  <a:lnTo>
                    <a:pt x="34" y="635"/>
                  </a:lnTo>
                  <a:lnTo>
                    <a:pt x="33" y="637"/>
                  </a:lnTo>
                  <a:lnTo>
                    <a:pt x="31" y="643"/>
                  </a:lnTo>
                  <a:lnTo>
                    <a:pt x="31" y="643"/>
                  </a:lnTo>
                  <a:lnTo>
                    <a:pt x="30" y="641"/>
                  </a:lnTo>
                  <a:lnTo>
                    <a:pt x="30" y="641"/>
                  </a:lnTo>
                  <a:lnTo>
                    <a:pt x="30" y="634"/>
                  </a:lnTo>
                  <a:lnTo>
                    <a:pt x="30" y="634"/>
                  </a:lnTo>
                  <a:lnTo>
                    <a:pt x="30" y="633"/>
                  </a:lnTo>
                  <a:lnTo>
                    <a:pt x="30" y="634"/>
                  </a:lnTo>
                  <a:lnTo>
                    <a:pt x="31" y="634"/>
                  </a:lnTo>
                  <a:lnTo>
                    <a:pt x="31" y="631"/>
                  </a:lnTo>
                  <a:lnTo>
                    <a:pt x="31" y="631"/>
                  </a:lnTo>
                  <a:lnTo>
                    <a:pt x="30" y="630"/>
                  </a:lnTo>
                  <a:lnTo>
                    <a:pt x="30" y="628"/>
                  </a:lnTo>
                  <a:lnTo>
                    <a:pt x="30" y="628"/>
                  </a:lnTo>
                  <a:lnTo>
                    <a:pt x="30" y="624"/>
                  </a:lnTo>
                  <a:lnTo>
                    <a:pt x="30" y="624"/>
                  </a:lnTo>
                  <a:lnTo>
                    <a:pt x="30" y="623"/>
                  </a:lnTo>
                  <a:lnTo>
                    <a:pt x="31" y="624"/>
                  </a:lnTo>
                  <a:lnTo>
                    <a:pt x="31" y="625"/>
                  </a:lnTo>
                  <a:lnTo>
                    <a:pt x="31" y="625"/>
                  </a:lnTo>
                  <a:lnTo>
                    <a:pt x="31" y="631"/>
                  </a:lnTo>
                  <a:lnTo>
                    <a:pt x="31" y="634"/>
                  </a:lnTo>
                  <a:lnTo>
                    <a:pt x="31" y="635"/>
                  </a:lnTo>
                  <a:lnTo>
                    <a:pt x="31" y="635"/>
                  </a:lnTo>
                  <a:lnTo>
                    <a:pt x="33" y="610"/>
                  </a:lnTo>
                  <a:lnTo>
                    <a:pt x="35" y="584"/>
                  </a:lnTo>
                  <a:lnTo>
                    <a:pt x="38" y="560"/>
                  </a:lnTo>
                  <a:lnTo>
                    <a:pt x="44" y="534"/>
                  </a:lnTo>
                  <a:lnTo>
                    <a:pt x="44" y="534"/>
                  </a:lnTo>
                  <a:lnTo>
                    <a:pt x="43" y="531"/>
                  </a:lnTo>
                  <a:lnTo>
                    <a:pt x="44" y="526"/>
                  </a:lnTo>
                  <a:lnTo>
                    <a:pt x="45" y="521"/>
                  </a:lnTo>
                  <a:lnTo>
                    <a:pt x="47" y="518"/>
                  </a:lnTo>
                  <a:lnTo>
                    <a:pt x="47" y="518"/>
                  </a:lnTo>
                  <a:lnTo>
                    <a:pt x="45" y="518"/>
                  </a:lnTo>
                  <a:lnTo>
                    <a:pt x="45" y="518"/>
                  </a:lnTo>
                  <a:lnTo>
                    <a:pt x="44" y="518"/>
                  </a:lnTo>
                  <a:lnTo>
                    <a:pt x="43" y="517"/>
                  </a:lnTo>
                  <a:lnTo>
                    <a:pt x="43" y="517"/>
                  </a:lnTo>
                  <a:lnTo>
                    <a:pt x="44" y="513"/>
                  </a:lnTo>
                  <a:lnTo>
                    <a:pt x="45" y="511"/>
                  </a:lnTo>
                  <a:lnTo>
                    <a:pt x="45" y="508"/>
                  </a:lnTo>
                  <a:lnTo>
                    <a:pt x="47" y="506"/>
                  </a:lnTo>
                  <a:lnTo>
                    <a:pt x="47" y="506"/>
                  </a:lnTo>
                  <a:lnTo>
                    <a:pt x="47" y="506"/>
                  </a:lnTo>
                  <a:lnTo>
                    <a:pt x="47" y="507"/>
                  </a:lnTo>
                  <a:lnTo>
                    <a:pt x="47" y="507"/>
                  </a:lnTo>
                  <a:lnTo>
                    <a:pt x="48" y="500"/>
                  </a:lnTo>
                  <a:lnTo>
                    <a:pt x="50" y="491"/>
                  </a:lnTo>
                  <a:lnTo>
                    <a:pt x="50" y="491"/>
                  </a:lnTo>
                  <a:lnTo>
                    <a:pt x="51" y="493"/>
                  </a:lnTo>
                  <a:lnTo>
                    <a:pt x="53" y="493"/>
                  </a:lnTo>
                  <a:lnTo>
                    <a:pt x="54" y="487"/>
                  </a:lnTo>
                  <a:lnTo>
                    <a:pt x="57" y="478"/>
                  </a:lnTo>
                  <a:lnTo>
                    <a:pt x="60" y="471"/>
                  </a:lnTo>
                  <a:lnTo>
                    <a:pt x="60" y="471"/>
                  </a:lnTo>
                  <a:lnTo>
                    <a:pt x="60" y="470"/>
                  </a:lnTo>
                  <a:lnTo>
                    <a:pt x="60" y="470"/>
                  </a:lnTo>
                  <a:lnTo>
                    <a:pt x="58" y="473"/>
                  </a:lnTo>
                  <a:lnTo>
                    <a:pt x="58" y="473"/>
                  </a:lnTo>
                  <a:lnTo>
                    <a:pt x="60" y="467"/>
                  </a:lnTo>
                  <a:lnTo>
                    <a:pt x="63" y="461"/>
                  </a:lnTo>
                  <a:lnTo>
                    <a:pt x="63" y="461"/>
                  </a:lnTo>
                  <a:lnTo>
                    <a:pt x="63" y="461"/>
                  </a:lnTo>
                  <a:lnTo>
                    <a:pt x="61" y="461"/>
                  </a:lnTo>
                  <a:lnTo>
                    <a:pt x="61" y="461"/>
                  </a:lnTo>
                  <a:lnTo>
                    <a:pt x="61" y="461"/>
                  </a:lnTo>
                  <a:lnTo>
                    <a:pt x="61" y="461"/>
                  </a:lnTo>
                  <a:lnTo>
                    <a:pt x="64" y="456"/>
                  </a:lnTo>
                  <a:lnTo>
                    <a:pt x="64" y="456"/>
                  </a:lnTo>
                  <a:lnTo>
                    <a:pt x="63" y="450"/>
                  </a:lnTo>
                  <a:lnTo>
                    <a:pt x="63" y="450"/>
                  </a:lnTo>
                  <a:lnTo>
                    <a:pt x="64" y="447"/>
                  </a:lnTo>
                  <a:lnTo>
                    <a:pt x="64" y="447"/>
                  </a:lnTo>
                  <a:lnTo>
                    <a:pt x="65" y="446"/>
                  </a:lnTo>
                  <a:lnTo>
                    <a:pt x="65" y="441"/>
                  </a:lnTo>
                  <a:lnTo>
                    <a:pt x="65" y="441"/>
                  </a:lnTo>
                  <a:lnTo>
                    <a:pt x="67" y="441"/>
                  </a:lnTo>
                  <a:lnTo>
                    <a:pt x="67" y="441"/>
                  </a:lnTo>
                  <a:lnTo>
                    <a:pt x="67" y="444"/>
                  </a:lnTo>
                  <a:lnTo>
                    <a:pt x="67" y="444"/>
                  </a:lnTo>
                  <a:lnTo>
                    <a:pt x="68" y="441"/>
                  </a:lnTo>
                  <a:lnTo>
                    <a:pt x="68" y="441"/>
                  </a:lnTo>
                  <a:lnTo>
                    <a:pt x="70" y="439"/>
                  </a:lnTo>
                  <a:lnTo>
                    <a:pt x="70" y="439"/>
                  </a:lnTo>
                  <a:lnTo>
                    <a:pt x="72" y="434"/>
                  </a:lnTo>
                  <a:lnTo>
                    <a:pt x="72" y="434"/>
                  </a:lnTo>
                  <a:lnTo>
                    <a:pt x="77" y="420"/>
                  </a:lnTo>
                  <a:lnTo>
                    <a:pt x="77" y="420"/>
                  </a:lnTo>
                  <a:lnTo>
                    <a:pt x="78" y="420"/>
                  </a:lnTo>
                  <a:lnTo>
                    <a:pt x="78" y="421"/>
                  </a:lnTo>
                  <a:lnTo>
                    <a:pt x="78" y="421"/>
                  </a:lnTo>
                  <a:lnTo>
                    <a:pt x="80" y="414"/>
                  </a:lnTo>
                  <a:lnTo>
                    <a:pt x="80" y="414"/>
                  </a:lnTo>
                  <a:lnTo>
                    <a:pt x="82" y="407"/>
                  </a:lnTo>
                  <a:lnTo>
                    <a:pt x="82" y="407"/>
                  </a:lnTo>
                  <a:lnTo>
                    <a:pt x="88" y="393"/>
                  </a:lnTo>
                  <a:lnTo>
                    <a:pt x="88" y="393"/>
                  </a:lnTo>
                  <a:lnTo>
                    <a:pt x="90" y="393"/>
                  </a:lnTo>
                  <a:lnTo>
                    <a:pt x="90" y="393"/>
                  </a:lnTo>
                  <a:lnTo>
                    <a:pt x="90" y="393"/>
                  </a:lnTo>
                  <a:lnTo>
                    <a:pt x="92" y="381"/>
                  </a:lnTo>
                  <a:lnTo>
                    <a:pt x="92" y="381"/>
                  </a:lnTo>
                  <a:lnTo>
                    <a:pt x="95" y="379"/>
                  </a:lnTo>
                  <a:lnTo>
                    <a:pt x="94" y="381"/>
                  </a:lnTo>
                  <a:lnTo>
                    <a:pt x="94" y="381"/>
                  </a:lnTo>
                  <a:lnTo>
                    <a:pt x="98" y="373"/>
                  </a:lnTo>
                  <a:lnTo>
                    <a:pt x="104" y="364"/>
                  </a:lnTo>
                  <a:lnTo>
                    <a:pt x="104" y="364"/>
                  </a:lnTo>
                  <a:lnTo>
                    <a:pt x="108" y="356"/>
                  </a:lnTo>
                  <a:lnTo>
                    <a:pt x="112" y="347"/>
                  </a:lnTo>
                  <a:lnTo>
                    <a:pt x="112" y="347"/>
                  </a:lnTo>
                  <a:lnTo>
                    <a:pt x="114" y="346"/>
                  </a:lnTo>
                  <a:lnTo>
                    <a:pt x="114" y="346"/>
                  </a:lnTo>
                  <a:lnTo>
                    <a:pt x="114" y="346"/>
                  </a:lnTo>
                  <a:lnTo>
                    <a:pt x="115" y="346"/>
                  </a:lnTo>
                  <a:lnTo>
                    <a:pt x="115" y="346"/>
                  </a:lnTo>
                  <a:lnTo>
                    <a:pt x="114" y="349"/>
                  </a:lnTo>
                  <a:lnTo>
                    <a:pt x="112" y="351"/>
                  </a:lnTo>
                  <a:lnTo>
                    <a:pt x="112" y="351"/>
                  </a:lnTo>
                  <a:lnTo>
                    <a:pt x="120" y="336"/>
                  </a:lnTo>
                  <a:lnTo>
                    <a:pt x="125" y="327"/>
                  </a:lnTo>
                  <a:lnTo>
                    <a:pt x="130" y="320"/>
                  </a:lnTo>
                  <a:lnTo>
                    <a:pt x="130" y="320"/>
                  </a:lnTo>
                  <a:lnTo>
                    <a:pt x="130" y="319"/>
                  </a:lnTo>
                  <a:lnTo>
                    <a:pt x="130" y="320"/>
                  </a:lnTo>
                  <a:lnTo>
                    <a:pt x="128" y="321"/>
                  </a:lnTo>
                  <a:lnTo>
                    <a:pt x="127" y="321"/>
                  </a:lnTo>
                  <a:lnTo>
                    <a:pt x="127" y="320"/>
                  </a:lnTo>
                  <a:lnTo>
                    <a:pt x="127" y="320"/>
                  </a:lnTo>
                  <a:lnTo>
                    <a:pt x="132" y="314"/>
                  </a:lnTo>
                  <a:lnTo>
                    <a:pt x="137" y="309"/>
                  </a:lnTo>
                  <a:lnTo>
                    <a:pt x="137" y="309"/>
                  </a:lnTo>
                  <a:lnTo>
                    <a:pt x="137" y="307"/>
                  </a:lnTo>
                  <a:lnTo>
                    <a:pt x="135" y="309"/>
                  </a:lnTo>
                  <a:lnTo>
                    <a:pt x="132" y="314"/>
                  </a:lnTo>
                  <a:lnTo>
                    <a:pt x="132" y="314"/>
                  </a:lnTo>
                  <a:lnTo>
                    <a:pt x="135" y="309"/>
                  </a:lnTo>
                  <a:lnTo>
                    <a:pt x="138" y="303"/>
                  </a:lnTo>
                  <a:lnTo>
                    <a:pt x="138" y="303"/>
                  </a:lnTo>
                  <a:lnTo>
                    <a:pt x="138" y="304"/>
                  </a:lnTo>
                  <a:lnTo>
                    <a:pt x="140" y="307"/>
                  </a:lnTo>
                  <a:lnTo>
                    <a:pt x="140" y="307"/>
                  </a:lnTo>
                  <a:lnTo>
                    <a:pt x="147" y="294"/>
                  </a:lnTo>
                  <a:lnTo>
                    <a:pt x="147" y="294"/>
                  </a:lnTo>
                  <a:lnTo>
                    <a:pt x="151" y="287"/>
                  </a:lnTo>
                  <a:lnTo>
                    <a:pt x="157" y="280"/>
                  </a:lnTo>
                  <a:lnTo>
                    <a:pt x="157" y="280"/>
                  </a:lnTo>
                  <a:lnTo>
                    <a:pt x="157" y="282"/>
                  </a:lnTo>
                  <a:lnTo>
                    <a:pt x="157" y="282"/>
                  </a:lnTo>
                  <a:lnTo>
                    <a:pt x="157" y="282"/>
                  </a:lnTo>
                  <a:lnTo>
                    <a:pt x="157" y="282"/>
                  </a:lnTo>
                  <a:lnTo>
                    <a:pt x="161" y="277"/>
                  </a:lnTo>
                  <a:lnTo>
                    <a:pt x="161" y="277"/>
                  </a:lnTo>
                  <a:lnTo>
                    <a:pt x="162" y="274"/>
                  </a:lnTo>
                  <a:lnTo>
                    <a:pt x="164" y="272"/>
                  </a:lnTo>
                  <a:lnTo>
                    <a:pt x="164" y="272"/>
                  </a:lnTo>
                  <a:lnTo>
                    <a:pt x="165" y="272"/>
                  </a:lnTo>
                  <a:lnTo>
                    <a:pt x="168" y="269"/>
                  </a:lnTo>
                  <a:lnTo>
                    <a:pt x="168" y="269"/>
                  </a:lnTo>
                  <a:lnTo>
                    <a:pt x="172" y="263"/>
                  </a:lnTo>
                  <a:lnTo>
                    <a:pt x="178" y="256"/>
                  </a:lnTo>
                  <a:lnTo>
                    <a:pt x="178" y="256"/>
                  </a:lnTo>
                  <a:lnTo>
                    <a:pt x="178" y="256"/>
                  </a:lnTo>
                  <a:lnTo>
                    <a:pt x="178" y="257"/>
                  </a:lnTo>
                  <a:lnTo>
                    <a:pt x="175" y="260"/>
                  </a:lnTo>
                  <a:lnTo>
                    <a:pt x="175" y="260"/>
                  </a:lnTo>
                  <a:lnTo>
                    <a:pt x="178" y="257"/>
                  </a:lnTo>
                  <a:lnTo>
                    <a:pt x="181" y="254"/>
                  </a:lnTo>
                  <a:lnTo>
                    <a:pt x="185" y="246"/>
                  </a:lnTo>
                  <a:lnTo>
                    <a:pt x="185" y="246"/>
                  </a:lnTo>
                  <a:lnTo>
                    <a:pt x="187" y="244"/>
                  </a:lnTo>
                  <a:lnTo>
                    <a:pt x="187" y="246"/>
                  </a:lnTo>
                  <a:lnTo>
                    <a:pt x="185" y="250"/>
                  </a:lnTo>
                  <a:lnTo>
                    <a:pt x="185" y="250"/>
                  </a:lnTo>
                  <a:lnTo>
                    <a:pt x="192" y="240"/>
                  </a:lnTo>
                  <a:lnTo>
                    <a:pt x="195" y="236"/>
                  </a:lnTo>
                  <a:lnTo>
                    <a:pt x="199" y="232"/>
                  </a:lnTo>
                  <a:lnTo>
                    <a:pt x="199" y="232"/>
                  </a:lnTo>
                  <a:lnTo>
                    <a:pt x="199" y="232"/>
                  </a:lnTo>
                  <a:lnTo>
                    <a:pt x="199" y="233"/>
                  </a:lnTo>
                  <a:lnTo>
                    <a:pt x="198" y="234"/>
                  </a:lnTo>
                  <a:lnTo>
                    <a:pt x="197" y="236"/>
                  </a:lnTo>
                  <a:lnTo>
                    <a:pt x="197" y="236"/>
                  </a:lnTo>
                  <a:lnTo>
                    <a:pt x="201" y="233"/>
                  </a:lnTo>
                  <a:lnTo>
                    <a:pt x="205" y="229"/>
                  </a:lnTo>
                  <a:lnTo>
                    <a:pt x="205" y="229"/>
                  </a:lnTo>
                  <a:lnTo>
                    <a:pt x="204" y="232"/>
                  </a:lnTo>
                  <a:lnTo>
                    <a:pt x="204" y="233"/>
                  </a:lnTo>
                  <a:lnTo>
                    <a:pt x="205" y="232"/>
                  </a:lnTo>
                  <a:lnTo>
                    <a:pt x="205" y="232"/>
                  </a:lnTo>
                  <a:lnTo>
                    <a:pt x="202" y="234"/>
                  </a:lnTo>
                  <a:lnTo>
                    <a:pt x="201" y="237"/>
                  </a:lnTo>
                  <a:lnTo>
                    <a:pt x="201" y="237"/>
                  </a:lnTo>
                  <a:lnTo>
                    <a:pt x="205" y="233"/>
                  </a:lnTo>
                  <a:lnTo>
                    <a:pt x="208" y="230"/>
                  </a:lnTo>
                  <a:lnTo>
                    <a:pt x="208" y="230"/>
                  </a:lnTo>
                  <a:lnTo>
                    <a:pt x="208" y="229"/>
                  </a:lnTo>
                  <a:lnTo>
                    <a:pt x="208" y="227"/>
                  </a:lnTo>
                  <a:lnTo>
                    <a:pt x="211" y="224"/>
                  </a:lnTo>
                  <a:lnTo>
                    <a:pt x="211" y="224"/>
                  </a:lnTo>
                  <a:lnTo>
                    <a:pt x="211" y="224"/>
                  </a:lnTo>
                  <a:lnTo>
                    <a:pt x="211" y="224"/>
                  </a:lnTo>
                  <a:lnTo>
                    <a:pt x="208" y="226"/>
                  </a:lnTo>
                  <a:lnTo>
                    <a:pt x="208" y="226"/>
                  </a:lnTo>
                  <a:lnTo>
                    <a:pt x="212" y="220"/>
                  </a:lnTo>
                  <a:lnTo>
                    <a:pt x="217" y="214"/>
                  </a:lnTo>
                  <a:lnTo>
                    <a:pt x="217" y="214"/>
                  </a:lnTo>
                  <a:lnTo>
                    <a:pt x="218" y="214"/>
                  </a:lnTo>
                  <a:lnTo>
                    <a:pt x="218" y="214"/>
                  </a:lnTo>
                  <a:lnTo>
                    <a:pt x="218" y="216"/>
                  </a:lnTo>
                  <a:lnTo>
                    <a:pt x="219" y="216"/>
                  </a:lnTo>
                  <a:lnTo>
                    <a:pt x="219" y="216"/>
                  </a:lnTo>
                  <a:lnTo>
                    <a:pt x="222" y="210"/>
                  </a:lnTo>
                  <a:lnTo>
                    <a:pt x="222" y="210"/>
                  </a:lnTo>
                  <a:lnTo>
                    <a:pt x="224" y="209"/>
                  </a:lnTo>
                  <a:lnTo>
                    <a:pt x="224" y="207"/>
                  </a:lnTo>
                  <a:lnTo>
                    <a:pt x="224" y="207"/>
                  </a:lnTo>
                  <a:lnTo>
                    <a:pt x="235" y="199"/>
                  </a:lnTo>
                  <a:lnTo>
                    <a:pt x="244" y="190"/>
                  </a:lnTo>
                  <a:lnTo>
                    <a:pt x="244" y="190"/>
                  </a:lnTo>
                  <a:lnTo>
                    <a:pt x="244" y="190"/>
                  </a:lnTo>
                  <a:lnTo>
                    <a:pt x="245" y="186"/>
                  </a:lnTo>
                  <a:lnTo>
                    <a:pt x="245" y="186"/>
                  </a:lnTo>
                  <a:lnTo>
                    <a:pt x="247" y="187"/>
                  </a:lnTo>
                  <a:lnTo>
                    <a:pt x="247" y="187"/>
                  </a:lnTo>
                  <a:lnTo>
                    <a:pt x="248" y="187"/>
                  </a:lnTo>
                  <a:lnTo>
                    <a:pt x="252" y="186"/>
                  </a:lnTo>
                  <a:lnTo>
                    <a:pt x="252" y="186"/>
                  </a:lnTo>
                  <a:lnTo>
                    <a:pt x="249" y="189"/>
                  </a:lnTo>
                  <a:lnTo>
                    <a:pt x="245" y="192"/>
                  </a:lnTo>
                  <a:lnTo>
                    <a:pt x="245" y="192"/>
                  </a:lnTo>
                  <a:lnTo>
                    <a:pt x="248" y="190"/>
                  </a:lnTo>
                  <a:lnTo>
                    <a:pt x="251" y="189"/>
                  </a:lnTo>
                  <a:lnTo>
                    <a:pt x="256" y="183"/>
                  </a:lnTo>
                  <a:lnTo>
                    <a:pt x="256" y="183"/>
                  </a:lnTo>
                  <a:lnTo>
                    <a:pt x="256" y="182"/>
                  </a:lnTo>
                  <a:lnTo>
                    <a:pt x="256" y="180"/>
                  </a:lnTo>
                  <a:lnTo>
                    <a:pt x="256" y="180"/>
                  </a:lnTo>
                  <a:lnTo>
                    <a:pt x="261" y="179"/>
                  </a:lnTo>
                  <a:lnTo>
                    <a:pt x="264" y="177"/>
                  </a:lnTo>
                  <a:lnTo>
                    <a:pt x="264" y="177"/>
                  </a:lnTo>
                  <a:lnTo>
                    <a:pt x="266" y="174"/>
                  </a:lnTo>
                  <a:lnTo>
                    <a:pt x="268" y="172"/>
                  </a:lnTo>
                  <a:lnTo>
                    <a:pt x="268" y="172"/>
                  </a:lnTo>
                  <a:lnTo>
                    <a:pt x="272" y="170"/>
                  </a:lnTo>
                  <a:lnTo>
                    <a:pt x="275" y="167"/>
                  </a:lnTo>
                  <a:lnTo>
                    <a:pt x="278" y="164"/>
                  </a:lnTo>
                  <a:lnTo>
                    <a:pt x="278" y="164"/>
                  </a:lnTo>
                  <a:lnTo>
                    <a:pt x="279" y="164"/>
                  </a:lnTo>
                  <a:lnTo>
                    <a:pt x="282" y="164"/>
                  </a:lnTo>
                  <a:lnTo>
                    <a:pt x="282" y="164"/>
                  </a:lnTo>
                  <a:lnTo>
                    <a:pt x="279" y="167"/>
                  </a:lnTo>
                  <a:lnTo>
                    <a:pt x="275" y="169"/>
                  </a:lnTo>
                  <a:lnTo>
                    <a:pt x="275" y="169"/>
                  </a:lnTo>
                  <a:lnTo>
                    <a:pt x="288" y="162"/>
                  </a:lnTo>
                  <a:lnTo>
                    <a:pt x="288" y="162"/>
                  </a:lnTo>
                  <a:lnTo>
                    <a:pt x="294" y="157"/>
                  </a:lnTo>
                  <a:lnTo>
                    <a:pt x="294" y="157"/>
                  </a:lnTo>
                  <a:lnTo>
                    <a:pt x="301" y="153"/>
                  </a:lnTo>
                  <a:lnTo>
                    <a:pt x="301" y="153"/>
                  </a:lnTo>
                  <a:lnTo>
                    <a:pt x="314" y="144"/>
                  </a:lnTo>
                  <a:lnTo>
                    <a:pt x="314" y="144"/>
                  </a:lnTo>
                  <a:lnTo>
                    <a:pt x="321" y="140"/>
                  </a:lnTo>
                  <a:lnTo>
                    <a:pt x="321" y="140"/>
                  </a:lnTo>
                  <a:lnTo>
                    <a:pt x="328" y="136"/>
                  </a:lnTo>
                  <a:lnTo>
                    <a:pt x="328" y="136"/>
                  </a:lnTo>
                  <a:lnTo>
                    <a:pt x="326" y="137"/>
                  </a:lnTo>
                  <a:lnTo>
                    <a:pt x="325" y="140"/>
                  </a:lnTo>
                  <a:lnTo>
                    <a:pt x="325" y="140"/>
                  </a:lnTo>
                  <a:lnTo>
                    <a:pt x="329" y="137"/>
                  </a:lnTo>
                  <a:lnTo>
                    <a:pt x="335" y="135"/>
                  </a:lnTo>
                  <a:lnTo>
                    <a:pt x="335" y="135"/>
                  </a:lnTo>
                  <a:lnTo>
                    <a:pt x="336" y="133"/>
                  </a:lnTo>
                  <a:lnTo>
                    <a:pt x="335" y="132"/>
                  </a:lnTo>
                  <a:lnTo>
                    <a:pt x="335" y="132"/>
                  </a:lnTo>
                  <a:lnTo>
                    <a:pt x="342" y="129"/>
                  </a:lnTo>
                  <a:lnTo>
                    <a:pt x="342" y="129"/>
                  </a:lnTo>
                  <a:lnTo>
                    <a:pt x="351" y="125"/>
                  </a:lnTo>
                  <a:lnTo>
                    <a:pt x="351" y="125"/>
                  </a:lnTo>
                  <a:lnTo>
                    <a:pt x="359" y="120"/>
                  </a:lnTo>
                  <a:lnTo>
                    <a:pt x="366" y="115"/>
                  </a:lnTo>
                  <a:lnTo>
                    <a:pt x="366" y="115"/>
                  </a:lnTo>
                  <a:lnTo>
                    <a:pt x="368" y="115"/>
                  </a:lnTo>
                  <a:lnTo>
                    <a:pt x="366" y="116"/>
                  </a:lnTo>
                  <a:lnTo>
                    <a:pt x="365" y="117"/>
                  </a:lnTo>
                  <a:lnTo>
                    <a:pt x="365" y="117"/>
                  </a:lnTo>
                  <a:lnTo>
                    <a:pt x="365" y="117"/>
                  </a:lnTo>
                  <a:lnTo>
                    <a:pt x="368" y="116"/>
                  </a:lnTo>
                  <a:lnTo>
                    <a:pt x="368" y="116"/>
                  </a:lnTo>
                  <a:lnTo>
                    <a:pt x="371" y="115"/>
                  </a:lnTo>
                  <a:lnTo>
                    <a:pt x="371" y="115"/>
                  </a:lnTo>
                  <a:lnTo>
                    <a:pt x="378" y="112"/>
                  </a:lnTo>
                  <a:lnTo>
                    <a:pt x="378" y="112"/>
                  </a:lnTo>
                  <a:lnTo>
                    <a:pt x="378" y="112"/>
                  </a:lnTo>
                  <a:lnTo>
                    <a:pt x="378" y="110"/>
                  </a:lnTo>
                  <a:lnTo>
                    <a:pt x="378" y="110"/>
                  </a:lnTo>
                  <a:lnTo>
                    <a:pt x="389" y="106"/>
                  </a:lnTo>
                  <a:lnTo>
                    <a:pt x="395" y="105"/>
                  </a:lnTo>
                  <a:lnTo>
                    <a:pt x="398" y="102"/>
                  </a:lnTo>
                  <a:lnTo>
                    <a:pt x="398" y="102"/>
                  </a:lnTo>
                  <a:lnTo>
                    <a:pt x="401" y="102"/>
                  </a:lnTo>
                  <a:lnTo>
                    <a:pt x="403" y="102"/>
                  </a:lnTo>
                  <a:lnTo>
                    <a:pt x="403" y="102"/>
                  </a:lnTo>
                  <a:lnTo>
                    <a:pt x="408" y="99"/>
                  </a:lnTo>
                  <a:lnTo>
                    <a:pt x="411" y="97"/>
                  </a:lnTo>
                  <a:lnTo>
                    <a:pt x="413" y="97"/>
                  </a:lnTo>
                  <a:lnTo>
                    <a:pt x="413" y="97"/>
                  </a:lnTo>
                  <a:lnTo>
                    <a:pt x="418" y="95"/>
                  </a:lnTo>
                  <a:lnTo>
                    <a:pt x="418" y="95"/>
                  </a:lnTo>
                  <a:lnTo>
                    <a:pt x="421" y="93"/>
                  </a:lnTo>
                  <a:lnTo>
                    <a:pt x="421" y="93"/>
                  </a:lnTo>
                  <a:lnTo>
                    <a:pt x="423" y="93"/>
                  </a:lnTo>
                  <a:lnTo>
                    <a:pt x="423" y="93"/>
                  </a:lnTo>
                  <a:lnTo>
                    <a:pt x="431" y="90"/>
                  </a:lnTo>
                  <a:lnTo>
                    <a:pt x="438" y="87"/>
                  </a:lnTo>
                  <a:lnTo>
                    <a:pt x="438" y="87"/>
                  </a:lnTo>
                  <a:lnTo>
                    <a:pt x="439" y="87"/>
                  </a:lnTo>
                  <a:lnTo>
                    <a:pt x="440" y="87"/>
                  </a:lnTo>
                  <a:lnTo>
                    <a:pt x="440" y="89"/>
                  </a:lnTo>
                  <a:lnTo>
                    <a:pt x="440" y="89"/>
                  </a:lnTo>
                  <a:lnTo>
                    <a:pt x="448" y="85"/>
                  </a:lnTo>
                  <a:lnTo>
                    <a:pt x="448" y="85"/>
                  </a:lnTo>
                  <a:lnTo>
                    <a:pt x="452" y="85"/>
                  </a:lnTo>
                  <a:lnTo>
                    <a:pt x="455" y="85"/>
                  </a:lnTo>
                  <a:lnTo>
                    <a:pt x="455" y="85"/>
                  </a:lnTo>
                  <a:lnTo>
                    <a:pt x="462" y="82"/>
                  </a:lnTo>
                  <a:lnTo>
                    <a:pt x="462" y="82"/>
                  </a:lnTo>
                  <a:lnTo>
                    <a:pt x="463" y="82"/>
                  </a:lnTo>
                  <a:lnTo>
                    <a:pt x="463" y="82"/>
                  </a:lnTo>
                  <a:lnTo>
                    <a:pt x="466" y="80"/>
                  </a:lnTo>
                  <a:lnTo>
                    <a:pt x="468" y="80"/>
                  </a:lnTo>
                  <a:lnTo>
                    <a:pt x="468" y="80"/>
                  </a:lnTo>
                  <a:lnTo>
                    <a:pt x="468" y="80"/>
                  </a:lnTo>
                  <a:lnTo>
                    <a:pt x="473" y="79"/>
                  </a:lnTo>
                  <a:lnTo>
                    <a:pt x="473" y="79"/>
                  </a:lnTo>
                  <a:lnTo>
                    <a:pt x="482" y="77"/>
                  </a:lnTo>
                  <a:lnTo>
                    <a:pt x="482" y="77"/>
                  </a:lnTo>
                  <a:lnTo>
                    <a:pt x="482" y="76"/>
                  </a:lnTo>
                  <a:lnTo>
                    <a:pt x="482" y="76"/>
                  </a:lnTo>
                  <a:lnTo>
                    <a:pt x="488" y="75"/>
                  </a:lnTo>
                  <a:lnTo>
                    <a:pt x="488" y="75"/>
                  </a:lnTo>
                  <a:lnTo>
                    <a:pt x="486" y="75"/>
                  </a:lnTo>
                  <a:lnTo>
                    <a:pt x="485" y="76"/>
                  </a:lnTo>
                  <a:lnTo>
                    <a:pt x="485" y="76"/>
                  </a:lnTo>
                  <a:lnTo>
                    <a:pt x="500" y="73"/>
                  </a:lnTo>
                  <a:lnTo>
                    <a:pt x="500" y="73"/>
                  </a:lnTo>
                  <a:lnTo>
                    <a:pt x="496" y="75"/>
                  </a:lnTo>
                  <a:lnTo>
                    <a:pt x="495" y="75"/>
                  </a:lnTo>
                  <a:lnTo>
                    <a:pt x="493" y="76"/>
                  </a:lnTo>
                  <a:lnTo>
                    <a:pt x="493" y="76"/>
                  </a:lnTo>
                  <a:lnTo>
                    <a:pt x="503" y="75"/>
                  </a:lnTo>
                  <a:lnTo>
                    <a:pt x="503" y="75"/>
                  </a:lnTo>
                  <a:lnTo>
                    <a:pt x="502" y="76"/>
                  </a:lnTo>
                  <a:lnTo>
                    <a:pt x="500" y="77"/>
                  </a:lnTo>
                  <a:lnTo>
                    <a:pt x="500" y="77"/>
                  </a:lnTo>
                  <a:lnTo>
                    <a:pt x="495" y="77"/>
                  </a:lnTo>
                  <a:lnTo>
                    <a:pt x="492" y="77"/>
                  </a:lnTo>
                  <a:lnTo>
                    <a:pt x="489" y="79"/>
                  </a:lnTo>
                  <a:lnTo>
                    <a:pt x="489" y="79"/>
                  </a:lnTo>
                  <a:lnTo>
                    <a:pt x="490" y="79"/>
                  </a:lnTo>
                  <a:lnTo>
                    <a:pt x="492" y="79"/>
                  </a:lnTo>
                  <a:lnTo>
                    <a:pt x="493" y="79"/>
                  </a:lnTo>
                  <a:lnTo>
                    <a:pt x="496" y="79"/>
                  </a:lnTo>
                  <a:lnTo>
                    <a:pt x="496" y="79"/>
                  </a:lnTo>
                  <a:lnTo>
                    <a:pt x="496" y="80"/>
                  </a:lnTo>
                  <a:lnTo>
                    <a:pt x="495" y="80"/>
                  </a:lnTo>
                  <a:lnTo>
                    <a:pt x="489" y="82"/>
                  </a:lnTo>
                  <a:lnTo>
                    <a:pt x="489" y="82"/>
                  </a:lnTo>
                  <a:lnTo>
                    <a:pt x="489" y="82"/>
                  </a:lnTo>
                  <a:lnTo>
                    <a:pt x="489" y="82"/>
                  </a:lnTo>
                  <a:lnTo>
                    <a:pt x="490" y="80"/>
                  </a:lnTo>
                  <a:lnTo>
                    <a:pt x="490" y="80"/>
                  </a:lnTo>
                  <a:lnTo>
                    <a:pt x="486" y="82"/>
                  </a:lnTo>
                  <a:lnTo>
                    <a:pt x="483" y="83"/>
                  </a:lnTo>
                  <a:lnTo>
                    <a:pt x="483" y="83"/>
                  </a:lnTo>
                  <a:lnTo>
                    <a:pt x="479" y="85"/>
                  </a:lnTo>
                  <a:lnTo>
                    <a:pt x="479" y="85"/>
                  </a:lnTo>
                  <a:lnTo>
                    <a:pt x="476" y="85"/>
                  </a:lnTo>
                  <a:lnTo>
                    <a:pt x="476" y="85"/>
                  </a:lnTo>
                  <a:lnTo>
                    <a:pt x="473" y="85"/>
                  </a:lnTo>
                  <a:lnTo>
                    <a:pt x="473" y="85"/>
                  </a:lnTo>
                  <a:lnTo>
                    <a:pt x="478" y="83"/>
                  </a:lnTo>
                  <a:lnTo>
                    <a:pt x="478" y="83"/>
                  </a:lnTo>
                  <a:lnTo>
                    <a:pt x="479" y="83"/>
                  </a:lnTo>
                  <a:lnTo>
                    <a:pt x="479" y="83"/>
                  </a:lnTo>
                  <a:lnTo>
                    <a:pt x="482" y="82"/>
                  </a:lnTo>
                  <a:lnTo>
                    <a:pt x="485" y="80"/>
                  </a:lnTo>
                  <a:lnTo>
                    <a:pt x="485" y="80"/>
                  </a:lnTo>
                  <a:lnTo>
                    <a:pt x="485" y="80"/>
                  </a:lnTo>
                  <a:lnTo>
                    <a:pt x="482" y="80"/>
                  </a:lnTo>
                  <a:lnTo>
                    <a:pt x="482" y="80"/>
                  </a:lnTo>
                  <a:lnTo>
                    <a:pt x="485" y="79"/>
                  </a:lnTo>
                  <a:lnTo>
                    <a:pt x="485" y="79"/>
                  </a:lnTo>
                  <a:lnTo>
                    <a:pt x="486" y="79"/>
                  </a:lnTo>
                  <a:lnTo>
                    <a:pt x="486" y="79"/>
                  </a:lnTo>
                  <a:lnTo>
                    <a:pt x="486" y="79"/>
                  </a:lnTo>
                  <a:lnTo>
                    <a:pt x="488" y="79"/>
                  </a:lnTo>
                  <a:lnTo>
                    <a:pt x="488" y="79"/>
                  </a:lnTo>
                  <a:lnTo>
                    <a:pt x="489" y="77"/>
                  </a:lnTo>
                  <a:lnTo>
                    <a:pt x="489" y="77"/>
                  </a:lnTo>
                  <a:lnTo>
                    <a:pt x="485" y="77"/>
                  </a:lnTo>
                  <a:lnTo>
                    <a:pt x="485" y="77"/>
                  </a:lnTo>
                  <a:lnTo>
                    <a:pt x="489" y="76"/>
                  </a:lnTo>
                  <a:lnTo>
                    <a:pt x="489" y="76"/>
                  </a:lnTo>
                  <a:lnTo>
                    <a:pt x="478" y="79"/>
                  </a:lnTo>
                  <a:lnTo>
                    <a:pt x="478" y="79"/>
                  </a:lnTo>
                  <a:lnTo>
                    <a:pt x="470" y="82"/>
                  </a:lnTo>
                  <a:lnTo>
                    <a:pt x="470" y="82"/>
                  </a:lnTo>
                  <a:lnTo>
                    <a:pt x="463" y="83"/>
                  </a:lnTo>
                  <a:lnTo>
                    <a:pt x="463" y="83"/>
                  </a:lnTo>
                  <a:lnTo>
                    <a:pt x="463" y="83"/>
                  </a:lnTo>
                  <a:lnTo>
                    <a:pt x="462" y="85"/>
                  </a:lnTo>
                  <a:lnTo>
                    <a:pt x="460" y="85"/>
                  </a:lnTo>
                  <a:lnTo>
                    <a:pt x="459" y="86"/>
                  </a:lnTo>
                  <a:lnTo>
                    <a:pt x="459" y="86"/>
                  </a:lnTo>
                  <a:lnTo>
                    <a:pt x="473" y="80"/>
                  </a:lnTo>
                  <a:lnTo>
                    <a:pt x="473" y="80"/>
                  </a:lnTo>
                  <a:lnTo>
                    <a:pt x="475" y="82"/>
                  </a:lnTo>
                  <a:lnTo>
                    <a:pt x="473" y="83"/>
                  </a:lnTo>
                  <a:lnTo>
                    <a:pt x="468" y="86"/>
                  </a:lnTo>
                  <a:lnTo>
                    <a:pt x="455" y="90"/>
                  </a:lnTo>
                  <a:lnTo>
                    <a:pt x="455" y="90"/>
                  </a:lnTo>
                  <a:lnTo>
                    <a:pt x="452" y="90"/>
                  </a:lnTo>
                  <a:lnTo>
                    <a:pt x="450" y="89"/>
                  </a:lnTo>
                  <a:lnTo>
                    <a:pt x="450" y="87"/>
                  </a:lnTo>
                  <a:lnTo>
                    <a:pt x="449" y="86"/>
                  </a:lnTo>
                  <a:lnTo>
                    <a:pt x="449" y="86"/>
                  </a:lnTo>
                  <a:lnTo>
                    <a:pt x="448" y="87"/>
                  </a:lnTo>
                  <a:lnTo>
                    <a:pt x="445" y="89"/>
                  </a:lnTo>
                  <a:lnTo>
                    <a:pt x="442" y="89"/>
                  </a:lnTo>
                  <a:lnTo>
                    <a:pt x="439" y="92"/>
                  </a:lnTo>
                  <a:lnTo>
                    <a:pt x="439" y="92"/>
                  </a:lnTo>
                  <a:lnTo>
                    <a:pt x="446" y="89"/>
                  </a:lnTo>
                  <a:lnTo>
                    <a:pt x="449" y="89"/>
                  </a:lnTo>
                  <a:lnTo>
                    <a:pt x="449" y="90"/>
                  </a:lnTo>
                  <a:lnTo>
                    <a:pt x="449" y="90"/>
                  </a:lnTo>
                  <a:lnTo>
                    <a:pt x="449" y="90"/>
                  </a:lnTo>
                  <a:lnTo>
                    <a:pt x="445" y="90"/>
                  </a:lnTo>
                  <a:lnTo>
                    <a:pt x="443" y="92"/>
                  </a:lnTo>
                  <a:lnTo>
                    <a:pt x="440" y="93"/>
                  </a:lnTo>
                  <a:lnTo>
                    <a:pt x="436" y="95"/>
                  </a:lnTo>
                  <a:lnTo>
                    <a:pt x="436" y="95"/>
                  </a:lnTo>
                  <a:lnTo>
                    <a:pt x="433" y="95"/>
                  </a:lnTo>
                  <a:lnTo>
                    <a:pt x="433" y="93"/>
                  </a:lnTo>
                  <a:lnTo>
                    <a:pt x="433" y="93"/>
                  </a:lnTo>
                  <a:lnTo>
                    <a:pt x="432" y="93"/>
                  </a:lnTo>
                  <a:lnTo>
                    <a:pt x="428" y="96"/>
                  </a:lnTo>
                  <a:lnTo>
                    <a:pt x="428" y="96"/>
                  </a:lnTo>
                  <a:lnTo>
                    <a:pt x="429" y="96"/>
                  </a:lnTo>
                  <a:lnTo>
                    <a:pt x="429" y="96"/>
                  </a:lnTo>
                  <a:lnTo>
                    <a:pt x="429" y="96"/>
                  </a:lnTo>
                  <a:lnTo>
                    <a:pt x="423" y="100"/>
                  </a:lnTo>
                  <a:lnTo>
                    <a:pt x="423" y="100"/>
                  </a:lnTo>
                  <a:lnTo>
                    <a:pt x="416" y="103"/>
                  </a:lnTo>
                  <a:lnTo>
                    <a:pt x="416" y="103"/>
                  </a:lnTo>
                  <a:lnTo>
                    <a:pt x="402" y="109"/>
                  </a:lnTo>
                  <a:lnTo>
                    <a:pt x="402" y="109"/>
                  </a:lnTo>
                  <a:lnTo>
                    <a:pt x="408" y="107"/>
                  </a:lnTo>
                  <a:lnTo>
                    <a:pt x="412" y="106"/>
                  </a:lnTo>
                  <a:lnTo>
                    <a:pt x="412" y="106"/>
                  </a:lnTo>
                  <a:lnTo>
                    <a:pt x="402" y="112"/>
                  </a:lnTo>
                  <a:lnTo>
                    <a:pt x="396" y="113"/>
                  </a:lnTo>
                  <a:lnTo>
                    <a:pt x="393" y="113"/>
                  </a:lnTo>
                  <a:lnTo>
                    <a:pt x="393" y="113"/>
                  </a:lnTo>
                  <a:lnTo>
                    <a:pt x="398" y="112"/>
                  </a:lnTo>
                  <a:lnTo>
                    <a:pt x="398" y="112"/>
                  </a:lnTo>
                  <a:lnTo>
                    <a:pt x="401" y="109"/>
                  </a:lnTo>
                  <a:lnTo>
                    <a:pt x="401" y="109"/>
                  </a:lnTo>
                  <a:lnTo>
                    <a:pt x="401" y="107"/>
                  </a:lnTo>
                  <a:lnTo>
                    <a:pt x="399" y="109"/>
                  </a:lnTo>
                  <a:lnTo>
                    <a:pt x="398" y="109"/>
                  </a:lnTo>
                  <a:lnTo>
                    <a:pt x="398" y="107"/>
                  </a:lnTo>
                  <a:lnTo>
                    <a:pt x="398" y="107"/>
                  </a:lnTo>
                  <a:lnTo>
                    <a:pt x="389" y="113"/>
                  </a:lnTo>
                  <a:lnTo>
                    <a:pt x="386" y="115"/>
                  </a:lnTo>
                  <a:lnTo>
                    <a:pt x="382" y="115"/>
                  </a:lnTo>
                  <a:lnTo>
                    <a:pt x="382" y="115"/>
                  </a:lnTo>
                  <a:lnTo>
                    <a:pt x="379" y="117"/>
                  </a:lnTo>
                  <a:lnTo>
                    <a:pt x="376" y="119"/>
                  </a:lnTo>
                  <a:lnTo>
                    <a:pt x="376" y="119"/>
                  </a:lnTo>
                  <a:lnTo>
                    <a:pt x="375" y="119"/>
                  </a:lnTo>
                  <a:lnTo>
                    <a:pt x="375" y="120"/>
                  </a:lnTo>
                  <a:lnTo>
                    <a:pt x="375" y="120"/>
                  </a:lnTo>
                  <a:lnTo>
                    <a:pt x="375" y="120"/>
                  </a:lnTo>
                  <a:lnTo>
                    <a:pt x="369" y="123"/>
                  </a:lnTo>
                  <a:lnTo>
                    <a:pt x="362" y="126"/>
                  </a:lnTo>
                  <a:lnTo>
                    <a:pt x="362" y="126"/>
                  </a:lnTo>
                  <a:lnTo>
                    <a:pt x="356" y="129"/>
                  </a:lnTo>
                  <a:lnTo>
                    <a:pt x="352" y="130"/>
                  </a:lnTo>
                  <a:lnTo>
                    <a:pt x="352" y="130"/>
                  </a:lnTo>
                  <a:lnTo>
                    <a:pt x="346" y="135"/>
                  </a:lnTo>
                  <a:lnTo>
                    <a:pt x="341" y="137"/>
                  </a:lnTo>
                  <a:lnTo>
                    <a:pt x="341" y="137"/>
                  </a:lnTo>
                  <a:lnTo>
                    <a:pt x="341" y="136"/>
                  </a:lnTo>
                  <a:lnTo>
                    <a:pt x="341" y="136"/>
                  </a:lnTo>
                  <a:lnTo>
                    <a:pt x="339" y="137"/>
                  </a:lnTo>
                  <a:lnTo>
                    <a:pt x="338" y="137"/>
                  </a:lnTo>
                  <a:lnTo>
                    <a:pt x="336" y="140"/>
                  </a:lnTo>
                  <a:lnTo>
                    <a:pt x="336" y="140"/>
                  </a:lnTo>
                  <a:lnTo>
                    <a:pt x="335" y="140"/>
                  </a:lnTo>
                  <a:lnTo>
                    <a:pt x="334" y="139"/>
                  </a:lnTo>
                  <a:lnTo>
                    <a:pt x="335" y="137"/>
                  </a:lnTo>
                  <a:lnTo>
                    <a:pt x="335" y="137"/>
                  </a:lnTo>
                  <a:lnTo>
                    <a:pt x="329" y="140"/>
                  </a:lnTo>
                  <a:lnTo>
                    <a:pt x="326" y="142"/>
                  </a:lnTo>
                  <a:lnTo>
                    <a:pt x="324" y="142"/>
                  </a:lnTo>
                  <a:lnTo>
                    <a:pt x="324" y="142"/>
                  </a:lnTo>
                  <a:lnTo>
                    <a:pt x="324" y="143"/>
                  </a:lnTo>
                  <a:lnTo>
                    <a:pt x="325" y="143"/>
                  </a:lnTo>
                  <a:lnTo>
                    <a:pt x="325" y="144"/>
                  </a:lnTo>
                  <a:lnTo>
                    <a:pt x="324" y="146"/>
                  </a:lnTo>
                  <a:lnTo>
                    <a:pt x="324" y="146"/>
                  </a:lnTo>
                  <a:lnTo>
                    <a:pt x="326" y="144"/>
                  </a:lnTo>
                  <a:lnTo>
                    <a:pt x="328" y="143"/>
                  </a:lnTo>
                  <a:lnTo>
                    <a:pt x="328" y="142"/>
                  </a:lnTo>
                  <a:lnTo>
                    <a:pt x="332" y="140"/>
                  </a:lnTo>
                  <a:lnTo>
                    <a:pt x="332" y="140"/>
                  </a:lnTo>
                  <a:lnTo>
                    <a:pt x="332" y="140"/>
                  </a:lnTo>
                  <a:lnTo>
                    <a:pt x="332" y="142"/>
                  </a:lnTo>
                  <a:lnTo>
                    <a:pt x="329" y="144"/>
                  </a:lnTo>
                  <a:lnTo>
                    <a:pt x="329" y="144"/>
                  </a:lnTo>
                  <a:lnTo>
                    <a:pt x="324" y="147"/>
                  </a:lnTo>
                  <a:lnTo>
                    <a:pt x="318" y="149"/>
                  </a:lnTo>
                  <a:lnTo>
                    <a:pt x="318" y="149"/>
                  </a:lnTo>
                  <a:lnTo>
                    <a:pt x="314" y="152"/>
                  </a:lnTo>
                  <a:lnTo>
                    <a:pt x="308" y="156"/>
                  </a:lnTo>
                  <a:lnTo>
                    <a:pt x="308" y="156"/>
                  </a:lnTo>
                  <a:lnTo>
                    <a:pt x="306" y="154"/>
                  </a:lnTo>
                  <a:lnTo>
                    <a:pt x="308" y="153"/>
                  </a:lnTo>
                  <a:lnTo>
                    <a:pt x="312" y="150"/>
                  </a:lnTo>
                  <a:lnTo>
                    <a:pt x="312" y="150"/>
                  </a:lnTo>
                  <a:lnTo>
                    <a:pt x="308" y="153"/>
                  </a:lnTo>
                  <a:lnTo>
                    <a:pt x="304" y="156"/>
                  </a:lnTo>
                  <a:lnTo>
                    <a:pt x="304" y="156"/>
                  </a:lnTo>
                  <a:lnTo>
                    <a:pt x="306" y="156"/>
                  </a:lnTo>
                  <a:lnTo>
                    <a:pt x="306" y="156"/>
                  </a:lnTo>
                  <a:lnTo>
                    <a:pt x="304" y="159"/>
                  </a:lnTo>
                  <a:lnTo>
                    <a:pt x="304" y="160"/>
                  </a:lnTo>
                  <a:lnTo>
                    <a:pt x="304" y="160"/>
                  </a:lnTo>
                  <a:lnTo>
                    <a:pt x="299" y="162"/>
                  </a:lnTo>
                  <a:lnTo>
                    <a:pt x="295" y="164"/>
                  </a:lnTo>
                  <a:lnTo>
                    <a:pt x="295" y="164"/>
                  </a:lnTo>
                  <a:lnTo>
                    <a:pt x="292" y="167"/>
                  </a:lnTo>
                  <a:lnTo>
                    <a:pt x="288" y="169"/>
                  </a:lnTo>
                  <a:lnTo>
                    <a:pt x="288" y="169"/>
                  </a:lnTo>
                  <a:lnTo>
                    <a:pt x="286" y="170"/>
                  </a:lnTo>
                  <a:lnTo>
                    <a:pt x="284" y="173"/>
                  </a:lnTo>
                  <a:lnTo>
                    <a:pt x="281" y="174"/>
                  </a:lnTo>
                  <a:lnTo>
                    <a:pt x="279" y="174"/>
                  </a:lnTo>
                  <a:lnTo>
                    <a:pt x="279" y="174"/>
                  </a:lnTo>
                  <a:lnTo>
                    <a:pt x="276" y="179"/>
                  </a:lnTo>
                  <a:lnTo>
                    <a:pt x="274" y="183"/>
                  </a:lnTo>
                  <a:lnTo>
                    <a:pt x="274" y="183"/>
                  </a:lnTo>
                  <a:lnTo>
                    <a:pt x="264" y="189"/>
                  </a:lnTo>
                  <a:lnTo>
                    <a:pt x="264" y="189"/>
                  </a:lnTo>
                  <a:lnTo>
                    <a:pt x="264" y="190"/>
                  </a:lnTo>
                  <a:lnTo>
                    <a:pt x="262" y="192"/>
                  </a:lnTo>
                  <a:lnTo>
                    <a:pt x="262" y="192"/>
                  </a:lnTo>
                  <a:lnTo>
                    <a:pt x="256" y="196"/>
                  </a:lnTo>
                  <a:lnTo>
                    <a:pt x="254" y="197"/>
                  </a:lnTo>
                  <a:lnTo>
                    <a:pt x="252" y="197"/>
                  </a:lnTo>
                  <a:lnTo>
                    <a:pt x="252" y="197"/>
                  </a:lnTo>
                  <a:lnTo>
                    <a:pt x="248" y="203"/>
                  </a:lnTo>
                  <a:lnTo>
                    <a:pt x="248" y="203"/>
                  </a:lnTo>
                  <a:lnTo>
                    <a:pt x="245" y="204"/>
                  </a:lnTo>
                  <a:lnTo>
                    <a:pt x="245" y="203"/>
                  </a:lnTo>
                  <a:lnTo>
                    <a:pt x="247" y="202"/>
                  </a:lnTo>
                  <a:lnTo>
                    <a:pt x="245" y="202"/>
                  </a:lnTo>
                  <a:lnTo>
                    <a:pt x="245" y="202"/>
                  </a:lnTo>
                  <a:lnTo>
                    <a:pt x="241" y="207"/>
                  </a:lnTo>
                  <a:lnTo>
                    <a:pt x="235" y="212"/>
                  </a:lnTo>
                  <a:lnTo>
                    <a:pt x="235" y="212"/>
                  </a:lnTo>
                  <a:lnTo>
                    <a:pt x="234" y="214"/>
                  </a:lnTo>
                  <a:lnTo>
                    <a:pt x="232" y="219"/>
                  </a:lnTo>
                  <a:lnTo>
                    <a:pt x="232" y="219"/>
                  </a:lnTo>
                  <a:lnTo>
                    <a:pt x="231" y="219"/>
                  </a:lnTo>
                  <a:lnTo>
                    <a:pt x="231" y="216"/>
                  </a:lnTo>
                  <a:lnTo>
                    <a:pt x="231" y="214"/>
                  </a:lnTo>
                  <a:lnTo>
                    <a:pt x="229" y="216"/>
                  </a:lnTo>
                  <a:lnTo>
                    <a:pt x="229" y="216"/>
                  </a:lnTo>
                  <a:lnTo>
                    <a:pt x="229" y="219"/>
                  </a:lnTo>
                  <a:lnTo>
                    <a:pt x="225" y="223"/>
                  </a:lnTo>
                  <a:lnTo>
                    <a:pt x="217" y="230"/>
                  </a:lnTo>
                  <a:lnTo>
                    <a:pt x="217" y="230"/>
                  </a:lnTo>
                  <a:lnTo>
                    <a:pt x="214" y="236"/>
                  </a:lnTo>
                  <a:lnTo>
                    <a:pt x="214" y="236"/>
                  </a:lnTo>
                  <a:lnTo>
                    <a:pt x="209" y="240"/>
                  </a:lnTo>
                  <a:lnTo>
                    <a:pt x="209" y="240"/>
                  </a:lnTo>
                  <a:lnTo>
                    <a:pt x="209" y="237"/>
                  </a:lnTo>
                  <a:lnTo>
                    <a:pt x="209" y="237"/>
                  </a:lnTo>
                  <a:lnTo>
                    <a:pt x="207" y="240"/>
                  </a:lnTo>
                  <a:lnTo>
                    <a:pt x="207" y="240"/>
                  </a:lnTo>
                  <a:lnTo>
                    <a:pt x="207" y="240"/>
                  </a:lnTo>
                  <a:lnTo>
                    <a:pt x="207" y="239"/>
                  </a:lnTo>
                  <a:lnTo>
                    <a:pt x="209" y="234"/>
                  </a:lnTo>
                  <a:lnTo>
                    <a:pt x="209" y="234"/>
                  </a:lnTo>
                  <a:lnTo>
                    <a:pt x="208" y="236"/>
                  </a:lnTo>
                  <a:lnTo>
                    <a:pt x="208" y="236"/>
                  </a:lnTo>
                  <a:lnTo>
                    <a:pt x="205" y="236"/>
                  </a:lnTo>
                  <a:lnTo>
                    <a:pt x="205" y="236"/>
                  </a:lnTo>
                  <a:lnTo>
                    <a:pt x="205" y="239"/>
                  </a:lnTo>
                  <a:lnTo>
                    <a:pt x="204" y="242"/>
                  </a:lnTo>
                  <a:lnTo>
                    <a:pt x="204" y="242"/>
                  </a:lnTo>
                  <a:lnTo>
                    <a:pt x="202" y="244"/>
                  </a:lnTo>
                  <a:lnTo>
                    <a:pt x="201" y="244"/>
                  </a:lnTo>
                  <a:lnTo>
                    <a:pt x="198" y="246"/>
                  </a:lnTo>
                  <a:lnTo>
                    <a:pt x="195" y="247"/>
                  </a:lnTo>
                  <a:lnTo>
                    <a:pt x="195" y="247"/>
                  </a:lnTo>
                  <a:lnTo>
                    <a:pt x="192" y="252"/>
                  </a:lnTo>
                  <a:lnTo>
                    <a:pt x="188" y="256"/>
                  </a:lnTo>
                  <a:lnTo>
                    <a:pt x="188" y="256"/>
                  </a:lnTo>
                  <a:lnTo>
                    <a:pt x="192" y="253"/>
                  </a:lnTo>
                  <a:lnTo>
                    <a:pt x="197" y="247"/>
                  </a:lnTo>
                  <a:lnTo>
                    <a:pt x="197" y="247"/>
                  </a:lnTo>
                  <a:lnTo>
                    <a:pt x="198" y="247"/>
                  </a:lnTo>
                  <a:lnTo>
                    <a:pt x="202" y="246"/>
                  </a:lnTo>
                  <a:lnTo>
                    <a:pt x="202" y="246"/>
                  </a:lnTo>
                  <a:lnTo>
                    <a:pt x="199" y="249"/>
                  </a:lnTo>
                  <a:lnTo>
                    <a:pt x="195" y="252"/>
                  </a:lnTo>
                  <a:lnTo>
                    <a:pt x="195" y="252"/>
                  </a:lnTo>
                  <a:lnTo>
                    <a:pt x="194" y="253"/>
                  </a:lnTo>
                  <a:lnTo>
                    <a:pt x="195" y="253"/>
                  </a:lnTo>
                  <a:lnTo>
                    <a:pt x="195" y="253"/>
                  </a:lnTo>
                  <a:lnTo>
                    <a:pt x="195" y="254"/>
                  </a:lnTo>
                  <a:lnTo>
                    <a:pt x="195" y="254"/>
                  </a:lnTo>
                  <a:lnTo>
                    <a:pt x="191" y="257"/>
                  </a:lnTo>
                  <a:lnTo>
                    <a:pt x="191" y="257"/>
                  </a:lnTo>
                  <a:lnTo>
                    <a:pt x="188" y="262"/>
                  </a:lnTo>
                  <a:lnTo>
                    <a:pt x="188" y="262"/>
                  </a:lnTo>
                  <a:lnTo>
                    <a:pt x="179" y="272"/>
                  </a:lnTo>
                  <a:lnTo>
                    <a:pt x="179" y="272"/>
                  </a:lnTo>
                  <a:lnTo>
                    <a:pt x="179" y="272"/>
                  </a:lnTo>
                  <a:lnTo>
                    <a:pt x="182" y="269"/>
                  </a:lnTo>
                  <a:lnTo>
                    <a:pt x="185" y="264"/>
                  </a:lnTo>
                  <a:lnTo>
                    <a:pt x="185" y="264"/>
                  </a:lnTo>
                  <a:lnTo>
                    <a:pt x="185" y="266"/>
                  </a:lnTo>
                  <a:lnTo>
                    <a:pt x="185" y="266"/>
                  </a:lnTo>
                  <a:lnTo>
                    <a:pt x="184" y="270"/>
                  </a:lnTo>
                  <a:lnTo>
                    <a:pt x="178" y="277"/>
                  </a:lnTo>
                  <a:lnTo>
                    <a:pt x="178" y="277"/>
                  </a:lnTo>
                  <a:lnTo>
                    <a:pt x="177" y="277"/>
                  </a:lnTo>
                  <a:lnTo>
                    <a:pt x="177" y="276"/>
                  </a:lnTo>
                  <a:lnTo>
                    <a:pt x="178" y="274"/>
                  </a:lnTo>
                  <a:lnTo>
                    <a:pt x="179" y="273"/>
                  </a:lnTo>
                  <a:lnTo>
                    <a:pt x="179" y="272"/>
                  </a:lnTo>
                  <a:lnTo>
                    <a:pt x="179" y="273"/>
                  </a:lnTo>
                  <a:lnTo>
                    <a:pt x="179" y="273"/>
                  </a:lnTo>
                  <a:lnTo>
                    <a:pt x="177" y="274"/>
                  </a:lnTo>
                  <a:lnTo>
                    <a:pt x="177" y="276"/>
                  </a:lnTo>
                  <a:lnTo>
                    <a:pt x="175" y="277"/>
                  </a:lnTo>
                  <a:lnTo>
                    <a:pt x="174" y="280"/>
                  </a:lnTo>
                  <a:lnTo>
                    <a:pt x="174" y="280"/>
                  </a:lnTo>
                  <a:lnTo>
                    <a:pt x="174" y="279"/>
                  </a:lnTo>
                  <a:lnTo>
                    <a:pt x="172" y="279"/>
                  </a:lnTo>
                  <a:lnTo>
                    <a:pt x="168" y="284"/>
                  </a:lnTo>
                  <a:lnTo>
                    <a:pt x="162" y="292"/>
                  </a:lnTo>
                  <a:lnTo>
                    <a:pt x="158" y="297"/>
                  </a:lnTo>
                  <a:lnTo>
                    <a:pt x="158" y="297"/>
                  </a:lnTo>
                  <a:lnTo>
                    <a:pt x="151" y="313"/>
                  </a:lnTo>
                  <a:lnTo>
                    <a:pt x="151" y="313"/>
                  </a:lnTo>
                  <a:lnTo>
                    <a:pt x="150" y="313"/>
                  </a:lnTo>
                  <a:lnTo>
                    <a:pt x="150" y="314"/>
                  </a:lnTo>
                  <a:lnTo>
                    <a:pt x="145" y="319"/>
                  </a:lnTo>
                  <a:lnTo>
                    <a:pt x="141" y="329"/>
                  </a:lnTo>
                  <a:lnTo>
                    <a:pt x="141" y="329"/>
                  </a:lnTo>
                  <a:lnTo>
                    <a:pt x="140" y="330"/>
                  </a:lnTo>
                  <a:lnTo>
                    <a:pt x="140" y="330"/>
                  </a:lnTo>
                  <a:lnTo>
                    <a:pt x="140" y="330"/>
                  </a:lnTo>
                  <a:lnTo>
                    <a:pt x="137" y="334"/>
                  </a:lnTo>
                  <a:lnTo>
                    <a:pt x="134" y="340"/>
                  </a:lnTo>
                  <a:lnTo>
                    <a:pt x="134" y="340"/>
                  </a:lnTo>
                  <a:lnTo>
                    <a:pt x="132" y="341"/>
                  </a:lnTo>
                  <a:lnTo>
                    <a:pt x="131" y="344"/>
                  </a:lnTo>
                  <a:lnTo>
                    <a:pt x="131" y="344"/>
                  </a:lnTo>
                  <a:lnTo>
                    <a:pt x="128" y="353"/>
                  </a:lnTo>
                  <a:lnTo>
                    <a:pt x="128" y="353"/>
                  </a:lnTo>
                  <a:lnTo>
                    <a:pt x="127" y="353"/>
                  </a:lnTo>
                  <a:lnTo>
                    <a:pt x="124" y="354"/>
                  </a:lnTo>
                  <a:lnTo>
                    <a:pt x="124" y="354"/>
                  </a:lnTo>
                  <a:lnTo>
                    <a:pt x="117" y="370"/>
                  </a:lnTo>
                  <a:lnTo>
                    <a:pt x="117" y="370"/>
                  </a:lnTo>
                  <a:lnTo>
                    <a:pt x="110" y="386"/>
                  </a:lnTo>
                  <a:lnTo>
                    <a:pt x="110" y="386"/>
                  </a:lnTo>
                  <a:lnTo>
                    <a:pt x="108" y="386"/>
                  </a:lnTo>
                  <a:lnTo>
                    <a:pt x="107" y="387"/>
                  </a:lnTo>
                  <a:lnTo>
                    <a:pt x="107" y="387"/>
                  </a:lnTo>
                  <a:lnTo>
                    <a:pt x="107" y="390"/>
                  </a:lnTo>
                  <a:lnTo>
                    <a:pt x="107" y="391"/>
                  </a:lnTo>
                  <a:lnTo>
                    <a:pt x="101" y="397"/>
                  </a:lnTo>
                  <a:lnTo>
                    <a:pt x="101" y="397"/>
                  </a:lnTo>
                  <a:lnTo>
                    <a:pt x="102" y="397"/>
                  </a:lnTo>
                  <a:lnTo>
                    <a:pt x="102" y="400"/>
                  </a:lnTo>
                  <a:lnTo>
                    <a:pt x="100" y="409"/>
                  </a:lnTo>
                  <a:lnTo>
                    <a:pt x="100" y="409"/>
                  </a:lnTo>
                  <a:lnTo>
                    <a:pt x="100" y="407"/>
                  </a:lnTo>
                  <a:lnTo>
                    <a:pt x="100" y="406"/>
                  </a:lnTo>
                  <a:lnTo>
                    <a:pt x="101" y="403"/>
                  </a:lnTo>
                  <a:lnTo>
                    <a:pt x="101" y="403"/>
                  </a:lnTo>
                  <a:lnTo>
                    <a:pt x="101" y="403"/>
                  </a:lnTo>
                  <a:lnTo>
                    <a:pt x="98" y="407"/>
                  </a:lnTo>
                  <a:lnTo>
                    <a:pt x="98" y="407"/>
                  </a:lnTo>
                  <a:lnTo>
                    <a:pt x="98" y="409"/>
                  </a:lnTo>
                  <a:lnTo>
                    <a:pt x="98" y="410"/>
                  </a:lnTo>
                  <a:lnTo>
                    <a:pt x="98" y="410"/>
                  </a:lnTo>
                  <a:lnTo>
                    <a:pt x="97" y="410"/>
                  </a:lnTo>
                  <a:lnTo>
                    <a:pt x="97" y="410"/>
                  </a:lnTo>
                  <a:lnTo>
                    <a:pt x="97" y="409"/>
                  </a:lnTo>
                  <a:lnTo>
                    <a:pt x="97" y="409"/>
                  </a:lnTo>
                  <a:lnTo>
                    <a:pt x="97" y="409"/>
                  </a:lnTo>
                  <a:lnTo>
                    <a:pt x="94" y="416"/>
                  </a:lnTo>
                  <a:lnTo>
                    <a:pt x="94" y="417"/>
                  </a:lnTo>
                  <a:lnTo>
                    <a:pt x="94" y="417"/>
                  </a:lnTo>
                  <a:lnTo>
                    <a:pt x="94" y="417"/>
                  </a:lnTo>
                  <a:lnTo>
                    <a:pt x="94" y="420"/>
                  </a:lnTo>
                  <a:lnTo>
                    <a:pt x="92" y="420"/>
                  </a:lnTo>
                  <a:lnTo>
                    <a:pt x="92" y="420"/>
                  </a:lnTo>
                  <a:lnTo>
                    <a:pt x="91" y="421"/>
                  </a:lnTo>
                  <a:lnTo>
                    <a:pt x="91" y="421"/>
                  </a:lnTo>
                  <a:lnTo>
                    <a:pt x="92" y="423"/>
                  </a:lnTo>
                  <a:lnTo>
                    <a:pt x="91" y="424"/>
                  </a:lnTo>
                  <a:lnTo>
                    <a:pt x="90" y="431"/>
                  </a:lnTo>
                  <a:lnTo>
                    <a:pt x="90" y="431"/>
                  </a:lnTo>
                  <a:lnTo>
                    <a:pt x="90" y="431"/>
                  </a:lnTo>
                  <a:lnTo>
                    <a:pt x="88" y="433"/>
                  </a:lnTo>
                  <a:lnTo>
                    <a:pt x="87" y="437"/>
                  </a:lnTo>
                  <a:lnTo>
                    <a:pt x="87" y="437"/>
                  </a:lnTo>
                  <a:lnTo>
                    <a:pt x="87" y="439"/>
                  </a:lnTo>
                  <a:lnTo>
                    <a:pt x="87" y="440"/>
                  </a:lnTo>
                  <a:lnTo>
                    <a:pt x="84" y="446"/>
                  </a:lnTo>
                  <a:lnTo>
                    <a:pt x="84" y="446"/>
                  </a:lnTo>
                  <a:lnTo>
                    <a:pt x="84" y="444"/>
                  </a:lnTo>
                  <a:lnTo>
                    <a:pt x="84" y="444"/>
                  </a:lnTo>
                  <a:lnTo>
                    <a:pt x="82" y="443"/>
                  </a:lnTo>
                  <a:lnTo>
                    <a:pt x="82" y="443"/>
                  </a:lnTo>
                  <a:lnTo>
                    <a:pt x="82" y="447"/>
                  </a:lnTo>
                  <a:lnTo>
                    <a:pt x="81" y="453"/>
                  </a:lnTo>
                  <a:lnTo>
                    <a:pt x="80" y="458"/>
                  </a:lnTo>
                  <a:lnTo>
                    <a:pt x="80" y="460"/>
                  </a:lnTo>
                  <a:lnTo>
                    <a:pt x="81" y="460"/>
                  </a:lnTo>
                  <a:lnTo>
                    <a:pt x="81" y="460"/>
                  </a:lnTo>
                  <a:lnTo>
                    <a:pt x="80" y="463"/>
                  </a:lnTo>
                  <a:lnTo>
                    <a:pt x="80" y="466"/>
                  </a:lnTo>
                  <a:lnTo>
                    <a:pt x="78" y="468"/>
                  </a:lnTo>
                  <a:lnTo>
                    <a:pt x="78" y="471"/>
                  </a:lnTo>
                  <a:lnTo>
                    <a:pt x="78" y="471"/>
                  </a:lnTo>
                  <a:lnTo>
                    <a:pt x="77" y="471"/>
                  </a:lnTo>
                  <a:lnTo>
                    <a:pt x="77" y="470"/>
                  </a:lnTo>
                  <a:lnTo>
                    <a:pt x="77" y="464"/>
                  </a:lnTo>
                  <a:lnTo>
                    <a:pt x="77" y="464"/>
                  </a:lnTo>
                  <a:lnTo>
                    <a:pt x="74" y="476"/>
                  </a:lnTo>
                  <a:lnTo>
                    <a:pt x="74" y="476"/>
                  </a:lnTo>
                  <a:lnTo>
                    <a:pt x="75" y="477"/>
                  </a:lnTo>
                  <a:lnTo>
                    <a:pt x="75" y="480"/>
                  </a:lnTo>
                  <a:lnTo>
                    <a:pt x="74" y="486"/>
                  </a:lnTo>
                  <a:lnTo>
                    <a:pt x="71" y="497"/>
                  </a:lnTo>
                  <a:lnTo>
                    <a:pt x="71" y="497"/>
                  </a:lnTo>
                  <a:lnTo>
                    <a:pt x="71" y="493"/>
                  </a:lnTo>
                  <a:lnTo>
                    <a:pt x="71" y="488"/>
                  </a:lnTo>
                  <a:lnTo>
                    <a:pt x="71" y="488"/>
                  </a:lnTo>
                  <a:lnTo>
                    <a:pt x="72" y="487"/>
                  </a:lnTo>
                  <a:lnTo>
                    <a:pt x="72" y="488"/>
                  </a:lnTo>
                  <a:lnTo>
                    <a:pt x="72" y="488"/>
                  </a:lnTo>
                  <a:lnTo>
                    <a:pt x="72" y="484"/>
                  </a:lnTo>
                  <a:lnTo>
                    <a:pt x="74" y="480"/>
                  </a:lnTo>
                  <a:lnTo>
                    <a:pt x="74" y="480"/>
                  </a:lnTo>
                  <a:lnTo>
                    <a:pt x="71" y="487"/>
                  </a:lnTo>
                  <a:lnTo>
                    <a:pt x="67" y="494"/>
                  </a:lnTo>
                  <a:lnTo>
                    <a:pt x="67" y="494"/>
                  </a:lnTo>
                  <a:lnTo>
                    <a:pt x="67" y="496"/>
                  </a:lnTo>
                  <a:lnTo>
                    <a:pt x="68" y="496"/>
                  </a:lnTo>
                  <a:lnTo>
                    <a:pt x="68" y="496"/>
                  </a:lnTo>
                  <a:lnTo>
                    <a:pt x="68" y="496"/>
                  </a:lnTo>
                  <a:lnTo>
                    <a:pt x="68" y="496"/>
                  </a:lnTo>
                  <a:lnTo>
                    <a:pt x="67" y="503"/>
                  </a:lnTo>
                  <a:lnTo>
                    <a:pt x="67" y="503"/>
                  </a:lnTo>
                  <a:lnTo>
                    <a:pt x="64" y="514"/>
                  </a:lnTo>
                  <a:lnTo>
                    <a:pt x="64" y="514"/>
                  </a:lnTo>
                  <a:lnTo>
                    <a:pt x="61" y="526"/>
                  </a:lnTo>
                  <a:lnTo>
                    <a:pt x="61" y="526"/>
                  </a:lnTo>
                  <a:lnTo>
                    <a:pt x="60" y="536"/>
                  </a:lnTo>
                  <a:lnTo>
                    <a:pt x="60" y="536"/>
                  </a:lnTo>
                  <a:lnTo>
                    <a:pt x="60" y="540"/>
                  </a:lnTo>
                  <a:lnTo>
                    <a:pt x="61" y="541"/>
                  </a:lnTo>
                  <a:lnTo>
                    <a:pt x="61" y="541"/>
                  </a:lnTo>
                  <a:lnTo>
                    <a:pt x="61" y="541"/>
                  </a:lnTo>
                  <a:lnTo>
                    <a:pt x="61" y="546"/>
                  </a:lnTo>
                  <a:lnTo>
                    <a:pt x="61" y="548"/>
                  </a:lnTo>
                  <a:lnTo>
                    <a:pt x="60" y="551"/>
                  </a:lnTo>
                  <a:lnTo>
                    <a:pt x="61" y="553"/>
                  </a:lnTo>
                  <a:lnTo>
                    <a:pt x="61" y="553"/>
                  </a:lnTo>
                  <a:lnTo>
                    <a:pt x="60" y="553"/>
                  </a:lnTo>
                  <a:lnTo>
                    <a:pt x="60" y="553"/>
                  </a:lnTo>
                  <a:lnTo>
                    <a:pt x="58" y="551"/>
                  </a:lnTo>
                  <a:lnTo>
                    <a:pt x="58" y="551"/>
                  </a:lnTo>
                  <a:lnTo>
                    <a:pt x="60" y="548"/>
                  </a:lnTo>
                  <a:lnTo>
                    <a:pt x="60" y="546"/>
                  </a:lnTo>
                  <a:lnTo>
                    <a:pt x="60" y="546"/>
                  </a:lnTo>
                  <a:lnTo>
                    <a:pt x="60" y="546"/>
                  </a:lnTo>
                  <a:lnTo>
                    <a:pt x="58" y="546"/>
                  </a:lnTo>
                  <a:lnTo>
                    <a:pt x="58" y="544"/>
                  </a:lnTo>
                  <a:lnTo>
                    <a:pt x="58" y="541"/>
                  </a:lnTo>
                  <a:lnTo>
                    <a:pt x="58" y="541"/>
                  </a:lnTo>
                  <a:lnTo>
                    <a:pt x="58" y="547"/>
                  </a:lnTo>
                  <a:lnTo>
                    <a:pt x="58" y="547"/>
                  </a:lnTo>
                  <a:lnTo>
                    <a:pt x="58" y="554"/>
                  </a:lnTo>
                  <a:lnTo>
                    <a:pt x="58" y="554"/>
                  </a:lnTo>
                  <a:lnTo>
                    <a:pt x="57" y="557"/>
                  </a:lnTo>
                  <a:lnTo>
                    <a:pt x="57" y="557"/>
                  </a:lnTo>
                  <a:lnTo>
                    <a:pt x="57" y="557"/>
                  </a:lnTo>
                  <a:lnTo>
                    <a:pt x="58" y="557"/>
                  </a:lnTo>
                  <a:lnTo>
                    <a:pt x="58" y="556"/>
                  </a:lnTo>
                  <a:lnTo>
                    <a:pt x="60" y="556"/>
                  </a:lnTo>
                  <a:lnTo>
                    <a:pt x="60" y="556"/>
                  </a:lnTo>
                  <a:lnTo>
                    <a:pt x="58" y="561"/>
                  </a:lnTo>
                  <a:lnTo>
                    <a:pt x="60" y="566"/>
                  </a:lnTo>
                  <a:lnTo>
                    <a:pt x="60" y="566"/>
                  </a:lnTo>
                  <a:lnTo>
                    <a:pt x="61" y="554"/>
                  </a:lnTo>
                  <a:lnTo>
                    <a:pt x="61" y="554"/>
                  </a:lnTo>
                  <a:lnTo>
                    <a:pt x="64" y="541"/>
                  </a:lnTo>
                  <a:lnTo>
                    <a:pt x="64" y="541"/>
                  </a:lnTo>
                  <a:lnTo>
                    <a:pt x="68" y="518"/>
                  </a:lnTo>
                  <a:lnTo>
                    <a:pt x="68" y="518"/>
                  </a:lnTo>
                  <a:lnTo>
                    <a:pt x="70" y="517"/>
                  </a:lnTo>
                  <a:lnTo>
                    <a:pt x="70" y="517"/>
                  </a:lnTo>
                  <a:lnTo>
                    <a:pt x="70" y="518"/>
                  </a:lnTo>
                  <a:lnTo>
                    <a:pt x="71" y="517"/>
                  </a:lnTo>
                  <a:lnTo>
                    <a:pt x="71" y="517"/>
                  </a:lnTo>
                  <a:lnTo>
                    <a:pt x="71" y="513"/>
                  </a:lnTo>
                  <a:lnTo>
                    <a:pt x="71" y="511"/>
                  </a:lnTo>
                  <a:lnTo>
                    <a:pt x="71" y="511"/>
                  </a:lnTo>
                  <a:lnTo>
                    <a:pt x="71" y="510"/>
                  </a:lnTo>
                  <a:lnTo>
                    <a:pt x="72" y="511"/>
                  </a:lnTo>
                  <a:lnTo>
                    <a:pt x="72" y="518"/>
                  </a:lnTo>
                  <a:lnTo>
                    <a:pt x="72" y="518"/>
                  </a:lnTo>
                  <a:lnTo>
                    <a:pt x="71" y="526"/>
                  </a:lnTo>
                  <a:lnTo>
                    <a:pt x="71" y="526"/>
                  </a:lnTo>
                  <a:lnTo>
                    <a:pt x="68" y="531"/>
                  </a:lnTo>
                  <a:lnTo>
                    <a:pt x="68" y="531"/>
                  </a:lnTo>
                  <a:lnTo>
                    <a:pt x="67" y="540"/>
                  </a:lnTo>
                  <a:lnTo>
                    <a:pt x="67" y="548"/>
                  </a:lnTo>
                  <a:lnTo>
                    <a:pt x="67" y="548"/>
                  </a:lnTo>
                  <a:lnTo>
                    <a:pt x="65" y="553"/>
                  </a:lnTo>
                  <a:lnTo>
                    <a:pt x="65" y="553"/>
                  </a:lnTo>
                  <a:lnTo>
                    <a:pt x="64" y="557"/>
                  </a:lnTo>
                  <a:lnTo>
                    <a:pt x="64" y="557"/>
                  </a:lnTo>
                  <a:lnTo>
                    <a:pt x="65" y="556"/>
                  </a:lnTo>
                  <a:lnTo>
                    <a:pt x="64" y="561"/>
                  </a:lnTo>
                  <a:lnTo>
                    <a:pt x="64" y="561"/>
                  </a:lnTo>
                  <a:lnTo>
                    <a:pt x="65" y="563"/>
                  </a:lnTo>
                  <a:lnTo>
                    <a:pt x="65" y="564"/>
                  </a:lnTo>
                  <a:lnTo>
                    <a:pt x="65" y="564"/>
                  </a:lnTo>
                  <a:lnTo>
                    <a:pt x="65" y="564"/>
                  </a:lnTo>
                  <a:lnTo>
                    <a:pt x="65" y="564"/>
                  </a:lnTo>
                  <a:lnTo>
                    <a:pt x="64" y="568"/>
                  </a:lnTo>
                  <a:lnTo>
                    <a:pt x="64" y="573"/>
                  </a:lnTo>
                  <a:lnTo>
                    <a:pt x="64" y="581"/>
                  </a:lnTo>
                  <a:lnTo>
                    <a:pt x="64" y="581"/>
                  </a:lnTo>
                  <a:lnTo>
                    <a:pt x="63" y="583"/>
                  </a:lnTo>
                  <a:lnTo>
                    <a:pt x="61" y="584"/>
                  </a:lnTo>
                  <a:lnTo>
                    <a:pt x="61" y="584"/>
                  </a:lnTo>
                  <a:lnTo>
                    <a:pt x="63" y="586"/>
                  </a:lnTo>
                  <a:lnTo>
                    <a:pt x="63" y="587"/>
                  </a:lnTo>
                  <a:lnTo>
                    <a:pt x="63" y="593"/>
                  </a:lnTo>
                  <a:lnTo>
                    <a:pt x="63" y="593"/>
                  </a:lnTo>
                  <a:lnTo>
                    <a:pt x="63" y="593"/>
                  </a:lnTo>
                  <a:lnTo>
                    <a:pt x="61" y="591"/>
                  </a:lnTo>
                  <a:lnTo>
                    <a:pt x="61" y="590"/>
                  </a:lnTo>
                  <a:lnTo>
                    <a:pt x="61" y="593"/>
                  </a:lnTo>
                  <a:lnTo>
                    <a:pt x="61" y="593"/>
                  </a:lnTo>
                  <a:lnTo>
                    <a:pt x="61" y="594"/>
                  </a:lnTo>
                  <a:lnTo>
                    <a:pt x="60" y="597"/>
                  </a:lnTo>
                  <a:lnTo>
                    <a:pt x="60" y="597"/>
                  </a:lnTo>
                  <a:lnTo>
                    <a:pt x="61" y="600"/>
                  </a:lnTo>
                  <a:lnTo>
                    <a:pt x="61" y="600"/>
                  </a:lnTo>
                  <a:lnTo>
                    <a:pt x="61" y="606"/>
                  </a:lnTo>
                  <a:lnTo>
                    <a:pt x="61" y="606"/>
                  </a:lnTo>
                  <a:lnTo>
                    <a:pt x="60" y="611"/>
                  </a:lnTo>
                  <a:lnTo>
                    <a:pt x="60" y="611"/>
                  </a:lnTo>
                  <a:lnTo>
                    <a:pt x="58" y="621"/>
                  </a:lnTo>
                  <a:lnTo>
                    <a:pt x="58" y="621"/>
                  </a:lnTo>
                  <a:lnTo>
                    <a:pt x="60" y="623"/>
                  </a:lnTo>
                  <a:lnTo>
                    <a:pt x="60" y="625"/>
                  </a:lnTo>
                  <a:lnTo>
                    <a:pt x="58" y="628"/>
                  </a:lnTo>
                  <a:lnTo>
                    <a:pt x="60" y="633"/>
                  </a:lnTo>
                  <a:lnTo>
                    <a:pt x="60" y="633"/>
                  </a:lnTo>
                  <a:lnTo>
                    <a:pt x="58" y="633"/>
                  </a:lnTo>
                  <a:lnTo>
                    <a:pt x="58" y="631"/>
                  </a:lnTo>
                  <a:lnTo>
                    <a:pt x="58" y="627"/>
                  </a:lnTo>
                  <a:lnTo>
                    <a:pt x="58" y="627"/>
                  </a:lnTo>
                  <a:lnTo>
                    <a:pt x="58" y="633"/>
                  </a:lnTo>
                  <a:lnTo>
                    <a:pt x="58" y="633"/>
                  </a:lnTo>
                  <a:lnTo>
                    <a:pt x="57" y="638"/>
                  </a:lnTo>
                  <a:lnTo>
                    <a:pt x="57" y="638"/>
                  </a:lnTo>
                  <a:lnTo>
                    <a:pt x="58" y="641"/>
                  </a:lnTo>
                  <a:lnTo>
                    <a:pt x="58" y="645"/>
                  </a:lnTo>
                  <a:lnTo>
                    <a:pt x="58" y="645"/>
                  </a:lnTo>
                  <a:lnTo>
                    <a:pt x="60" y="644"/>
                  </a:lnTo>
                  <a:lnTo>
                    <a:pt x="60" y="645"/>
                  </a:lnTo>
                  <a:lnTo>
                    <a:pt x="61" y="651"/>
                  </a:lnTo>
                  <a:lnTo>
                    <a:pt x="61" y="651"/>
                  </a:lnTo>
                  <a:lnTo>
                    <a:pt x="63" y="641"/>
                  </a:lnTo>
                  <a:lnTo>
                    <a:pt x="63" y="637"/>
                  </a:lnTo>
                  <a:lnTo>
                    <a:pt x="61" y="633"/>
                  </a:lnTo>
                  <a:lnTo>
                    <a:pt x="61" y="633"/>
                  </a:lnTo>
                  <a:lnTo>
                    <a:pt x="63" y="631"/>
                  </a:lnTo>
                  <a:lnTo>
                    <a:pt x="63" y="633"/>
                  </a:lnTo>
                  <a:lnTo>
                    <a:pt x="64" y="633"/>
                  </a:lnTo>
                  <a:lnTo>
                    <a:pt x="64" y="633"/>
                  </a:lnTo>
                  <a:lnTo>
                    <a:pt x="64" y="633"/>
                  </a:lnTo>
                  <a:lnTo>
                    <a:pt x="63" y="628"/>
                  </a:lnTo>
                  <a:lnTo>
                    <a:pt x="61" y="628"/>
                  </a:lnTo>
                  <a:lnTo>
                    <a:pt x="61" y="628"/>
                  </a:lnTo>
                  <a:lnTo>
                    <a:pt x="61" y="628"/>
                  </a:lnTo>
                  <a:lnTo>
                    <a:pt x="60" y="621"/>
                  </a:lnTo>
                  <a:lnTo>
                    <a:pt x="60" y="621"/>
                  </a:lnTo>
                  <a:lnTo>
                    <a:pt x="61" y="620"/>
                  </a:lnTo>
                  <a:lnTo>
                    <a:pt x="61" y="617"/>
                  </a:lnTo>
                  <a:lnTo>
                    <a:pt x="61" y="610"/>
                  </a:lnTo>
                  <a:lnTo>
                    <a:pt x="61" y="610"/>
                  </a:lnTo>
                  <a:lnTo>
                    <a:pt x="63" y="610"/>
                  </a:lnTo>
                  <a:lnTo>
                    <a:pt x="63" y="611"/>
                  </a:lnTo>
                  <a:lnTo>
                    <a:pt x="63" y="614"/>
                  </a:lnTo>
                  <a:lnTo>
                    <a:pt x="64" y="615"/>
                  </a:lnTo>
                  <a:lnTo>
                    <a:pt x="64" y="615"/>
                  </a:lnTo>
                  <a:lnTo>
                    <a:pt x="64" y="613"/>
                  </a:lnTo>
                  <a:lnTo>
                    <a:pt x="63" y="610"/>
                  </a:lnTo>
                  <a:lnTo>
                    <a:pt x="63" y="610"/>
                  </a:lnTo>
                  <a:lnTo>
                    <a:pt x="64" y="607"/>
                  </a:lnTo>
                  <a:lnTo>
                    <a:pt x="64" y="607"/>
                  </a:lnTo>
                  <a:lnTo>
                    <a:pt x="65" y="600"/>
                  </a:lnTo>
                  <a:lnTo>
                    <a:pt x="65" y="600"/>
                  </a:lnTo>
                  <a:lnTo>
                    <a:pt x="64" y="597"/>
                  </a:lnTo>
                  <a:lnTo>
                    <a:pt x="63" y="593"/>
                  </a:lnTo>
                  <a:lnTo>
                    <a:pt x="63" y="593"/>
                  </a:lnTo>
                  <a:lnTo>
                    <a:pt x="65" y="593"/>
                  </a:lnTo>
                  <a:lnTo>
                    <a:pt x="67" y="588"/>
                  </a:lnTo>
                  <a:lnTo>
                    <a:pt x="67" y="588"/>
                  </a:lnTo>
                  <a:lnTo>
                    <a:pt x="67" y="584"/>
                  </a:lnTo>
                  <a:lnTo>
                    <a:pt x="67" y="581"/>
                  </a:lnTo>
                  <a:lnTo>
                    <a:pt x="67" y="581"/>
                  </a:lnTo>
                  <a:lnTo>
                    <a:pt x="68" y="581"/>
                  </a:lnTo>
                  <a:lnTo>
                    <a:pt x="68" y="581"/>
                  </a:lnTo>
                  <a:lnTo>
                    <a:pt x="70" y="580"/>
                  </a:lnTo>
                  <a:lnTo>
                    <a:pt x="70" y="580"/>
                  </a:lnTo>
                  <a:lnTo>
                    <a:pt x="71" y="564"/>
                  </a:lnTo>
                  <a:lnTo>
                    <a:pt x="71" y="564"/>
                  </a:lnTo>
                  <a:lnTo>
                    <a:pt x="74" y="547"/>
                  </a:lnTo>
                  <a:lnTo>
                    <a:pt x="74" y="547"/>
                  </a:lnTo>
                  <a:lnTo>
                    <a:pt x="74" y="543"/>
                  </a:lnTo>
                  <a:lnTo>
                    <a:pt x="75" y="538"/>
                  </a:lnTo>
                  <a:lnTo>
                    <a:pt x="77" y="533"/>
                  </a:lnTo>
                  <a:lnTo>
                    <a:pt x="77" y="528"/>
                  </a:lnTo>
                  <a:lnTo>
                    <a:pt x="77" y="528"/>
                  </a:lnTo>
                  <a:lnTo>
                    <a:pt x="80" y="520"/>
                  </a:lnTo>
                  <a:lnTo>
                    <a:pt x="81" y="511"/>
                  </a:lnTo>
                  <a:lnTo>
                    <a:pt x="81" y="511"/>
                  </a:lnTo>
                  <a:lnTo>
                    <a:pt x="82" y="501"/>
                  </a:lnTo>
                  <a:lnTo>
                    <a:pt x="82" y="501"/>
                  </a:lnTo>
                  <a:lnTo>
                    <a:pt x="84" y="498"/>
                  </a:lnTo>
                  <a:lnTo>
                    <a:pt x="87" y="496"/>
                  </a:lnTo>
                  <a:lnTo>
                    <a:pt x="87" y="496"/>
                  </a:lnTo>
                  <a:lnTo>
                    <a:pt x="87" y="493"/>
                  </a:lnTo>
                  <a:lnTo>
                    <a:pt x="87" y="488"/>
                  </a:lnTo>
                  <a:lnTo>
                    <a:pt x="87" y="488"/>
                  </a:lnTo>
                  <a:lnTo>
                    <a:pt x="88" y="486"/>
                  </a:lnTo>
                  <a:lnTo>
                    <a:pt x="91" y="481"/>
                  </a:lnTo>
                  <a:lnTo>
                    <a:pt x="91" y="481"/>
                  </a:lnTo>
                  <a:lnTo>
                    <a:pt x="90" y="487"/>
                  </a:lnTo>
                  <a:lnTo>
                    <a:pt x="90" y="490"/>
                  </a:lnTo>
                  <a:lnTo>
                    <a:pt x="90" y="491"/>
                  </a:lnTo>
                  <a:lnTo>
                    <a:pt x="90" y="491"/>
                  </a:lnTo>
                  <a:lnTo>
                    <a:pt x="88" y="491"/>
                  </a:lnTo>
                  <a:lnTo>
                    <a:pt x="88" y="493"/>
                  </a:lnTo>
                  <a:lnTo>
                    <a:pt x="87" y="497"/>
                  </a:lnTo>
                  <a:lnTo>
                    <a:pt x="87" y="497"/>
                  </a:lnTo>
                  <a:lnTo>
                    <a:pt x="87" y="498"/>
                  </a:lnTo>
                  <a:lnTo>
                    <a:pt x="88" y="497"/>
                  </a:lnTo>
                  <a:lnTo>
                    <a:pt x="90" y="494"/>
                  </a:lnTo>
                  <a:lnTo>
                    <a:pt x="90" y="494"/>
                  </a:lnTo>
                  <a:lnTo>
                    <a:pt x="88" y="501"/>
                  </a:lnTo>
                  <a:lnTo>
                    <a:pt x="88" y="501"/>
                  </a:lnTo>
                  <a:lnTo>
                    <a:pt x="87" y="508"/>
                  </a:lnTo>
                  <a:lnTo>
                    <a:pt x="87" y="508"/>
                  </a:lnTo>
                  <a:lnTo>
                    <a:pt x="85" y="507"/>
                  </a:lnTo>
                  <a:lnTo>
                    <a:pt x="85" y="506"/>
                  </a:lnTo>
                  <a:lnTo>
                    <a:pt x="87" y="501"/>
                  </a:lnTo>
                  <a:lnTo>
                    <a:pt x="87" y="501"/>
                  </a:lnTo>
                  <a:lnTo>
                    <a:pt x="85" y="504"/>
                  </a:lnTo>
                  <a:lnTo>
                    <a:pt x="85" y="508"/>
                  </a:lnTo>
                  <a:lnTo>
                    <a:pt x="82" y="518"/>
                  </a:lnTo>
                  <a:lnTo>
                    <a:pt x="82" y="518"/>
                  </a:lnTo>
                  <a:lnTo>
                    <a:pt x="84" y="516"/>
                  </a:lnTo>
                  <a:lnTo>
                    <a:pt x="85" y="511"/>
                  </a:lnTo>
                  <a:lnTo>
                    <a:pt x="85" y="511"/>
                  </a:lnTo>
                  <a:lnTo>
                    <a:pt x="84" y="523"/>
                  </a:lnTo>
                  <a:lnTo>
                    <a:pt x="84" y="523"/>
                  </a:lnTo>
                  <a:lnTo>
                    <a:pt x="82" y="528"/>
                  </a:lnTo>
                  <a:lnTo>
                    <a:pt x="82" y="528"/>
                  </a:lnTo>
                  <a:lnTo>
                    <a:pt x="82" y="534"/>
                  </a:lnTo>
                  <a:lnTo>
                    <a:pt x="82" y="534"/>
                  </a:lnTo>
                  <a:lnTo>
                    <a:pt x="82" y="534"/>
                  </a:lnTo>
                  <a:lnTo>
                    <a:pt x="82" y="534"/>
                  </a:lnTo>
                  <a:lnTo>
                    <a:pt x="81" y="531"/>
                  </a:lnTo>
                  <a:lnTo>
                    <a:pt x="81" y="530"/>
                  </a:lnTo>
                  <a:lnTo>
                    <a:pt x="81" y="531"/>
                  </a:lnTo>
                  <a:lnTo>
                    <a:pt x="81" y="531"/>
                  </a:lnTo>
                  <a:lnTo>
                    <a:pt x="81" y="537"/>
                  </a:lnTo>
                  <a:lnTo>
                    <a:pt x="81" y="537"/>
                  </a:lnTo>
                  <a:lnTo>
                    <a:pt x="78" y="550"/>
                  </a:lnTo>
                  <a:lnTo>
                    <a:pt x="78" y="550"/>
                  </a:lnTo>
                  <a:lnTo>
                    <a:pt x="78" y="554"/>
                  </a:lnTo>
                  <a:lnTo>
                    <a:pt x="78" y="554"/>
                  </a:lnTo>
                  <a:lnTo>
                    <a:pt x="78" y="557"/>
                  </a:lnTo>
                  <a:lnTo>
                    <a:pt x="78" y="557"/>
                  </a:lnTo>
                  <a:lnTo>
                    <a:pt x="78" y="563"/>
                  </a:lnTo>
                  <a:lnTo>
                    <a:pt x="78" y="563"/>
                  </a:lnTo>
                  <a:lnTo>
                    <a:pt x="77" y="560"/>
                  </a:lnTo>
                  <a:lnTo>
                    <a:pt x="77" y="563"/>
                  </a:lnTo>
                  <a:lnTo>
                    <a:pt x="75" y="571"/>
                  </a:lnTo>
                  <a:lnTo>
                    <a:pt x="75" y="571"/>
                  </a:lnTo>
                  <a:lnTo>
                    <a:pt x="77" y="573"/>
                  </a:lnTo>
                  <a:lnTo>
                    <a:pt x="77" y="570"/>
                  </a:lnTo>
                  <a:lnTo>
                    <a:pt x="77" y="570"/>
                  </a:lnTo>
                  <a:lnTo>
                    <a:pt x="78" y="576"/>
                  </a:lnTo>
                  <a:lnTo>
                    <a:pt x="77" y="578"/>
                  </a:lnTo>
                  <a:lnTo>
                    <a:pt x="77" y="581"/>
                  </a:lnTo>
                  <a:lnTo>
                    <a:pt x="77" y="586"/>
                  </a:lnTo>
                  <a:lnTo>
                    <a:pt x="77" y="586"/>
                  </a:lnTo>
                  <a:lnTo>
                    <a:pt x="75" y="587"/>
                  </a:lnTo>
                  <a:lnTo>
                    <a:pt x="75" y="587"/>
                  </a:lnTo>
                  <a:lnTo>
                    <a:pt x="74" y="586"/>
                  </a:lnTo>
                  <a:lnTo>
                    <a:pt x="74" y="586"/>
                  </a:lnTo>
                  <a:lnTo>
                    <a:pt x="74" y="590"/>
                  </a:lnTo>
                  <a:lnTo>
                    <a:pt x="75" y="593"/>
                  </a:lnTo>
                  <a:lnTo>
                    <a:pt x="75" y="593"/>
                  </a:lnTo>
                  <a:lnTo>
                    <a:pt x="74" y="601"/>
                  </a:lnTo>
                  <a:lnTo>
                    <a:pt x="74" y="604"/>
                  </a:lnTo>
                  <a:lnTo>
                    <a:pt x="75" y="607"/>
                  </a:lnTo>
                  <a:lnTo>
                    <a:pt x="75" y="607"/>
                  </a:lnTo>
                  <a:lnTo>
                    <a:pt x="74" y="611"/>
                  </a:lnTo>
                  <a:lnTo>
                    <a:pt x="74" y="614"/>
                  </a:lnTo>
                  <a:lnTo>
                    <a:pt x="72" y="614"/>
                  </a:lnTo>
                  <a:lnTo>
                    <a:pt x="72" y="614"/>
                  </a:lnTo>
                  <a:lnTo>
                    <a:pt x="74" y="624"/>
                  </a:lnTo>
                  <a:lnTo>
                    <a:pt x="74" y="624"/>
                  </a:lnTo>
                  <a:lnTo>
                    <a:pt x="74" y="631"/>
                  </a:lnTo>
                  <a:lnTo>
                    <a:pt x="74" y="631"/>
                  </a:lnTo>
                  <a:lnTo>
                    <a:pt x="74" y="638"/>
                  </a:lnTo>
                  <a:lnTo>
                    <a:pt x="74" y="638"/>
                  </a:lnTo>
                  <a:lnTo>
                    <a:pt x="71" y="628"/>
                  </a:lnTo>
                  <a:lnTo>
                    <a:pt x="71" y="628"/>
                  </a:lnTo>
                  <a:lnTo>
                    <a:pt x="70" y="638"/>
                  </a:lnTo>
                  <a:lnTo>
                    <a:pt x="70" y="638"/>
                  </a:lnTo>
                  <a:lnTo>
                    <a:pt x="70" y="640"/>
                  </a:lnTo>
                  <a:lnTo>
                    <a:pt x="71" y="640"/>
                  </a:lnTo>
                  <a:lnTo>
                    <a:pt x="71" y="638"/>
                  </a:lnTo>
                  <a:lnTo>
                    <a:pt x="71" y="640"/>
                  </a:lnTo>
                  <a:lnTo>
                    <a:pt x="71" y="640"/>
                  </a:lnTo>
                  <a:lnTo>
                    <a:pt x="71" y="640"/>
                  </a:lnTo>
                  <a:lnTo>
                    <a:pt x="71" y="638"/>
                  </a:lnTo>
                  <a:lnTo>
                    <a:pt x="71" y="634"/>
                  </a:lnTo>
                  <a:lnTo>
                    <a:pt x="71" y="634"/>
                  </a:lnTo>
                  <a:lnTo>
                    <a:pt x="72" y="635"/>
                  </a:lnTo>
                  <a:lnTo>
                    <a:pt x="72" y="640"/>
                  </a:lnTo>
                  <a:lnTo>
                    <a:pt x="74" y="645"/>
                  </a:lnTo>
                  <a:lnTo>
                    <a:pt x="72" y="651"/>
                  </a:lnTo>
                  <a:lnTo>
                    <a:pt x="72" y="651"/>
                  </a:lnTo>
                  <a:lnTo>
                    <a:pt x="72" y="655"/>
                  </a:lnTo>
                  <a:lnTo>
                    <a:pt x="72" y="655"/>
                  </a:lnTo>
                  <a:lnTo>
                    <a:pt x="74" y="661"/>
                  </a:lnTo>
                  <a:lnTo>
                    <a:pt x="74" y="661"/>
                  </a:lnTo>
                  <a:lnTo>
                    <a:pt x="75" y="667"/>
                  </a:lnTo>
                  <a:lnTo>
                    <a:pt x="75" y="671"/>
                  </a:lnTo>
                  <a:lnTo>
                    <a:pt x="75" y="671"/>
                  </a:lnTo>
                  <a:lnTo>
                    <a:pt x="77" y="675"/>
                  </a:lnTo>
                  <a:lnTo>
                    <a:pt x="77" y="675"/>
                  </a:lnTo>
                  <a:lnTo>
                    <a:pt x="77" y="677"/>
                  </a:lnTo>
                  <a:lnTo>
                    <a:pt x="77" y="677"/>
                  </a:lnTo>
                  <a:lnTo>
                    <a:pt x="75" y="675"/>
                  </a:lnTo>
                  <a:lnTo>
                    <a:pt x="75" y="675"/>
                  </a:lnTo>
                  <a:lnTo>
                    <a:pt x="77" y="683"/>
                  </a:lnTo>
                  <a:lnTo>
                    <a:pt x="77" y="683"/>
                  </a:lnTo>
                  <a:lnTo>
                    <a:pt x="77" y="685"/>
                  </a:lnTo>
                  <a:lnTo>
                    <a:pt x="77" y="685"/>
                  </a:lnTo>
                  <a:lnTo>
                    <a:pt x="77" y="688"/>
                  </a:lnTo>
                  <a:lnTo>
                    <a:pt x="77" y="688"/>
                  </a:lnTo>
                  <a:lnTo>
                    <a:pt x="77" y="688"/>
                  </a:lnTo>
                  <a:lnTo>
                    <a:pt x="75" y="687"/>
                  </a:lnTo>
                  <a:lnTo>
                    <a:pt x="75" y="683"/>
                  </a:lnTo>
                  <a:lnTo>
                    <a:pt x="75" y="683"/>
                  </a:lnTo>
                  <a:lnTo>
                    <a:pt x="77" y="691"/>
                  </a:lnTo>
                  <a:lnTo>
                    <a:pt x="77" y="691"/>
                  </a:lnTo>
                  <a:lnTo>
                    <a:pt x="78" y="700"/>
                  </a:lnTo>
                  <a:lnTo>
                    <a:pt x="78" y="700"/>
                  </a:lnTo>
                  <a:lnTo>
                    <a:pt x="78" y="707"/>
                  </a:lnTo>
                  <a:lnTo>
                    <a:pt x="78" y="713"/>
                  </a:lnTo>
                  <a:lnTo>
                    <a:pt x="78" y="713"/>
                  </a:lnTo>
                  <a:lnTo>
                    <a:pt x="80" y="718"/>
                  </a:lnTo>
                  <a:lnTo>
                    <a:pt x="81" y="723"/>
                  </a:lnTo>
                  <a:lnTo>
                    <a:pt x="81" y="723"/>
                  </a:lnTo>
                  <a:lnTo>
                    <a:pt x="81" y="721"/>
                  </a:lnTo>
                  <a:lnTo>
                    <a:pt x="82" y="723"/>
                  </a:lnTo>
                  <a:lnTo>
                    <a:pt x="82" y="723"/>
                  </a:lnTo>
                  <a:lnTo>
                    <a:pt x="82" y="727"/>
                  </a:lnTo>
                  <a:lnTo>
                    <a:pt x="84" y="733"/>
                  </a:lnTo>
                  <a:lnTo>
                    <a:pt x="84" y="733"/>
                  </a:lnTo>
                  <a:lnTo>
                    <a:pt x="85" y="738"/>
                  </a:lnTo>
                  <a:lnTo>
                    <a:pt x="85" y="738"/>
                  </a:lnTo>
                  <a:lnTo>
                    <a:pt x="85" y="744"/>
                  </a:lnTo>
                  <a:lnTo>
                    <a:pt x="85" y="744"/>
                  </a:lnTo>
                  <a:lnTo>
                    <a:pt x="84" y="741"/>
                  </a:lnTo>
                  <a:lnTo>
                    <a:pt x="82" y="737"/>
                  </a:lnTo>
                  <a:lnTo>
                    <a:pt x="82" y="737"/>
                  </a:lnTo>
                  <a:lnTo>
                    <a:pt x="84" y="745"/>
                  </a:lnTo>
                  <a:lnTo>
                    <a:pt x="85" y="755"/>
                  </a:lnTo>
                  <a:lnTo>
                    <a:pt x="85" y="755"/>
                  </a:lnTo>
                  <a:lnTo>
                    <a:pt x="87" y="757"/>
                  </a:lnTo>
                  <a:lnTo>
                    <a:pt x="87" y="755"/>
                  </a:lnTo>
                  <a:lnTo>
                    <a:pt x="87" y="753"/>
                  </a:lnTo>
                  <a:lnTo>
                    <a:pt x="87" y="751"/>
                  </a:lnTo>
                  <a:lnTo>
                    <a:pt x="87" y="751"/>
                  </a:lnTo>
                  <a:lnTo>
                    <a:pt x="88" y="755"/>
                  </a:lnTo>
                  <a:lnTo>
                    <a:pt x="90" y="761"/>
                  </a:lnTo>
                  <a:lnTo>
                    <a:pt x="90" y="761"/>
                  </a:lnTo>
                  <a:lnTo>
                    <a:pt x="91" y="760"/>
                  </a:lnTo>
                  <a:lnTo>
                    <a:pt x="92" y="761"/>
                  </a:lnTo>
                  <a:lnTo>
                    <a:pt x="92" y="761"/>
                  </a:lnTo>
                  <a:lnTo>
                    <a:pt x="91" y="758"/>
                  </a:lnTo>
                  <a:lnTo>
                    <a:pt x="92" y="757"/>
                  </a:lnTo>
                  <a:lnTo>
                    <a:pt x="92" y="757"/>
                  </a:lnTo>
                  <a:lnTo>
                    <a:pt x="94" y="761"/>
                  </a:lnTo>
                  <a:lnTo>
                    <a:pt x="94" y="761"/>
                  </a:lnTo>
                  <a:lnTo>
                    <a:pt x="94" y="767"/>
                  </a:lnTo>
                  <a:lnTo>
                    <a:pt x="94" y="774"/>
                  </a:lnTo>
                  <a:lnTo>
                    <a:pt x="94" y="774"/>
                  </a:lnTo>
                  <a:lnTo>
                    <a:pt x="92" y="772"/>
                  </a:lnTo>
                  <a:lnTo>
                    <a:pt x="92" y="770"/>
                  </a:lnTo>
                  <a:lnTo>
                    <a:pt x="92" y="767"/>
                  </a:lnTo>
                  <a:lnTo>
                    <a:pt x="91" y="764"/>
                  </a:lnTo>
                  <a:lnTo>
                    <a:pt x="91" y="764"/>
                  </a:lnTo>
                  <a:lnTo>
                    <a:pt x="91" y="768"/>
                  </a:lnTo>
                  <a:lnTo>
                    <a:pt x="91" y="772"/>
                  </a:lnTo>
                  <a:lnTo>
                    <a:pt x="91" y="772"/>
                  </a:lnTo>
                  <a:lnTo>
                    <a:pt x="91" y="771"/>
                  </a:lnTo>
                  <a:lnTo>
                    <a:pt x="92" y="772"/>
                  </a:lnTo>
                  <a:lnTo>
                    <a:pt x="94" y="775"/>
                  </a:lnTo>
                  <a:lnTo>
                    <a:pt x="97" y="782"/>
                  </a:lnTo>
                  <a:lnTo>
                    <a:pt x="97" y="782"/>
                  </a:lnTo>
                  <a:lnTo>
                    <a:pt x="95" y="782"/>
                  </a:lnTo>
                  <a:lnTo>
                    <a:pt x="95" y="781"/>
                  </a:lnTo>
                  <a:lnTo>
                    <a:pt x="95" y="781"/>
                  </a:lnTo>
                  <a:lnTo>
                    <a:pt x="95" y="785"/>
                  </a:lnTo>
                  <a:lnTo>
                    <a:pt x="95" y="790"/>
                  </a:lnTo>
                  <a:lnTo>
                    <a:pt x="95" y="790"/>
                  </a:lnTo>
                  <a:lnTo>
                    <a:pt x="97" y="790"/>
                  </a:lnTo>
                  <a:lnTo>
                    <a:pt x="97" y="788"/>
                  </a:lnTo>
                  <a:lnTo>
                    <a:pt x="97" y="787"/>
                  </a:lnTo>
                  <a:lnTo>
                    <a:pt x="97" y="787"/>
                  </a:lnTo>
                  <a:lnTo>
                    <a:pt x="101" y="797"/>
                  </a:lnTo>
                  <a:lnTo>
                    <a:pt x="101" y="797"/>
                  </a:lnTo>
                  <a:lnTo>
                    <a:pt x="104" y="807"/>
                  </a:lnTo>
                  <a:lnTo>
                    <a:pt x="104" y="807"/>
                  </a:lnTo>
                  <a:lnTo>
                    <a:pt x="104" y="807"/>
                  </a:lnTo>
                  <a:lnTo>
                    <a:pt x="104" y="804"/>
                  </a:lnTo>
                  <a:lnTo>
                    <a:pt x="102" y="800"/>
                  </a:lnTo>
                  <a:lnTo>
                    <a:pt x="102" y="800"/>
                  </a:lnTo>
                  <a:lnTo>
                    <a:pt x="102" y="798"/>
                  </a:lnTo>
                  <a:lnTo>
                    <a:pt x="102" y="798"/>
                  </a:lnTo>
                  <a:lnTo>
                    <a:pt x="105" y="804"/>
                  </a:lnTo>
                  <a:lnTo>
                    <a:pt x="108" y="810"/>
                  </a:lnTo>
                  <a:lnTo>
                    <a:pt x="108" y="810"/>
                  </a:lnTo>
                  <a:lnTo>
                    <a:pt x="108" y="808"/>
                  </a:lnTo>
                  <a:lnTo>
                    <a:pt x="108" y="807"/>
                  </a:lnTo>
                  <a:lnTo>
                    <a:pt x="105" y="802"/>
                  </a:lnTo>
                  <a:lnTo>
                    <a:pt x="105" y="802"/>
                  </a:lnTo>
                  <a:lnTo>
                    <a:pt x="105" y="801"/>
                  </a:lnTo>
                  <a:lnTo>
                    <a:pt x="107" y="802"/>
                  </a:lnTo>
                  <a:lnTo>
                    <a:pt x="107" y="802"/>
                  </a:lnTo>
                  <a:lnTo>
                    <a:pt x="107" y="801"/>
                  </a:lnTo>
                  <a:lnTo>
                    <a:pt x="107" y="801"/>
                  </a:lnTo>
                  <a:lnTo>
                    <a:pt x="110" y="805"/>
                  </a:lnTo>
                  <a:lnTo>
                    <a:pt x="111" y="807"/>
                  </a:lnTo>
                  <a:lnTo>
                    <a:pt x="111" y="80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3" name="Freeform 715"/>
            <p:cNvSpPr/>
            <p:nvPr/>
          </p:nvSpPr>
          <p:spPr bwMode="auto">
            <a:xfrm>
              <a:off x="2059697" y="2842307"/>
              <a:ext cx="12287" cy="30720"/>
            </a:xfrm>
            <a:custGeom>
              <a:avLst/>
              <a:gdLst>
                <a:gd name="T0" fmla="*/ 0 w 4"/>
                <a:gd name="T1" fmla="*/ 10 h 10"/>
                <a:gd name="T2" fmla="*/ 0 w 4"/>
                <a:gd name="T3" fmla="*/ 10 h 10"/>
                <a:gd name="T4" fmla="*/ 1 w 4"/>
                <a:gd name="T5" fmla="*/ 6 h 10"/>
                <a:gd name="T6" fmla="*/ 4 w 4"/>
                <a:gd name="T7" fmla="*/ 0 h 10"/>
                <a:gd name="T8" fmla="*/ 4 w 4"/>
                <a:gd name="T9" fmla="*/ 0 h 10"/>
                <a:gd name="T10" fmla="*/ 3 w 4"/>
                <a:gd name="T11" fmla="*/ 6 h 10"/>
                <a:gd name="T12" fmla="*/ 0 w 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4" h="10">
                  <a:moveTo>
                    <a:pt x="0" y="10"/>
                  </a:moveTo>
                  <a:lnTo>
                    <a:pt x="0" y="10"/>
                  </a:lnTo>
                  <a:lnTo>
                    <a:pt x="1" y="6"/>
                  </a:lnTo>
                  <a:lnTo>
                    <a:pt x="4" y="0"/>
                  </a:lnTo>
                  <a:lnTo>
                    <a:pt x="4" y="0"/>
                  </a:lnTo>
                  <a:lnTo>
                    <a:pt x="3" y="6"/>
                  </a:lnTo>
                  <a:lnTo>
                    <a:pt x="0"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4" name="Freeform 716"/>
            <p:cNvSpPr/>
            <p:nvPr/>
          </p:nvSpPr>
          <p:spPr bwMode="auto">
            <a:xfrm>
              <a:off x="2594187" y="2197234"/>
              <a:ext cx="49148" cy="43007"/>
            </a:xfrm>
            <a:custGeom>
              <a:avLst/>
              <a:gdLst>
                <a:gd name="T0" fmla="*/ 15 w 15"/>
                <a:gd name="T1" fmla="*/ 0 h 14"/>
                <a:gd name="T2" fmla="*/ 15 w 15"/>
                <a:gd name="T3" fmla="*/ 0 h 14"/>
                <a:gd name="T4" fmla="*/ 11 w 15"/>
                <a:gd name="T5" fmla="*/ 4 h 14"/>
                <a:gd name="T6" fmla="*/ 11 w 15"/>
                <a:gd name="T7" fmla="*/ 6 h 14"/>
                <a:gd name="T8" fmla="*/ 13 w 15"/>
                <a:gd name="T9" fmla="*/ 6 h 14"/>
                <a:gd name="T10" fmla="*/ 13 w 15"/>
                <a:gd name="T11" fmla="*/ 6 h 14"/>
                <a:gd name="T12" fmla="*/ 7 w 15"/>
                <a:gd name="T13" fmla="*/ 10 h 14"/>
                <a:gd name="T14" fmla="*/ 0 w 15"/>
                <a:gd name="T15" fmla="*/ 14 h 14"/>
                <a:gd name="T16" fmla="*/ 0 w 15"/>
                <a:gd name="T17" fmla="*/ 14 h 14"/>
                <a:gd name="T18" fmla="*/ 1 w 15"/>
                <a:gd name="T19" fmla="*/ 11 h 14"/>
                <a:gd name="T20" fmla="*/ 3 w 15"/>
                <a:gd name="T21" fmla="*/ 9 h 14"/>
                <a:gd name="T22" fmla="*/ 3 w 15"/>
                <a:gd name="T23" fmla="*/ 9 h 14"/>
                <a:gd name="T24" fmla="*/ 5 w 15"/>
                <a:gd name="T25" fmla="*/ 7 h 14"/>
                <a:gd name="T26" fmla="*/ 7 w 15"/>
                <a:gd name="T27" fmla="*/ 7 h 14"/>
                <a:gd name="T28" fmla="*/ 7 w 15"/>
                <a:gd name="T29" fmla="*/ 7 h 14"/>
                <a:gd name="T30" fmla="*/ 7 w 15"/>
                <a:gd name="T31" fmla="*/ 6 h 14"/>
                <a:gd name="T32" fmla="*/ 7 w 15"/>
                <a:gd name="T33" fmla="*/ 6 h 14"/>
                <a:gd name="T34" fmla="*/ 7 w 15"/>
                <a:gd name="T35" fmla="*/ 6 h 14"/>
                <a:gd name="T36" fmla="*/ 11 w 15"/>
                <a:gd name="T37" fmla="*/ 3 h 14"/>
                <a:gd name="T38" fmla="*/ 13 w 15"/>
                <a:gd name="T39" fmla="*/ 1 h 14"/>
                <a:gd name="T40" fmla="*/ 15 w 15"/>
                <a:gd name="T4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14">
                  <a:moveTo>
                    <a:pt x="15" y="0"/>
                  </a:moveTo>
                  <a:lnTo>
                    <a:pt x="15" y="0"/>
                  </a:lnTo>
                  <a:lnTo>
                    <a:pt x="11" y="4"/>
                  </a:lnTo>
                  <a:lnTo>
                    <a:pt x="11" y="6"/>
                  </a:lnTo>
                  <a:lnTo>
                    <a:pt x="13" y="6"/>
                  </a:lnTo>
                  <a:lnTo>
                    <a:pt x="13" y="6"/>
                  </a:lnTo>
                  <a:lnTo>
                    <a:pt x="7" y="10"/>
                  </a:lnTo>
                  <a:lnTo>
                    <a:pt x="0" y="14"/>
                  </a:lnTo>
                  <a:lnTo>
                    <a:pt x="0" y="14"/>
                  </a:lnTo>
                  <a:lnTo>
                    <a:pt x="1" y="11"/>
                  </a:lnTo>
                  <a:lnTo>
                    <a:pt x="3" y="9"/>
                  </a:lnTo>
                  <a:lnTo>
                    <a:pt x="3" y="9"/>
                  </a:lnTo>
                  <a:lnTo>
                    <a:pt x="5" y="7"/>
                  </a:lnTo>
                  <a:lnTo>
                    <a:pt x="7" y="7"/>
                  </a:lnTo>
                  <a:lnTo>
                    <a:pt x="7" y="7"/>
                  </a:lnTo>
                  <a:lnTo>
                    <a:pt x="7" y="6"/>
                  </a:lnTo>
                  <a:lnTo>
                    <a:pt x="7" y="6"/>
                  </a:lnTo>
                  <a:lnTo>
                    <a:pt x="7" y="6"/>
                  </a:lnTo>
                  <a:lnTo>
                    <a:pt x="11" y="3"/>
                  </a:lnTo>
                  <a:lnTo>
                    <a:pt x="13" y="1"/>
                  </a:lnTo>
                  <a:lnTo>
                    <a:pt x="1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5" name="Freeform 717"/>
            <p:cNvSpPr/>
            <p:nvPr/>
          </p:nvSpPr>
          <p:spPr bwMode="auto">
            <a:xfrm>
              <a:off x="2600329" y="4974109"/>
              <a:ext cx="18433" cy="12287"/>
            </a:xfrm>
            <a:custGeom>
              <a:avLst/>
              <a:gdLst>
                <a:gd name="T0" fmla="*/ 7 w 7"/>
                <a:gd name="T1" fmla="*/ 3 h 3"/>
                <a:gd name="T2" fmla="*/ 7 w 7"/>
                <a:gd name="T3" fmla="*/ 3 h 3"/>
                <a:gd name="T4" fmla="*/ 3 w 7"/>
                <a:gd name="T5" fmla="*/ 3 h 3"/>
                <a:gd name="T6" fmla="*/ 0 w 7"/>
                <a:gd name="T7" fmla="*/ 0 h 3"/>
                <a:gd name="T8" fmla="*/ 0 w 7"/>
                <a:gd name="T9" fmla="*/ 0 h 3"/>
                <a:gd name="T10" fmla="*/ 3 w 7"/>
                <a:gd name="T11" fmla="*/ 0 h 3"/>
                <a:gd name="T12" fmla="*/ 7 w 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7" y="3"/>
                  </a:moveTo>
                  <a:lnTo>
                    <a:pt x="7" y="3"/>
                  </a:lnTo>
                  <a:lnTo>
                    <a:pt x="3" y="3"/>
                  </a:lnTo>
                  <a:lnTo>
                    <a:pt x="0" y="0"/>
                  </a:lnTo>
                  <a:lnTo>
                    <a:pt x="0" y="0"/>
                  </a:lnTo>
                  <a:lnTo>
                    <a:pt x="3" y="0"/>
                  </a:lnTo>
                  <a:lnTo>
                    <a:pt x="7"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7" name="Freeform 719"/>
            <p:cNvSpPr/>
            <p:nvPr/>
          </p:nvSpPr>
          <p:spPr bwMode="auto">
            <a:xfrm>
              <a:off x="4658411" y="4931106"/>
              <a:ext cx="30720" cy="18433"/>
            </a:xfrm>
            <a:custGeom>
              <a:avLst/>
              <a:gdLst>
                <a:gd name="T0" fmla="*/ 0 w 10"/>
                <a:gd name="T1" fmla="*/ 7 h 7"/>
                <a:gd name="T2" fmla="*/ 0 w 10"/>
                <a:gd name="T3" fmla="*/ 7 h 7"/>
                <a:gd name="T4" fmla="*/ 5 w 10"/>
                <a:gd name="T5" fmla="*/ 3 h 7"/>
                <a:gd name="T6" fmla="*/ 10 w 10"/>
                <a:gd name="T7" fmla="*/ 0 h 7"/>
                <a:gd name="T8" fmla="*/ 10 w 10"/>
                <a:gd name="T9" fmla="*/ 0 h 7"/>
                <a:gd name="T10" fmla="*/ 5 w 10"/>
                <a:gd name="T11" fmla="*/ 4 h 7"/>
                <a:gd name="T12" fmla="*/ 0 w 1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0" h="7">
                  <a:moveTo>
                    <a:pt x="0" y="7"/>
                  </a:moveTo>
                  <a:lnTo>
                    <a:pt x="0" y="7"/>
                  </a:lnTo>
                  <a:lnTo>
                    <a:pt x="5" y="3"/>
                  </a:lnTo>
                  <a:lnTo>
                    <a:pt x="10" y="0"/>
                  </a:lnTo>
                  <a:lnTo>
                    <a:pt x="10" y="0"/>
                  </a:lnTo>
                  <a:lnTo>
                    <a:pt x="5" y="4"/>
                  </a:lnTo>
                  <a:lnTo>
                    <a:pt x="0"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8" name="Freeform 720"/>
            <p:cNvSpPr/>
            <p:nvPr/>
          </p:nvSpPr>
          <p:spPr bwMode="auto">
            <a:xfrm>
              <a:off x="5297338" y="4040293"/>
              <a:ext cx="12287" cy="30720"/>
            </a:xfrm>
            <a:custGeom>
              <a:avLst/>
              <a:gdLst>
                <a:gd name="T0" fmla="*/ 0 w 4"/>
                <a:gd name="T1" fmla="*/ 7 h 8"/>
                <a:gd name="T2" fmla="*/ 0 w 4"/>
                <a:gd name="T3" fmla="*/ 7 h 8"/>
                <a:gd name="T4" fmla="*/ 3 w 4"/>
                <a:gd name="T5" fmla="*/ 3 h 8"/>
                <a:gd name="T6" fmla="*/ 4 w 4"/>
                <a:gd name="T7" fmla="*/ 0 h 8"/>
                <a:gd name="T8" fmla="*/ 4 w 4"/>
                <a:gd name="T9" fmla="*/ 1 h 8"/>
                <a:gd name="T10" fmla="*/ 4 w 4"/>
                <a:gd name="T11" fmla="*/ 1 h 8"/>
                <a:gd name="T12" fmla="*/ 1 w 4"/>
                <a:gd name="T13" fmla="*/ 7 h 8"/>
                <a:gd name="T14" fmla="*/ 1 w 4"/>
                <a:gd name="T15" fmla="*/ 8 h 8"/>
                <a:gd name="T16" fmla="*/ 0 w 4"/>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0" y="7"/>
                  </a:moveTo>
                  <a:lnTo>
                    <a:pt x="0" y="7"/>
                  </a:lnTo>
                  <a:lnTo>
                    <a:pt x="3" y="3"/>
                  </a:lnTo>
                  <a:lnTo>
                    <a:pt x="4" y="0"/>
                  </a:lnTo>
                  <a:lnTo>
                    <a:pt x="4" y="1"/>
                  </a:lnTo>
                  <a:lnTo>
                    <a:pt x="4" y="1"/>
                  </a:lnTo>
                  <a:lnTo>
                    <a:pt x="1" y="7"/>
                  </a:lnTo>
                  <a:lnTo>
                    <a:pt x="1" y="8"/>
                  </a:lnTo>
                  <a:lnTo>
                    <a:pt x="0"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9" name="Freeform 721"/>
            <p:cNvSpPr/>
            <p:nvPr/>
          </p:nvSpPr>
          <p:spPr bwMode="auto">
            <a:xfrm>
              <a:off x="5395633" y="3241633"/>
              <a:ext cx="6145" cy="24574"/>
            </a:xfrm>
            <a:custGeom>
              <a:avLst/>
              <a:gdLst>
                <a:gd name="T0" fmla="*/ 0 w 1"/>
                <a:gd name="T1" fmla="*/ 0 h 8"/>
                <a:gd name="T2" fmla="*/ 0 w 1"/>
                <a:gd name="T3" fmla="*/ 0 h 8"/>
                <a:gd name="T4" fmla="*/ 1 w 1"/>
                <a:gd name="T5" fmla="*/ 4 h 8"/>
                <a:gd name="T6" fmla="*/ 0 w 1"/>
                <a:gd name="T7" fmla="*/ 8 h 8"/>
                <a:gd name="T8" fmla="*/ 0 w 1"/>
                <a:gd name="T9" fmla="*/ 8 h 8"/>
                <a:gd name="T10" fmla="*/ 0 w 1"/>
                <a:gd name="T11" fmla="*/ 3 h 8"/>
                <a:gd name="T12" fmla="*/ 0 w 1"/>
                <a:gd name="T13" fmla="*/ 0 h 8"/>
                <a:gd name="T14" fmla="*/ 0 w 1"/>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8">
                  <a:moveTo>
                    <a:pt x="0" y="0"/>
                  </a:moveTo>
                  <a:lnTo>
                    <a:pt x="0" y="0"/>
                  </a:lnTo>
                  <a:lnTo>
                    <a:pt x="1" y="4"/>
                  </a:lnTo>
                  <a:lnTo>
                    <a:pt x="0" y="8"/>
                  </a:lnTo>
                  <a:lnTo>
                    <a:pt x="0" y="8"/>
                  </a:lnTo>
                  <a:lnTo>
                    <a:pt x="0" y="3"/>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0" name="Freeform 722"/>
            <p:cNvSpPr/>
            <p:nvPr/>
          </p:nvSpPr>
          <p:spPr bwMode="auto">
            <a:xfrm>
              <a:off x="1734094" y="2725578"/>
              <a:ext cx="24574" cy="43007"/>
            </a:xfrm>
            <a:custGeom>
              <a:avLst/>
              <a:gdLst>
                <a:gd name="T0" fmla="*/ 7 w 7"/>
                <a:gd name="T1" fmla="*/ 0 h 14"/>
                <a:gd name="T2" fmla="*/ 7 w 7"/>
                <a:gd name="T3" fmla="*/ 0 h 14"/>
                <a:gd name="T4" fmla="*/ 4 w 7"/>
                <a:gd name="T5" fmla="*/ 7 h 14"/>
                <a:gd name="T6" fmla="*/ 0 w 7"/>
                <a:gd name="T7" fmla="*/ 14 h 14"/>
                <a:gd name="T8" fmla="*/ 0 w 7"/>
                <a:gd name="T9" fmla="*/ 14 h 14"/>
                <a:gd name="T10" fmla="*/ 4 w 7"/>
                <a:gd name="T11" fmla="*/ 5 h 14"/>
                <a:gd name="T12" fmla="*/ 6 w 7"/>
                <a:gd name="T13" fmla="*/ 1 h 14"/>
                <a:gd name="T14" fmla="*/ 7 w 7"/>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4">
                  <a:moveTo>
                    <a:pt x="7" y="0"/>
                  </a:moveTo>
                  <a:lnTo>
                    <a:pt x="7" y="0"/>
                  </a:lnTo>
                  <a:lnTo>
                    <a:pt x="4" y="7"/>
                  </a:lnTo>
                  <a:lnTo>
                    <a:pt x="0" y="14"/>
                  </a:lnTo>
                  <a:lnTo>
                    <a:pt x="0" y="14"/>
                  </a:lnTo>
                  <a:lnTo>
                    <a:pt x="4" y="5"/>
                  </a:lnTo>
                  <a:lnTo>
                    <a:pt x="6" y="1"/>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1" name="Freeform 723"/>
            <p:cNvSpPr/>
            <p:nvPr/>
          </p:nvSpPr>
          <p:spPr bwMode="auto">
            <a:xfrm>
              <a:off x="1918399" y="2498269"/>
              <a:ext cx="30720" cy="43007"/>
            </a:xfrm>
            <a:custGeom>
              <a:avLst/>
              <a:gdLst>
                <a:gd name="T0" fmla="*/ 10 w 10"/>
                <a:gd name="T1" fmla="*/ 0 h 14"/>
                <a:gd name="T2" fmla="*/ 10 w 10"/>
                <a:gd name="T3" fmla="*/ 0 h 14"/>
                <a:gd name="T4" fmla="*/ 9 w 10"/>
                <a:gd name="T5" fmla="*/ 3 h 14"/>
                <a:gd name="T6" fmla="*/ 4 w 10"/>
                <a:gd name="T7" fmla="*/ 9 h 14"/>
                <a:gd name="T8" fmla="*/ 1 w 10"/>
                <a:gd name="T9" fmla="*/ 14 h 14"/>
                <a:gd name="T10" fmla="*/ 0 w 10"/>
                <a:gd name="T11" fmla="*/ 14 h 14"/>
                <a:gd name="T12" fmla="*/ 0 w 10"/>
                <a:gd name="T13" fmla="*/ 14 h 14"/>
                <a:gd name="T14" fmla="*/ 0 w 10"/>
                <a:gd name="T15" fmla="*/ 14 h 14"/>
                <a:gd name="T16" fmla="*/ 3 w 10"/>
                <a:gd name="T17" fmla="*/ 10 h 14"/>
                <a:gd name="T18" fmla="*/ 4 w 10"/>
                <a:gd name="T19" fmla="*/ 7 h 14"/>
                <a:gd name="T20" fmla="*/ 7 w 10"/>
                <a:gd name="T21" fmla="*/ 3 h 14"/>
                <a:gd name="T22" fmla="*/ 10 w 10"/>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4">
                  <a:moveTo>
                    <a:pt x="10" y="0"/>
                  </a:moveTo>
                  <a:lnTo>
                    <a:pt x="10" y="0"/>
                  </a:lnTo>
                  <a:lnTo>
                    <a:pt x="9" y="3"/>
                  </a:lnTo>
                  <a:lnTo>
                    <a:pt x="4" y="9"/>
                  </a:lnTo>
                  <a:lnTo>
                    <a:pt x="1" y="14"/>
                  </a:lnTo>
                  <a:lnTo>
                    <a:pt x="0" y="14"/>
                  </a:lnTo>
                  <a:lnTo>
                    <a:pt x="0" y="14"/>
                  </a:lnTo>
                  <a:lnTo>
                    <a:pt x="0" y="14"/>
                  </a:lnTo>
                  <a:lnTo>
                    <a:pt x="3" y="10"/>
                  </a:lnTo>
                  <a:lnTo>
                    <a:pt x="4" y="7"/>
                  </a:lnTo>
                  <a:lnTo>
                    <a:pt x="7" y="3"/>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2" name="Freeform 724"/>
            <p:cNvSpPr/>
            <p:nvPr/>
          </p:nvSpPr>
          <p:spPr bwMode="auto">
            <a:xfrm>
              <a:off x="1660371" y="3659393"/>
              <a:ext cx="6145" cy="30720"/>
            </a:xfrm>
            <a:custGeom>
              <a:avLst/>
              <a:gdLst>
                <a:gd name="T0" fmla="*/ 1 w 1"/>
                <a:gd name="T1" fmla="*/ 10 h 10"/>
                <a:gd name="T2" fmla="*/ 1 w 1"/>
                <a:gd name="T3" fmla="*/ 10 h 10"/>
                <a:gd name="T4" fmla="*/ 1 w 1"/>
                <a:gd name="T5" fmla="*/ 9 h 10"/>
                <a:gd name="T6" fmla="*/ 0 w 1"/>
                <a:gd name="T7" fmla="*/ 7 h 10"/>
                <a:gd name="T8" fmla="*/ 0 w 1"/>
                <a:gd name="T9" fmla="*/ 7 h 10"/>
                <a:gd name="T10" fmla="*/ 0 w 1"/>
                <a:gd name="T11" fmla="*/ 0 h 10"/>
                <a:gd name="T12" fmla="*/ 0 w 1"/>
                <a:gd name="T13" fmla="*/ 0 h 10"/>
                <a:gd name="T14" fmla="*/ 1 w 1"/>
                <a:gd name="T15" fmla="*/ 6 h 10"/>
                <a:gd name="T16" fmla="*/ 1 w 1"/>
                <a:gd name="T17" fmla="*/ 6 h 10"/>
                <a:gd name="T18" fmla="*/ 1 w 1"/>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1" y="10"/>
                  </a:moveTo>
                  <a:lnTo>
                    <a:pt x="1" y="10"/>
                  </a:lnTo>
                  <a:lnTo>
                    <a:pt x="1" y="9"/>
                  </a:lnTo>
                  <a:lnTo>
                    <a:pt x="0" y="7"/>
                  </a:lnTo>
                  <a:lnTo>
                    <a:pt x="0" y="7"/>
                  </a:lnTo>
                  <a:lnTo>
                    <a:pt x="0" y="0"/>
                  </a:lnTo>
                  <a:lnTo>
                    <a:pt x="0" y="0"/>
                  </a:lnTo>
                  <a:lnTo>
                    <a:pt x="1" y="6"/>
                  </a:lnTo>
                  <a:lnTo>
                    <a:pt x="1" y="6"/>
                  </a:lnTo>
                  <a:lnTo>
                    <a:pt x="1"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3" name="Freeform 725"/>
            <p:cNvSpPr/>
            <p:nvPr/>
          </p:nvSpPr>
          <p:spPr bwMode="auto">
            <a:xfrm>
              <a:off x="2231716" y="2283243"/>
              <a:ext cx="43007" cy="55293"/>
            </a:xfrm>
            <a:custGeom>
              <a:avLst/>
              <a:gdLst>
                <a:gd name="T0" fmla="*/ 14 w 14"/>
                <a:gd name="T1" fmla="*/ 0 h 17"/>
                <a:gd name="T2" fmla="*/ 14 w 14"/>
                <a:gd name="T3" fmla="*/ 0 h 17"/>
                <a:gd name="T4" fmla="*/ 0 w 14"/>
                <a:gd name="T5" fmla="*/ 17 h 17"/>
                <a:gd name="T6" fmla="*/ 0 w 14"/>
                <a:gd name="T7" fmla="*/ 17 h 17"/>
                <a:gd name="T8" fmla="*/ 7 w 14"/>
                <a:gd name="T9" fmla="*/ 7 h 17"/>
                <a:gd name="T10" fmla="*/ 14 w 14"/>
                <a:gd name="T11" fmla="*/ 0 h 17"/>
              </a:gdLst>
              <a:ahLst/>
              <a:cxnLst>
                <a:cxn ang="0">
                  <a:pos x="T0" y="T1"/>
                </a:cxn>
                <a:cxn ang="0">
                  <a:pos x="T2" y="T3"/>
                </a:cxn>
                <a:cxn ang="0">
                  <a:pos x="T4" y="T5"/>
                </a:cxn>
                <a:cxn ang="0">
                  <a:pos x="T6" y="T7"/>
                </a:cxn>
                <a:cxn ang="0">
                  <a:pos x="T8" y="T9"/>
                </a:cxn>
                <a:cxn ang="0">
                  <a:pos x="T10" y="T11"/>
                </a:cxn>
              </a:cxnLst>
              <a:rect l="0" t="0" r="r" b="b"/>
              <a:pathLst>
                <a:path w="14" h="17">
                  <a:moveTo>
                    <a:pt x="14" y="0"/>
                  </a:moveTo>
                  <a:lnTo>
                    <a:pt x="14" y="0"/>
                  </a:lnTo>
                  <a:lnTo>
                    <a:pt x="0" y="17"/>
                  </a:lnTo>
                  <a:lnTo>
                    <a:pt x="0" y="17"/>
                  </a:lnTo>
                  <a:lnTo>
                    <a:pt x="7" y="7"/>
                  </a:lnTo>
                  <a:lnTo>
                    <a:pt x="1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4" name="Freeform 726"/>
            <p:cNvSpPr/>
            <p:nvPr/>
          </p:nvSpPr>
          <p:spPr bwMode="auto">
            <a:xfrm>
              <a:off x="1924541" y="2811586"/>
              <a:ext cx="18433" cy="30720"/>
            </a:xfrm>
            <a:custGeom>
              <a:avLst/>
              <a:gdLst>
                <a:gd name="T0" fmla="*/ 6 w 6"/>
                <a:gd name="T1" fmla="*/ 0 h 10"/>
                <a:gd name="T2" fmla="*/ 6 w 6"/>
                <a:gd name="T3" fmla="*/ 0 h 10"/>
                <a:gd name="T4" fmla="*/ 3 w 6"/>
                <a:gd name="T5" fmla="*/ 7 h 10"/>
                <a:gd name="T6" fmla="*/ 3 w 6"/>
                <a:gd name="T7" fmla="*/ 7 h 10"/>
                <a:gd name="T8" fmla="*/ 2 w 6"/>
                <a:gd name="T9" fmla="*/ 10 h 10"/>
                <a:gd name="T10" fmla="*/ 0 w 6"/>
                <a:gd name="T11" fmla="*/ 10 h 10"/>
                <a:gd name="T12" fmla="*/ 0 w 6"/>
                <a:gd name="T13" fmla="*/ 10 h 10"/>
                <a:gd name="T14" fmla="*/ 2 w 6"/>
                <a:gd name="T15" fmla="*/ 7 h 10"/>
                <a:gd name="T16" fmla="*/ 2 w 6"/>
                <a:gd name="T17" fmla="*/ 7 h 10"/>
                <a:gd name="T18" fmla="*/ 3 w 6"/>
                <a:gd name="T19" fmla="*/ 4 h 10"/>
                <a:gd name="T20" fmla="*/ 3 w 6"/>
                <a:gd name="T21" fmla="*/ 4 h 10"/>
                <a:gd name="T22" fmla="*/ 5 w 6"/>
                <a:gd name="T23" fmla="*/ 1 h 10"/>
                <a:gd name="T24" fmla="*/ 6 w 6"/>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10">
                  <a:moveTo>
                    <a:pt x="6" y="0"/>
                  </a:moveTo>
                  <a:lnTo>
                    <a:pt x="6" y="0"/>
                  </a:lnTo>
                  <a:lnTo>
                    <a:pt x="3" y="7"/>
                  </a:lnTo>
                  <a:lnTo>
                    <a:pt x="3" y="7"/>
                  </a:lnTo>
                  <a:lnTo>
                    <a:pt x="2" y="10"/>
                  </a:lnTo>
                  <a:lnTo>
                    <a:pt x="0" y="10"/>
                  </a:lnTo>
                  <a:lnTo>
                    <a:pt x="0" y="10"/>
                  </a:lnTo>
                  <a:lnTo>
                    <a:pt x="2" y="7"/>
                  </a:lnTo>
                  <a:lnTo>
                    <a:pt x="2" y="7"/>
                  </a:lnTo>
                  <a:lnTo>
                    <a:pt x="3" y="4"/>
                  </a:lnTo>
                  <a:lnTo>
                    <a:pt x="3" y="4"/>
                  </a:lnTo>
                  <a:lnTo>
                    <a:pt x="5" y="1"/>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5" name="Freeform 727"/>
            <p:cNvSpPr/>
            <p:nvPr/>
          </p:nvSpPr>
          <p:spPr bwMode="auto">
            <a:xfrm>
              <a:off x="1832390" y="3118763"/>
              <a:ext cx="6145" cy="18433"/>
            </a:xfrm>
            <a:custGeom>
              <a:avLst/>
              <a:gdLst>
                <a:gd name="T0" fmla="*/ 1 w 1"/>
                <a:gd name="T1" fmla="*/ 0 h 7"/>
                <a:gd name="T2" fmla="*/ 1 w 1"/>
                <a:gd name="T3" fmla="*/ 0 h 7"/>
                <a:gd name="T4" fmla="*/ 1 w 1"/>
                <a:gd name="T5" fmla="*/ 3 h 7"/>
                <a:gd name="T6" fmla="*/ 1 w 1"/>
                <a:gd name="T7" fmla="*/ 5 h 7"/>
                <a:gd name="T8" fmla="*/ 0 w 1"/>
                <a:gd name="T9" fmla="*/ 7 h 7"/>
                <a:gd name="T10" fmla="*/ 0 w 1"/>
                <a:gd name="T11" fmla="*/ 7 h 7"/>
                <a:gd name="T12" fmla="*/ 0 w 1"/>
                <a:gd name="T13" fmla="*/ 7 h 7"/>
                <a:gd name="T14" fmla="*/ 0 w 1"/>
                <a:gd name="T15" fmla="*/ 4 h 7"/>
                <a:gd name="T16" fmla="*/ 1 w 1"/>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7">
                  <a:moveTo>
                    <a:pt x="1" y="0"/>
                  </a:moveTo>
                  <a:lnTo>
                    <a:pt x="1" y="0"/>
                  </a:lnTo>
                  <a:lnTo>
                    <a:pt x="1" y="3"/>
                  </a:lnTo>
                  <a:lnTo>
                    <a:pt x="1" y="5"/>
                  </a:lnTo>
                  <a:lnTo>
                    <a:pt x="0" y="7"/>
                  </a:lnTo>
                  <a:lnTo>
                    <a:pt x="0" y="7"/>
                  </a:lnTo>
                  <a:lnTo>
                    <a:pt x="0" y="7"/>
                  </a:lnTo>
                  <a:lnTo>
                    <a:pt x="0" y="4"/>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6" name="Freeform 728"/>
            <p:cNvSpPr/>
            <p:nvPr/>
          </p:nvSpPr>
          <p:spPr bwMode="auto">
            <a:xfrm>
              <a:off x="1930686" y="3917421"/>
              <a:ext cx="12287" cy="30720"/>
            </a:xfrm>
            <a:custGeom>
              <a:avLst/>
              <a:gdLst>
                <a:gd name="T0" fmla="*/ 0 w 5"/>
                <a:gd name="T1" fmla="*/ 0 h 12"/>
                <a:gd name="T2" fmla="*/ 0 w 5"/>
                <a:gd name="T3" fmla="*/ 0 h 12"/>
                <a:gd name="T4" fmla="*/ 2 w 5"/>
                <a:gd name="T5" fmla="*/ 2 h 12"/>
                <a:gd name="T6" fmla="*/ 3 w 5"/>
                <a:gd name="T7" fmla="*/ 3 h 12"/>
                <a:gd name="T8" fmla="*/ 3 w 5"/>
                <a:gd name="T9" fmla="*/ 3 h 12"/>
                <a:gd name="T10" fmla="*/ 2 w 5"/>
                <a:gd name="T11" fmla="*/ 5 h 12"/>
                <a:gd name="T12" fmla="*/ 3 w 5"/>
                <a:gd name="T13" fmla="*/ 8 h 12"/>
                <a:gd name="T14" fmla="*/ 5 w 5"/>
                <a:gd name="T15" fmla="*/ 10 h 12"/>
                <a:gd name="T16" fmla="*/ 5 w 5"/>
                <a:gd name="T17" fmla="*/ 12 h 12"/>
                <a:gd name="T18" fmla="*/ 5 w 5"/>
                <a:gd name="T19" fmla="*/ 12 h 12"/>
                <a:gd name="T20" fmla="*/ 2 w 5"/>
                <a:gd name="T21" fmla="*/ 9 h 12"/>
                <a:gd name="T22" fmla="*/ 0 w 5"/>
                <a:gd name="T23" fmla="*/ 5 h 12"/>
                <a:gd name="T24" fmla="*/ 0 w 5"/>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12">
                  <a:moveTo>
                    <a:pt x="0" y="0"/>
                  </a:moveTo>
                  <a:lnTo>
                    <a:pt x="0" y="0"/>
                  </a:lnTo>
                  <a:lnTo>
                    <a:pt x="2" y="2"/>
                  </a:lnTo>
                  <a:lnTo>
                    <a:pt x="3" y="3"/>
                  </a:lnTo>
                  <a:lnTo>
                    <a:pt x="3" y="3"/>
                  </a:lnTo>
                  <a:lnTo>
                    <a:pt x="2" y="5"/>
                  </a:lnTo>
                  <a:lnTo>
                    <a:pt x="3" y="8"/>
                  </a:lnTo>
                  <a:lnTo>
                    <a:pt x="5" y="10"/>
                  </a:lnTo>
                  <a:lnTo>
                    <a:pt x="5" y="12"/>
                  </a:lnTo>
                  <a:lnTo>
                    <a:pt x="5" y="12"/>
                  </a:lnTo>
                  <a:lnTo>
                    <a:pt x="2" y="9"/>
                  </a:lnTo>
                  <a:lnTo>
                    <a:pt x="0" y="5"/>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7" name="Freeform 729"/>
            <p:cNvSpPr/>
            <p:nvPr/>
          </p:nvSpPr>
          <p:spPr bwMode="auto">
            <a:xfrm>
              <a:off x="1893825" y="3475087"/>
              <a:ext cx="6145" cy="30720"/>
            </a:xfrm>
            <a:custGeom>
              <a:avLst/>
              <a:gdLst>
                <a:gd name="T0" fmla="*/ 1 w 1"/>
                <a:gd name="T1" fmla="*/ 0 h 8"/>
                <a:gd name="T2" fmla="*/ 1 w 1"/>
                <a:gd name="T3" fmla="*/ 0 h 8"/>
                <a:gd name="T4" fmla="*/ 1 w 1"/>
                <a:gd name="T5" fmla="*/ 4 h 8"/>
                <a:gd name="T6" fmla="*/ 1 w 1"/>
                <a:gd name="T7" fmla="*/ 8 h 8"/>
                <a:gd name="T8" fmla="*/ 1 w 1"/>
                <a:gd name="T9" fmla="*/ 8 h 8"/>
                <a:gd name="T10" fmla="*/ 0 w 1"/>
                <a:gd name="T11" fmla="*/ 3 h 8"/>
                <a:gd name="T12" fmla="*/ 0 w 1"/>
                <a:gd name="T13" fmla="*/ 3 h 8"/>
                <a:gd name="T14" fmla="*/ 1 w 1"/>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8">
                  <a:moveTo>
                    <a:pt x="1" y="0"/>
                  </a:moveTo>
                  <a:lnTo>
                    <a:pt x="1" y="0"/>
                  </a:lnTo>
                  <a:lnTo>
                    <a:pt x="1" y="4"/>
                  </a:lnTo>
                  <a:lnTo>
                    <a:pt x="1" y="8"/>
                  </a:lnTo>
                  <a:lnTo>
                    <a:pt x="1" y="8"/>
                  </a:lnTo>
                  <a:lnTo>
                    <a:pt x="0" y="3"/>
                  </a:lnTo>
                  <a:lnTo>
                    <a:pt x="0" y="3"/>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8" name="Freeform 730"/>
            <p:cNvSpPr/>
            <p:nvPr/>
          </p:nvSpPr>
          <p:spPr bwMode="auto">
            <a:xfrm>
              <a:off x="1973689" y="3063474"/>
              <a:ext cx="12287" cy="30720"/>
            </a:xfrm>
            <a:custGeom>
              <a:avLst/>
              <a:gdLst>
                <a:gd name="T0" fmla="*/ 2 w 2"/>
                <a:gd name="T1" fmla="*/ 0 h 10"/>
                <a:gd name="T2" fmla="*/ 2 w 2"/>
                <a:gd name="T3" fmla="*/ 0 h 10"/>
                <a:gd name="T4" fmla="*/ 2 w 2"/>
                <a:gd name="T5" fmla="*/ 4 h 10"/>
                <a:gd name="T6" fmla="*/ 0 w 2"/>
                <a:gd name="T7" fmla="*/ 10 h 10"/>
                <a:gd name="T8" fmla="*/ 0 w 2"/>
                <a:gd name="T9" fmla="*/ 10 h 10"/>
                <a:gd name="T10" fmla="*/ 1 w 2"/>
                <a:gd name="T11" fmla="*/ 4 h 10"/>
                <a:gd name="T12" fmla="*/ 2 w 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 h="10">
                  <a:moveTo>
                    <a:pt x="2" y="0"/>
                  </a:moveTo>
                  <a:lnTo>
                    <a:pt x="2" y="0"/>
                  </a:lnTo>
                  <a:lnTo>
                    <a:pt x="2" y="4"/>
                  </a:lnTo>
                  <a:lnTo>
                    <a:pt x="0" y="10"/>
                  </a:lnTo>
                  <a:lnTo>
                    <a:pt x="0" y="10"/>
                  </a:lnTo>
                  <a:lnTo>
                    <a:pt x="1" y="4"/>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9" name="Freeform 731"/>
            <p:cNvSpPr/>
            <p:nvPr/>
          </p:nvSpPr>
          <p:spPr bwMode="auto">
            <a:xfrm>
              <a:off x="1998263" y="2983606"/>
              <a:ext cx="12287" cy="30720"/>
            </a:xfrm>
            <a:custGeom>
              <a:avLst/>
              <a:gdLst>
                <a:gd name="T0" fmla="*/ 4 w 4"/>
                <a:gd name="T1" fmla="*/ 0 h 10"/>
                <a:gd name="T2" fmla="*/ 4 w 4"/>
                <a:gd name="T3" fmla="*/ 0 h 10"/>
                <a:gd name="T4" fmla="*/ 3 w 4"/>
                <a:gd name="T5" fmla="*/ 8 h 10"/>
                <a:gd name="T6" fmla="*/ 1 w 4"/>
                <a:gd name="T7" fmla="*/ 10 h 10"/>
                <a:gd name="T8" fmla="*/ 0 w 4"/>
                <a:gd name="T9" fmla="*/ 10 h 10"/>
                <a:gd name="T10" fmla="*/ 0 w 4"/>
                <a:gd name="T11" fmla="*/ 10 h 10"/>
                <a:gd name="T12" fmla="*/ 1 w 4"/>
                <a:gd name="T13" fmla="*/ 6 h 10"/>
                <a:gd name="T14" fmla="*/ 4 w 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4" y="0"/>
                  </a:moveTo>
                  <a:lnTo>
                    <a:pt x="4" y="0"/>
                  </a:lnTo>
                  <a:lnTo>
                    <a:pt x="3" y="8"/>
                  </a:lnTo>
                  <a:lnTo>
                    <a:pt x="1" y="10"/>
                  </a:lnTo>
                  <a:lnTo>
                    <a:pt x="0" y="10"/>
                  </a:lnTo>
                  <a:lnTo>
                    <a:pt x="0" y="10"/>
                  </a:lnTo>
                  <a:lnTo>
                    <a:pt x="1" y="6"/>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0" name="Freeform 732"/>
            <p:cNvSpPr/>
            <p:nvPr/>
          </p:nvSpPr>
          <p:spPr bwMode="auto">
            <a:xfrm>
              <a:off x="1727948" y="3524235"/>
              <a:ext cx="6145" cy="61435"/>
            </a:xfrm>
            <a:custGeom>
              <a:avLst/>
              <a:gdLst>
                <a:gd name="T0" fmla="*/ 0 w 1"/>
                <a:gd name="T1" fmla="*/ 21 h 21"/>
                <a:gd name="T2" fmla="*/ 0 w 1"/>
                <a:gd name="T3" fmla="*/ 21 h 21"/>
                <a:gd name="T4" fmla="*/ 0 w 1"/>
                <a:gd name="T5" fmla="*/ 10 h 21"/>
                <a:gd name="T6" fmla="*/ 0 w 1"/>
                <a:gd name="T7" fmla="*/ 10 h 21"/>
                <a:gd name="T8" fmla="*/ 0 w 1"/>
                <a:gd name="T9" fmla="*/ 0 h 21"/>
                <a:gd name="T10" fmla="*/ 0 w 1"/>
                <a:gd name="T11" fmla="*/ 0 h 21"/>
                <a:gd name="T12" fmla="*/ 1 w 1"/>
                <a:gd name="T13" fmla="*/ 11 h 21"/>
                <a:gd name="T14" fmla="*/ 1 w 1"/>
                <a:gd name="T15" fmla="*/ 11 h 21"/>
                <a:gd name="T16" fmla="*/ 0 w 1"/>
                <a:gd name="T17" fmla="*/ 19 h 21"/>
                <a:gd name="T18" fmla="*/ 0 w 1"/>
                <a:gd name="T19" fmla="*/ 19 h 21"/>
                <a:gd name="T20" fmla="*/ 0 w 1"/>
                <a:gd name="T2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21">
                  <a:moveTo>
                    <a:pt x="0" y="21"/>
                  </a:moveTo>
                  <a:lnTo>
                    <a:pt x="0" y="21"/>
                  </a:lnTo>
                  <a:lnTo>
                    <a:pt x="0" y="10"/>
                  </a:lnTo>
                  <a:lnTo>
                    <a:pt x="0" y="10"/>
                  </a:lnTo>
                  <a:lnTo>
                    <a:pt x="0" y="0"/>
                  </a:lnTo>
                  <a:lnTo>
                    <a:pt x="0" y="0"/>
                  </a:lnTo>
                  <a:lnTo>
                    <a:pt x="1" y="11"/>
                  </a:lnTo>
                  <a:lnTo>
                    <a:pt x="1" y="11"/>
                  </a:lnTo>
                  <a:lnTo>
                    <a:pt x="0" y="19"/>
                  </a:lnTo>
                  <a:lnTo>
                    <a:pt x="0" y="19"/>
                  </a:lnTo>
                  <a:lnTo>
                    <a:pt x="0" y="2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1" name="Freeform 733"/>
            <p:cNvSpPr/>
            <p:nvPr/>
          </p:nvSpPr>
          <p:spPr bwMode="auto">
            <a:xfrm>
              <a:off x="2157994" y="2768584"/>
              <a:ext cx="12287" cy="30720"/>
            </a:xfrm>
            <a:custGeom>
              <a:avLst/>
              <a:gdLst>
                <a:gd name="T0" fmla="*/ 4 w 4"/>
                <a:gd name="T1" fmla="*/ 0 h 10"/>
                <a:gd name="T2" fmla="*/ 4 w 4"/>
                <a:gd name="T3" fmla="*/ 0 h 10"/>
                <a:gd name="T4" fmla="*/ 4 w 4"/>
                <a:gd name="T5" fmla="*/ 3 h 10"/>
                <a:gd name="T6" fmla="*/ 4 w 4"/>
                <a:gd name="T7" fmla="*/ 6 h 10"/>
                <a:gd name="T8" fmla="*/ 0 w 4"/>
                <a:gd name="T9" fmla="*/ 10 h 10"/>
                <a:gd name="T10" fmla="*/ 0 w 4"/>
                <a:gd name="T11" fmla="*/ 10 h 10"/>
                <a:gd name="T12" fmla="*/ 1 w 4"/>
                <a:gd name="T13" fmla="*/ 4 h 10"/>
                <a:gd name="T14" fmla="*/ 4 w 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4" y="0"/>
                  </a:moveTo>
                  <a:lnTo>
                    <a:pt x="4" y="0"/>
                  </a:lnTo>
                  <a:lnTo>
                    <a:pt x="4" y="3"/>
                  </a:lnTo>
                  <a:lnTo>
                    <a:pt x="4" y="6"/>
                  </a:lnTo>
                  <a:lnTo>
                    <a:pt x="0" y="10"/>
                  </a:lnTo>
                  <a:lnTo>
                    <a:pt x="0" y="10"/>
                  </a:lnTo>
                  <a:lnTo>
                    <a:pt x="1" y="4"/>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2" name="Freeform 734"/>
            <p:cNvSpPr/>
            <p:nvPr/>
          </p:nvSpPr>
          <p:spPr bwMode="auto">
            <a:xfrm>
              <a:off x="1906112" y="3094190"/>
              <a:ext cx="6145" cy="30720"/>
            </a:xfrm>
            <a:custGeom>
              <a:avLst/>
              <a:gdLst>
                <a:gd name="T0" fmla="*/ 1 w 1"/>
                <a:gd name="T1" fmla="*/ 0 h 10"/>
                <a:gd name="T2" fmla="*/ 1 w 1"/>
                <a:gd name="T3" fmla="*/ 0 h 10"/>
                <a:gd name="T4" fmla="*/ 1 w 1"/>
                <a:gd name="T5" fmla="*/ 4 h 10"/>
                <a:gd name="T6" fmla="*/ 0 w 1"/>
                <a:gd name="T7" fmla="*/ 10 h 10"/>
                <a:gd name="T8" fmla="*/ 0 w 1"/>
                <a:gd name="T9" fmla="*/ 10 h 10"/>
                <a:gd name="T10" fmla="*/ 0 w 1"/>
                <a:gd name="T11" fmla="*/ 2 h 10"/>
                <a:gd name="T12" fmla="*/ 0 w 1"/>
                <a:gd name="T13" fmla="*/ 0 h 10"/>
                <a:gd name="T14" fmla="*/ 1 w 1"/>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0"/>
                  </a:moveTo>
                  <a:lnTo>
                    <a:pt x="1" y="0"/>
                  </a:lnTo>
                  <a:lnTo>
                    <a:pt x="1" y="4"/>
                  </a:lnTo>
                  <a:lnTo>
                    <a:pt x="0" y="10"/>
                  </a:lnTo>
                  <a:lnTo>
                    <a:pt x="0" y="10"/>
                  </a:lnTo>
                  <a:lnTo>
                    <a:pt x="0" y="2"/>
                  </a:lnTo>
                  <a:lnTo>
                    <a:pt x="0"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3" name="Freeform 735"/>
            <p:cNvSpPr/>
            <p:nvPr/>
          </p:nvSpPr>
          <p:spPr bwMode="auto">
            <a:xfrm>
              <a:off x="1709520" y="3585672"/>
              <a:ext cx="0" cy="24574"/>
            </a:xfrm>
            <a:custGeom>
              <a:avLst/>
              <a:gdLst>
                <a:gd name="T0" fmla="*/ 1 w 1"/>
                <a:gd name="T1" fmla="*/ 1 h 9"/>
                <a:gd name="T2" fmla="*/ 1 w 1"/>
                <a:gd name="T3" fmla="*/ 1 h 9"/>
                <a:gd name="T4" fmla="*/ 1 w 1"/>
                <a:gd name="T5" fmla="*/ 6 h 9"/>
                <a:gd name="T6" fmla="*/ 1 w 1"/>
                <a:gd name="T7" fmla="*/ 9 h 9"/>
                <a:gd name="T8" fmla="*/ 1 w 1"/>
                <a:gd name="T9" fmla="*/ 9 h 9"/>
                <a:gd name="T10" fmla="*/ 1 w 1"/>
                <a:gd name="T11" fmla="*/ 9 h 9"/>
                <a:gd name="T12" fmla="*/ 0 w 1"/>
                <a:gd name="T13" fmla="*/ 3 h 9"/>
                <a:gd name="T14" fmla="*/ 0 w 1"/>
                <a:gd name="T15" fmla="*/ 0 h 9"/>
                <a:gd name="T16" fmla="*/ 1 w 1"/>
                <a:gd name="T1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9">
                  <a:moveTo>
                    <a:pt x="1" y="1"/>
                  </a:moveTo>
                  <a:lnTo>
                    <a:pt x="1" y="1"/>
                  </a:lnTo>
                  <a:lnTo>
                    <a:pt x="1" y="6"/>
                  </a:lnTo>
                  <a:lnTo>
                    <a:pt x="1" y="9"/>
                  </a:lnTo>
                  <a:lnTo>
                    <a:pt x="1" y="9"/>
                  </a:lnTo>
                  <a:lnTo>
                    <a:pt x="1" y="9"/>
                  </a:lnTo>
                  <a:lnTo>
                    <a:pt x="0" y="3"/>
                  </a:lnTo>
                  <a:lnTo>
                    <a:pt x="0" y="0"/>
                  </a:lnTo>
                  <a:lnTo>
                    <a:pt x="1"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4" name="Freeform 736"/>
            <p:cNvSpPr/>
            <p:nvPr/>
          </p:nvSpPr>
          <p:spPr bwMode="auto">
            <a:xfrm>
              <a:off x="1709520" y="3536524"/>
              <a:ext cx="6145" cy="36861"/>
            </a:xfrm>
            <a:custGeom>
              <a:avLst/>
              <a:gdLst>
                <a:gd name="T0" fmla="*/ 0 w 2"/>
                <a:gd name="T1" fmla="*/ 9 h 13"/>
                <a:gd name="T2" fmla="*/ 0 w 2"/>
                <a:gd name="T3" fmla="*/ 9 h 13"/>
                <a:gd name="T4" fmla="*/ 1 w 2"/>
                <a:gd name="T5" fmla="*/ 7 h 13"/>
                <a:gd name="T6" fmla="*/ 1 w 2"/>
                <a:gd name="T7" fmla="*/ 6 h 13"/>
                <a:gd name="T8" fmla="*/ 1 w 2"/>
                <a:gd name="T9" fmla="*/ 2 h 13"/>
                <a:gd name="T10" fmla="*/ 1 w 2"/>
                <a:gd name="T11" fmla="*/ 2 h 13"/>
                <a:gd name="T12" fmla="*/ 1 w 2"/>
                <a:gd name="T13" fmla="*/ 2 h 13"/>
                <a:gd name="T14" fmla="*/ 1 w 2"/>
                <a:gd name="T15" fmla="*/ 2 h 13"/>
                <a:gd name="T16" fmla="*/ 1 w 2"/>
                <a:gd name="T17" fmla="*/ 0 h 13"/>
                <a:gd name="T18" fmla="*/ 2 w 2"/>
                <a:gd name="T19" fmla="*/ 0 h 13"/>
                <a:gd name="T20" fmla="*/ 2 w 2"/>
                <a:gd name="T21" fmla="*/ 0 h 13"/>
                <a:gd name="T22" fmla="*/ 1 w 2"/>
                <a:gd name="T23" fmla="*/ 5 h 13"/>
                <a:gd name="T24" fmla="*/ 2 w 2"/>
                <a:gd name="T25" fmla="*/ 9 h 13"/>
                <a:gd name="T26" fmla="*/ 2 w 2"/>
                <a:gd name="T27" fmla="*/ 9 h 13"/>
                <a:gd name="T28" fmla="*/ 1 w 2"/>
                <a:gd name="T29" fmla="*/ 13 h 13"/>
                <a:gd name="T30" fmla="*/ 1 w 2"/>
                <a:gd name="T31" fmla="*/ 13 h 13"/>
                <a:gd name="T32" fmla="*/ 1 w 2"/>
                <a:gd name="T33" fmla="*/ 12 h 13"/>
                <a:gd name="T34" fmla="*/ 0 w 2"/>
                <a:gd name="T35"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13">
                  <a:moveTo>
                    <a:pt x="0" y="9"/>
                  </a:moveTo>
                  <a:lnTo>
                    <a:pt x="0" y="9"/>
                  </a:lnTo>
                  <a:lnTo>
                    <a:pt x="1" y="7"/>
                  </a:lnTo>
                  <a:lnTo>
                    <a:pt x="1" y="6"/>
                  </a:lnTo>
                  <a:lnTo>
                    <a:pt x="1" y="2"/>
                  </a:lnTo>
                  <a:lnTo>
                    <a:pt x="1" y="2"/>
                  </a:lnTo>
                  <a:lnTo>
                    <a:pt x="1" y="2"/>
                  </a:lnTo>
                  <a:lnTo>
                    <a:pt x="1" y="2"/>
                  </a:lnTo>
                  <a:lnTo>
                    <a:pt x="1" y="0"/>
                  </a:lnTo>
                  <a:lnTo>
                    <a:pt x="2" y="0"/>
                  </a:lnTo>
                  <a:lnTo>
                    <a:pt x="2" y="0"/>
                  </a:lnTo>
                  <a:lnTo>
                    <a:pt x="1" y="5"/>
                  </a:lnTo>
                  <a:lnTo>
                    <a:pt x="2" y="9"/>
                  </a:lnTo>
                  <a:lnTo>
                    <a:pt x="2" y="9"/>
                  </a:lnTo>
                  <a:lnTo>
                    <a:pt x="1" y="13"/>
                  </a:lnTo>
                  <a:lnTo>
                    <a:pt x="1" y="13"/>
                  </a:lnTo>
                  <a:lnTo>
                    <a:pt x="1" y="12"/>
                  </a:lnTo>
                  <a:lnTo>
                    <a:pt x="0"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5" name="Freeform 737"/>
            <p:cNvSpPr/>
            <p:nvPr/>
          </p:nvSpPr>
          <p:spPr bwMode="auto">
            <a:xfrm>
              <a:off x="1715661" y="3499661"/>
              <a:ext cx="6145" cy="36861"/>
            </a:xfrm>
            <a:custGeom>
              <a:avLst/>
              <a:gdLst>
                <a:gd name="T0" fmla="*/ 2 w 2"/>
                <a:gd name="T1" fmla="*/ 0 h 11"/>
                <a:gd name="T2" fmla="*/ 2 w 2"/>
                <a:gd name="T3" fmla="*/ 0 h 11"/>
                <a:gd name="T4" fmla="*/ 2 w 2"/>
                <a:gd name="T5" fmla="*/ 6 h 11"/>
                <a:gd name="T6" fmla="*/ 2 w 2"/>
                <a:gd name="T7" fmla="*/ 11 h 11"/>
                <a:gd name="T8" fmla="*/ 2 w 2"/>
                <a:gd name="T9" fmla="*/ 11 h 11"/>
                <a:gd name="T10" fmla="*/ 0 w 2"/>
                <a:gd name="T11" fmla="*/ 4 h 11"/>
                <a:gd name="T12" fmla="*/ 2 w 2"/>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2" h="11">
                  <a:moveTo>
                    <a:pt x="2" y="0"/>
                  </a:moveTo>
                  <a:lnTo>
                    <a:pt x="2" y="0"/>
                  </a:lnTo>
                  <a:lnTo>
                    <a:pt x="2" y="6"/>
                  </a:lnTo>
                  <a:lnTo>
                    <a:pt x="2" y="11"/>
                  </a:lnTo>
                  <a:lnTo>
                    <a:pt x="2" y="11"/>
                  </a:lnTo>
                  <a:lnTo>
                    <a:pt x="0" y="4"/>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6" name="Freeform 738"/>
            <p:cNvSpPr/>
            <p:nvPr/>
          </p:nvSpPr>
          <p:spPr bwMode="auto">
            <a:xfrm>
              <a:off x="1863106" y="3075761"/>
              <a:ext cx="6145" cy="30720"/>
            </a:xfrm>
            <a:custGeom>
              <a:avLst/>
              <a:gdLst>
                <a:gd name="T0" fmla="*/ 0 w 3"/>
                <a:gd name="T1" fmla="*/ 6 h 8"/>
                <a:gd name="T2" fmla="*/ 0 w 3"/>
                <a:gd name="T3" fmla="*/ 6 h 8"/>
                <a:gd name="T4" fmla="*/ 0 w 3"/>
                <a:gd name="T5" fmla="*/ 0 h 8"/>
                <a:gd name="T6" fmla="*/ 0 w 3"/>
                <a:gd name="T7" fmla="*/ 0 h 8"/>
                <a:gd name="T8" fmla="*/ 2 w 3"/>
                <a:gd name="T9" fmla="*/ 3 h 8"/>
                <a:gd name="T10" fmla="*/ 3 w 3"/>
                <a:gd name="T11" fmla="*/ 4 h 8"/>
                <a:gd name="T12" fmla="*/ 3 w 3"/>
                <a:gd name="T13" fmla="*/ 6 h 8"/>
                <a:gd name="T14" fmla="*/ 2 w 3"/>
                <a:gd name="T15" fmla="*/ 8 h 8"/>
                <a:gd name="T16" fmla="*/ 2 w 3"/>
                <a:gd name="T17" fmla="*/ 8 h 8"/>
                <a:gd name="T18" fmla="*/ 2 w 3"/>
                <a:gd name="T19" fmla="*/ 8 h 8"/>
                <a:gd name="T20" fmla="*/ 2 w 3"/>
                <a:gd name="T21" fmla="*/ 7 h 8"/>
                <a:gd name="T22" fmla="*/ 2 w 3"/>
                <a:gd name="T23" fmla="*/ 6 h 8"/>
                <a:gd name="T24" fmla="*/ 0 w 3"/>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8">
                  <a:moveTo>
                    <a:pt x="0" y="6"/>
                  </a:moveTo>
                  <a:lnTo>
                    <a:pt x="0" y="6"/>
                  </a:lnTo>
                  <a:lnTo>
                    <a:pt x="0" y="0"/>
                  </a:lnTo>
                  <a:lnTo>
                    <a:pt x="0" y="0"/>
                  </a:lnTo>
                  <a:lnTo>
                    <a:pt x="2" y="3"/>
                  </a:lnTo>
                  <a:lnTo>
                    <a:pt x="3" y="4"/>
                  </a:lnTo>
                  <a:lnTo>
                    <a:pt x="3" y="6"/>
                  </a:lnTo>
                  <a:lnTo>
                    <a:pt x="2" y="8"/>
                  </a:lnTo>
                  <a:lnTo>
                    <a:pt x="2" y="8"/>
                  </a:lnTo>
                  <a:lnTo>
                    <a:pt x="2" y="8"/>
                  </a:lnTo>
                  <a:lnTo>
                    <a:pt x="2" y="7"/>
                  </a:lnTo>
                  <a:lnTo>
                    <a:pt x="2" y="6"/>
                  </a:lnTo>
                  <a:lnTo>
                    <a:pt x="0"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7" name="Freeform 739"/>
            <p:cNvSpPr/>
            <p:nvPr/>
          </p:nvSpPr>
          <p:spPr bwMode="auto">
            <a:xfrm>
              <a:off x="1715661" y="3389079"/>
              <a:ext cx="6145" cy="24574"/>
            </a:xfrm>
            <a:custGeom>
              <a:avLst/>
              <a:gdLst>
                <a:gd name="T0" fmla="*/ 0 w 2"/>
                <a:gd name="T1" fmla="*/ 0 h 9"/>
                <a:gd name="T2" fmla="*/ 0 w 2"/>
                <a:gd name="T3" fmla="*/ 0 h 9"/>
                <a:gd name="T4" fmla="*/ 2 w 2"/>
                <a:gd name="T5" fmla="*/ 5 h 9"/>
                <a:gd name="T6" fmla="*/ 2 w 2"/>
                <a:gd name="T7" fmla="*/ 5 h 9"/>
                <a:gd name="T8" fmla="*/ 0 w 2"/>
                <a:gd name="T9" fmla="*/ 9 h 9"/>
                <a:gd name="T10" fmla="*/ 0 w 2"/>
                <a:gd name="T11" fmla="*/ 9 h 9"/>
                <a:gd name="T12" fmla="*/ 0 w 2"/>
                <a:gd name="T13" fmla="*/ 5 h 9"/>
                <a:gd name="T14" fmla="*/ 0 w 2"/>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9">
                  <a:moveTo>
                    <a:pt x="0" y="0"/>
                  </a:moveTo>
                  <a:lnTo>
                    <a:pt x="0" y="0"/>
                  </a:lnTo>
                  <a:lnTo>
                    <a:pt x="2" y="5"/>
                  </a:lnTo>
                  <a:lnTo>
                    <a:pt x="2" y="5"/>
                  </a:lnTo>
                  <a:lnTo>
                    <a:pt x="0" y="9"/>
                  </a:lnTo>
                  <a:lnTo>
                    <a:pt x="0" y="9"/>
                  </a:lnTo>
                  <a:lnTo>
                    <a:pt x="0" y="5"/>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8" name="Freeform 740"/>
            <p:cNvSpPr/>
            <p:nvPr/>
          </p:nvSpPr>
          <p:spPr bwMode="auto">
            <a:xfrm>
              <a:off x="1654226" y="3591817"/>
              <a:ext cx="6145" cy="30720"/>
            </a:xfrm>
            <a:custGeom>
              <a:avLst/>
              <a:gdLst>
                <a:gd name="T0" fmla="*/ 2 w 2"/>
                <a:gd name="T1" fmla="*/ 1 h 10"/>
                <a:gd name="T2" fmla="*/ 2 w 2"/>
                <a:gd name="T3" fmla="*/ 1 h 10"/>
                <a:gd name="T4" fmla="*/ 0 w 2"/>
                <a:gd name="T5" fmla="*/ 3 h 10"/>
                <a:gd name="T6" fmla="*/ 2 w 2"/>
                <a:gd name="T7" fmla="*/ 4 h 10"/>
                <a:gd name="T8" fmla="*/ 2 w 2"/>
                <a:gd name="T9" fmla="*/ 10 h 10"/>
                <a:gd name="T10" fmla="*/ 2 w 2"/>
                <a:gd name="T11" fmla="*/ 10 h 10"/>
                <a:gd name="T12" fmla="*/ 0 w 2"/>
                <a:gd name="T13" fmla="*/ 8 h 10"/>
                <a:gd name="T14" fmla="*/ 0 w 2"/>
                <a:gd name="T15" fmla="*/ 3 h 10"/>
                <a:gd name="T16" fmla="*/ 0 w 2"/>
                <a:gd name="T17" fmla="*/ 0 h 10"/>
                <a:gd name="T18" fmla="*/ 0 w 2"/>
                <a:gd name="T19" fmla="*/ 0 h 10"/>
                <a:gd name="T20" fmla="*/ 2 w 2"/>
                <a:gd name="T21"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10">
                  <a:moveTo>
                    <a:pt x="2" y="1"/>
                  </a:moveTo>
                  <a:lnTo>
                    <a:pt x="2" y="1"/>
                  </a:lnTo>
                  <a:lnTo>
                    <a:pt x="0" y="3"/>
                  </a:lnTo>
                  <a:lnTo>
                    <a:pt x="2" y="4"/>
                  </a:lnTo>
                  <a:lnTo>
                    <a:pt x="2" y="10"/>
                  </a:lnTo>
                  <a:lnTo>
                    <a:pt x="2" y="10"/>
                  </a:lnTo>
                  <a:lnTo>
                    <a:pt x="0" y="8"/>
                  </a:lnTo>
                  <a:lnTo>
                    <a:pt x="0" y="3"/>
                  </a:lnTo>
                  <a:lnTo>
                    <a:pt x="0" y="0"/>
                  </a:lnTo>
                  <a:lnTo>
                    <a:pt x="0" y="0"/>
                  </a:lnTo>
                  <a:lnTo>
                    <a:pt x="2"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9" name="Freeform 741"/>
            <p:cNvSpPr/>
            <p:nvPr/>
          </p:nvSpPr>
          <p:spPr bwMode="auto">
            <a:xfrm>
              <a:off x="1863106" y="2940602"/>
              <a:ext cx="43007" cy="141303"/>
            </a:xfrm>
            <a:custGeom>
              <a:avLst/>
              <a:gdLst>
                <a:gd name="T0" fmla="*/ 4 w 13"/>
                <a:gd name="T1" fmla="*/ 29 h 47"/>
                <a:gd name="T2" fmla="*/ 4 w 13"/>
                <a:gd name="T3" fmla="*/ 29 h 47"/>
                <a:gd name="T4" fmla="*/ 6 w 13"/>
                <a:gd name="T5" fmla="*/ 24 h 47"/>
                <a:gd name="T6" fmla="*/ 6 w 13"/>
                <a:gd name="T7" fmla="*/ 19 h 47"/>
                <a:gd name="T8" fmla="*/ 6 w 13"/>
                <a:gd name="T9" fmla="*/ 19 h 47"/>
                <a:gd name="T10" fmla="*/ 7 w 13"/>
                <a:gd name="T11" fmla="*/ 14 h 47"/>
                <a:gd name="T12" fmla="*/ 10 w 13"/>
                <a:gd name="T13" fmla="*/ 12 h 47"/>
                <a:gd name="T14" fmla="*/ 10 w 13"/>
                <a:gd name="T15" fmla="*/ 12 h 47"/>
                <a:gd name="T16" fmla="*/ 10 w 13"/>
                <a:gd name="T17" fmla="*/ 9 h 47"/>
                <a:gd name="T18" fmla="*/ 10 w 13"/>
                <a:gd name="T19" fmla="*/ 6 h 47"/>
                <a:gd name="T20" fmla="*/ 13 w 13"/>
                <a:gd name="T21" fmla="*/ 0 h 47"/>
                <a:gd name="T22" fmla="*/ 13 w 13"/>
                <a:gd name="T23" fmla="*/ 0 h 47"/>
                <a:gd name="T24" fmla="*/ 11 w 13"/>
                <a:gd name="T25" fmla="*/ 6 h 47"/>
                <a:gd name="T26" fmla="*/ 11 w 13"/>
                <a:gd name="T27" fmla="*/ 9 h 47"/>
                <a:gd name="T28" fmla="*/ 11 w 13"/>
                <a:gd name="T29" fmla="*/ 13 h 47"/>
                <a:gd name="T30" fmla="*/ 11 w 13"/>
                <a:gd name="T31" fmla="*/ 19 h 47"/>
                <a:gd name="T32" fmla="*/ 11 w 13"/>
                <a:gd name="T33" fmla="*/ 19 h 47"/>
                <a:gd name="T34" fmla="*/ 10 w 13"/>
                <a:gd name="T35" fmla="*/ 20 h 47"/>
                <a:gd name="T36" fmla="*/ 8 w 13"/>
                <a:gd name="T37" fmla="*/ 22 h 47"/>
                <a:gd name="T38" fmla="*/ 8 w 13"/>
                <a:gd name="T39" fmla="*/ 23 h 47"/>
                <a:gd name="T40" fmla="*/ 7 w 13"/>
                <a:gd name="T41" fmla="*/ 24 h 47"/>
                <a:gd name="T42" fmla="*/ 7 w 13"/>
                <a:gd name="T43" fmla="*/ 24 h 47"/>
                <a:gd name="T44" fmla="*/ 6 w 13"/>
                <a:gd name="T45" fmla="*/ 34 h 47"/>
                <a:gd name="T46" fmla="*/ 4 w 13"/>
                <a:gd name="T47" fmla="*/ 39 h 47"/>
                <a:gd name="T48" fmla="*/ 3 w 13"/>
                <a:gd name="T49" fmla="*/ 42 h 47"/>
                <a:gd name="T50" fmla="*/ 3 w 13"/>
                <a:gd name="T51" fmla="*/ 42 h 47"/>
                <a:gd name="T52" fmla="*/ 4 w 13"/>
                <a:gd name="T53" fmla="*/ 39 h 47"/>
                <a:gd name="T54" fmla="*/ 4 w 13"/>
                <a:gd name="T55" fmla="*/ 37 h 47"/>
                <a:gd name="T56" fmla="*/ 4 w 13"/>
                <a:gd name="T57" fmla="*/ 37 h 47"/>
                <a:gd name="T58" fmla="*/ 4 w 13"/>
                <a:gd name="T59" fmla="*/ 37 h 47"/>
                <a:gd name="T60" fmla="*/ 3 w 13"/>
                <a:gd name="T61" fmla="*/ 42 h 47"/>
                <a:gd name="T62" fmla="*/ 0 w 13"/>
                <a:gd name="T63" fmla="*/ 47 h 47"/>
                <a:gd name="T64" fmla="*/ 0 w 13"/>
                <a:gd name="T65" fmla="*/ 47 h 47"/>
                <a:gd name="T66" fmla="*/ 1 w 13"/>
                <a:gd name="T67" fmla="*/ 43 h 47"/>
                <a:gd name="T68" fmla="*/ 3 w 13"/>
                <a:gd name="T69" fmla="*/ 39 h 47"/>
                <a:gd name="T70" fmla="*/ 3 w 13"/>
                <a:gd name="T71" fmla="*/ 39 h 47"/>
                <a:gd name="T72" fmla="*/ 4 w 13"/>
                <a:gd name="T73" fmla="*/ 33 h 47"/>
                <a:gd name="T74" fmla="*/ 4 w 13"/>
                <a:gd name="T75" fmla="*/ 30 h 47"/>
                <a:gd name="T76" fmla="*/ 4 w 13"/>
                <a:gd name="T77"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 h="47">
                  <a:moveTo>
                    <a:pt x="4" y="29"/>
                  </a:moveTo>
                  <a:lnTo>
                    <a:pt x="4" y="29"/>
                  </a:lnTo>
                  <a:lnTo>
                    <a:pt x="6" y="24"/>
                  </a:lnTo>
                  <a:lnTo>
                    <a:pt x="6" y="19"/>
                  </a:lnTo>
                  <a:lnTo>
                    <a:pt x="6" y="19"/>
                  </a:lnTo>
                  <a:lnTo>
                    <a:pt x="7" y="14"/>
                  </a:lnTo>
                  <a:lnTo>
                    <a:pt x="10" y="12"/>
                  </a:lnTo>
                  <a:lnTo>
                    <a:pt x="10" y="12"/>
                  </a:lnTo>
                  <a:lnTo>
                    <a:pt x="10" y="9"/>
                  </a:lnTo>
                  <a:lnTo>
                    <a:pt x="10" y="6"/>
                  </a:lnTo>
                  <a:lnTo>
                    <a:pt x="13" y="0"/>
                  </a:lnTo>
                  <a:lnTo>
                    <a:pt x="13" y="0"/>
                  </a:lnTo>
                  <a:lnTo>
                    <a:pt x="11" y="6"/>
                  </a:lnTo>
                  <a:lnTo>
                    <a:pt x="11" y="9"/>
                  </a:lnTo>
                  <a:lnTo>
                    <a:pt x="11" y="13"/>
                  </a:lnTo>
                  <a:lnTo>
                    <a:pt x="11" y="19"/>
                  </a:lnTo>
                  <a:lnTo>
                    <a:pt x="11" y="19"/>
                  </a:lnTo>
                  <a:lnTo>
                    <a:pt x="10" y="20"/>
                  </a:lnTo>
                  <a:lnTo>
                    <a:pt x="8" y="22"/>
                  </a:lnTo>
                  <a:lnTo>
                    <a:pt x="8" y="23"/>
                  </a:lnTo>
                  <a:lnTo>
                    <a:pt x="7" y="24"/>
                  </a:lnTo>
                  <a:lnTo>
                    <a:pt x="7" y="24"/>
                  </a:lnTo>
                  <a:lnTo>
                    <a:pt x="6" y="34"/>
                  </a:lnTo>
                  <a:lnTo>
                    <a:pt x="4" y="39"/>
                  </a:lnTo>
                  <a:lnTo>
                    <a:pt x="3" y="42"/>
                  </a:lnTo>
                  <a:lnTo>
                    <a:pt x="3" y="42"/>
                  </a:lnTo>
                  <a:lnTo>
                    <a:pt x="4" y="39"/>
                  </a:lnTo>
                  <a:lnTo>
                    <a:pt x="4" y="37"/>
                  </a:lnTo>
                  <a:lnTo>
                    <a:pt x="4" y="37"/>
                  </a:lnTo>
                  <a:lnTo>
                    <a:pt x="4" y="37"/>
                  </a:lnTo>
                  <a:lnTo>
                    <a:pt x="3" y="42"/>
                  </a:lnTo>
                  <a:lnTo>
                    <a:pt x="0" y="47"/>
                  </a:lnTo>
                  <a:lnTo>
                    <a:pt x="0" y="47"/>
                  </a:lnTo>
                  <a:lnTo>
                    <a:pt x="1" y="43"/>
                  </a:lnTo>
                  <a:lnTo>
                    <a:pt x="3" y="39"/>
                  </a:lnTo>
                  <a:lnTo>
                    <a:pt x="3" y="39"/>
                  </a:lnTo>
                  <a:lnTo>
                    <a:pt x="4" y="33"/>
                  </a:lnTo>
                  <a:lnTo>
                    <a:pt x="4" y="30"/>
                  </a:lnTo>
                  <a:lnTo>
                    <a:pt x="4" y="2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0" name="Freeform 742"/>
            <p:cNvSpPr/>
            <p:nvPr/>
          </p:nvSpPr>
          <p:spPr bwMode="auto">
            <a:xfrm>
              <a:off x="2096560" y="2762438"/>
              <a:ext cx="6145" cy="24574"/>
            </a:xfrm>
            <a:custGeom>
              <a:avLst/>
              <a:gdLst>
                <a:gd name="T0" fmla="*/ 3 w 3"/>
                <a:gd name="T1" fmla="*/ 0 h 9"/>
                <a:gd name="T2" fmla="*/ 3 w 3"/>
                <a:gd name="T3" fmla="*/ 0 h 9"/>
                <a:gd name="T4" fmla="*/ 3 w 3"/>
                <a:gd name="T5" fmla="*/ 2 h 9"/>
                <a:gd name="T6" fmla="*/ 3 w 3"/>
                <a:gd name="T7" fmla="*/ 3 h 9"/>
                <a:gd name="T8" fmla="*/ 0 w 3"/>
                <a:gd name="T9" fmla="*/ 9 h 9"/>
                <a:gd name="T10" fmla="*/ 0 w 3"/>
                <a:gd name="T11" fmla="*/ 9 h 9"/>
                <a:gd name="T12" fmla="*/ 0 w 3"/>
                <a:gd name="T13" fmla="*/ 4 h 9"/>
                <a:gd name="T14" fmla="*/ 3 w 3"/>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9">
                  <a:moveTo>
                    <a:pt x="3" y="0"/>
                  </a:moveTo>
                  <a:lnTo>
                    <a:pt x="3" y="0"/>
                  </a:lnTo>
                  <a:lnTo>
                    <a:pt x="3" y="2"/>
                  </a:lnTo>
                  <a:lnTo>
                    <a:pt x="3" y="3"/>
                  </a:lnTo>
                  <a:lnTo>
                    <a:pt x="0" y="9"/>
                  </a:lnTo>
                  <a:lnTo>
                    <a:pt x="0" y="9"/>
                  </a:lnTo>
                  <a:lnTo>
                    <a:pt x="0" y="4"/>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1" name="Freeform 743"/>
            <p:cNvSpPr/>
            <p:nvPr/>
          </p:nvSpPr>
          <p:spPr bwMode="auto">
            <a:xfrm>
              <a:off x="1850819" y="3075761"/>
              <a:ext cx="0" cy="24574"/>
            </a:xfrm>
            <a:custGeom>
              <a:avLst/>
              <a:gdLst>
                <a:gd name="T0" fmla="*/ 0 w 2"/>
                <a:gd name="T1" fmla="*/ 4 h 7"/>
                <a:gd name="T2" fmla="*/ 0 w 2"/>
                <a:gd name="T3" fmla="*/ 4 h 7"/>
                <a:gd name="T4" fmla="*/ 2 w 2"/>
                <a:gd name="T5" fmla="*/ 0 h 7"/>
                <a:gd name="T6" fmla="*/ 2 w 2"/>
                <a:gd name="T7" fmla="*/ 0 h 7"/>
                <a:gd name="T8" fmla="*/ 2 w 2"/>
                <a:gd name="T9" fmla="*/ 4 h 7"/>
                <a:gd name="T10" fmla="*/ 2 w 2"/>
                <a:gd name="T11" fmla="*/ 7 h 7"/>
                <a:gd name="T12" fmla="*/ 2 w 2"/>
                <a:gd name="T13" fmla="*/ 7 h 7"/>
                <a:gd name="T14" fmla="*/ 0 w 2"/>
                <a:gd name="T15" fmla="*/ 6 h 7"/>
                <a:gd name="T16" fmla="*/ 0 w 2"/>
                <a:gd name="T17" fmla="*/ 6 h 7"/>
                <a:gd name="T18" fmla="*/ 0 w 2"/>
                <a:gd name="T19" fmla="*/ 6 h 7"/>
                <a:gd name="T20" fmla="*/ 0 w 2"/>
                <a:gd name="T2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7">
                  <a:moveTo>
                    <a:pt x="0" y="4"/>
                  </a:moveTo>
                  <a:lnTo>
                    <a:pt x="0" y="4"/>
                  </a:lnTo>
                  <a:lnTo>
                    <a:pt x="2" y="0"/>
                  </a:lnTo>
                  <a:lnTo>
                    <a:pt x="2" y="0"/>
                  </a:lnTo>
                  <a:lnTo>
                    <a:pt x="2" y="4"/>
                  </a:lnTo>
                  <a:lnTo>
                    <a:pt x="2" y="7"/>
                  </a:lnTo>
                  <a:lnTo>
                    <a:pt x="2" y="7"/>
                  </a:lnTo>
                  <a:lnTo>
                    <a:pt x="0" y="6"/>
                  </a:lnTo>
                  <a:lnTo>
                    <a:pt x="0" y="6"/>
                  </a:lnTo>
                  <a:lnTo>
                    <a:pt x="0" y="6"/>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2" name="Freeform 744"/>
            <p:cNvSpPr/>
            <p:nvPr/>
          </p:nvSpPr>
          <p:spPr bwMode="auto">
            <a:xfrm>
              <a:off x="1654226" y="3475087"/>
              <a:ext cx="12287" cy="49148"/>
            </a:xfrm>
            <a:custGeom>
              <a:avLst/>
              <a:gdLst>
                <a:gd name="T0" fmla="*/ 3 w 5"/>
                <a:gd name="T1" fmla="*/ 0 h 16"/>
                <a:gd name="T2" fmla="*/ 3 w 5"/>
                <a:gd name="T3" fmla="*/ 0 h 16"/>
                <a:gd name="T4" fmla="*/ 5 w 5"/>
                <a:gd name="T5" fmla="*/ 3 h 16"/>
                <a:gd name="T6" fmla="*/ 3 w 5"/>
                <a:gd name="T7" fmla="*/ 5 h 16"/>
                <a:gd name="T8" fmla="*/ 3 w 5"/>
                <a:gd name="T9" fmla="*/ 5 h 16"/>
                <a:gd name="T10" fmla="*/ 3 w 5"/>
                <a:gd name="T11" fmla="*/ 7 h 16"/>
                <a:gd name="T12" fmla="*/ 5 w 5"/>
                <a:gd name="T13" fmla="*/ 10 h 16"/>
                <a:gd name="T14" fmla="*/ 5 w 5"/>
                <a:gd name="T15" fmla="*/ 10 h 16"/>
                <a:gd name="T16" fmla="*/ 3 w 5"/>
                <a:gd name="T17" fmla="*/ 12 h 16"/>
                <a:gd name="T18" fmla="*/ 3 w 5"/>
                <a:gd name="T19" fmla="*/ 12 h 16"/>
                <a:gd name="T20" fmla="*/ 2 w 5"/>
                <a:gd name="T21" fmla="*/ 13 h 16"/>
                <a:gd name="T22" fmla="*/ 2 w 5"/>
                <a:gd name="T23" fmla="*/ 16 h 16"/>
                <a:gd name="T24" fmla="*/ 2 w 5"/>
                <a:gd name="T25" fmla="*/ 16 h 16"/>
                <a:gd name="T26" fmla="*/ 0 w 5"/>
                <a:gd name="T27" fmla="*/ 10 h 16"/>
                <a:gd name="T28" fmla="*/ 2 w 5"/>
                <a:gd name="T29" fmla="*/ 7 h 16"/>
                <a:gd name="T30" fmla="*/ 3 w 5"/>
                <a:gd name="T31" fmla="*/ 5 h 16"/>
                <a:gd name="T32" fmla="*/ 3 w 5"/>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16">
                  <a:moveTo>
                    <a:pt x="3" y="0"/>
                  </a:moveTo>
                  <a:lnTo>
                    <a:pt x="3" y="0"/>
                  </a:lnTo>
                  <a:lnTo>
                    <a:pt x="5" y="3"/>
                  </a:lnTo>
                  <a:lnTo>
                    <a:pt x="3" y="5"/>
                  </a:lnTo>
                  <a:lnTo>
                    <a:pt x="3" y="5"/>
                  </a:lnTo>
                  <a:lnTo>
                    <a:pt x="3" y="7"/>
                  </a:lnTo>
                  <a:lnTo>
                    <a:pt x="5" y="10"/>
                  </a:lnTo>
                  <a:lnTo>
                    <a:pt x="5" y="10"/>
                  </a:lnTo>
                  <a:lnTo>
                    <a:pt x="3" y="12"/>
                  </a:lnTo>
                  <a:lnTo>
                    <a:pt x="3" y="12"/>
                  </a:lnTo>
                  <a:lnTo>
                    <a:pt x="2" y="13"/>
                  </a:lnTo>
                  <a:lnTo>
                    <a:pt x="2" y="16"/>
                  </a:lnTo>
                  <a:lnTo>
                    <a:pt x="2" y="16"/>
                  </a:lnTo>
                  <a:lnTo>
                    <a:pt x="0" y="10"/>
                  </a:lnTo>
                  <a:lnTo>
                    <a:pt x="2" y="7"/>
                  </a:lnTo>
                  <a:lnTo>
                    <a:pt x="3" y="5"/>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3" name="Freeform 745"/>
            <p:cNvSpPr/>
            <p:nvPr/>
          </p:nvSpPr>
          <p:spPr bwMode="auto">
            <a:xfrm>
              <a:off x="1727948" y="3278494"/>
              <a:ext cx="6145" cy="30720"/>
            </a:xfrm>
            <a:custGeom>
              <a:avLst/>
              <a:gdLst>
                <a:gd name="T0" fmla="*/ 1 w 1"/>
                <a:gd name="T1" fmla="*/ 0 h 12"/>
                <a:gd name="T2" fmla="*/ 1 w 1"/>
                <a:gd name="T3" fmla="*/ 0 h 12"/>
                <a:gd name="T4" fmla="*/ 1 w 1"/>
                <a:gd name="T5" fmla="*/ 6 h 12"/>
                <a:gd name="T6" fmla="*/ 1 w 1"/>
                <a:gd name="T7" fmla="*/ 12 h 12"/>
                <a:gd name="T8" fmla="*/ 1 w 1"/>
                <a:gd name="T9" fmla="*/ 12 h 12"/>
                <a:gd name="T10" fmla="*/ 0 w 1"/>
                <a:gd name="T11" fmla="*/ 6 h 12"/>
                <a:gd name="T12" fmla="*/ 0 w 1"/>
                <a:gd name="T13" fmla="*/ 3 h 12"/>
                <a:gd name="T14" fmla="*/ 1 w 1"/>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2">
                  <a:moveTo>
                    <a:pt x="1" y="0"/>
                  </a:moveTo>
                  <a:lnTo>
                    <a:pt x="1" y="0"/>
                  </a:lnTo>
                  <a:lnTo>
                    <a:pt x="1" y="6"/>
                  </a:lnTo>
                  <a:lnTo>
                    <a:pt x="1" y="12"/>
                  </a:lnTo>
                  <a:lnTo>
                    <a:pt x="1" y="12"/>
                  </a:lnTo>
                  <a:lnTo>
                    <a:pt x="0" y="6"/>
                  </a:lnTo>
                  <a:lnTo>
                    <a:pt x="0" y="3"/>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4" name="Freeform 746"/>
            <p:cNvSpPr/>
            <p:nvPr/>
          </p:nvSpPr>
          <p:spPr bwMode="auto">
            <a:xfrm>
              <a:off x="1678801" y="3370650"/>
              <a:ext cx="6145" cy="43007"/>
            </a:xfrm>
            <a:custGeom>
              <a:avLst/>
              <a:gdLst>
                <a:gd name="T0" fmla="*/ 2 w 2"/>
                <a:gd name="T1" fmla="*/ 13 h 14"/>
                <a:gd name="T2" fmla="*/ 2 w 2"/>
                <a:gd name="T3" fmla="*/ 13 h 14"/>
                <a:gd name="T4" fmla="*/ 1 w 2"/>
                <a:gd name="T5" fmla="*/ 14 h 14"/>
                <a:gd name="T6" fmla="*/ 1 w 2"/>
                <a:gd name="T7" fmla="*/ 13 h 14"/>
                <a:gd name="T8" fmla="*/ 0 w 2"/>
                <a:gd name="T9" fmla="*/ 10 h 14"/>
                <a:gd name="T10" fmla="*/ 0 w 2"/>
                <a:gd name="T11" fmla="*/ 10 h 14"/>
                <a:gd name="T12" fmla="*/ 0 w 2"/>
                <a:gd name="T13" fmla="*/ 4 h 14"/>
                <a:gd name="T14" fmla="*/ 0 w 2"/>
                <a:gd name="T15" fmla="*/ 0 h 14"/>
                <a:gd name="T16" fmla="*/ 0 w 2"/>
                <a:gd name="T17" fmla="*/ 0 h 14"/>
                <a:gd name="T18" fmla="*/ 1 w 2"/>
                <a:gd name="T19" fmla="*/ 2 h 14"/>
                <a:gd name="T20" fmla="*/ 2 w 2"/>
                <a:gd name="T21" fmla="*/ 6 h 14"/>
                <a:gd name="T22" fmla="*/ 2 w 2"/>
                <a:gd name="T23" fmla="*/ 6 h 14"/>
                <a:gd name="T24" fmla="*/ 1 w 2"/>
                <a:gd name="T25" fmla="*/ 7 h 14"/>
                <a:gd name="T26" fmla="*/ 1 w 2"/>
                <a:gd name="T27" fmla="*/ 9 h 14"/>
                <a:gd name="T28" fmla="*/ 2 w 2"/>
                <a:gd name="T2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14">
                  <a:moveTo>
                    <a:pt x="2" y="13"/>
                  </a:moveTo>
                  <a:lnTo>
                    <a:pt x="2" y="13"/>
                  </a:lnTo>
                  <a:lnTo>
                    <a:pt x="1" y="14"/>
                  </a:lnTo>
                  <a:lnTo>
                    <a:pt x="1" y="13"/>
                  </a:lnTo>
                  <a:lnTo>
                    <a:pt x="0" y="10"/>
                  </a:lnTo>
                  <a:lnTo>
                    <a:pt x="0" y="10"/>
                  </a:lnTo>
                  <a:lnTo>
                    <a:pt x="0" y="4"/>
                  </a:lnTo>
                  <a:lnTo>
                    <a:pt x="0" y="0"/>
                  </a:lnTo>
                  <a:lnTo>
                    <a:pt x="0" y="0"/>
                  </a:lnTo>
                  <a:lnTo>
                    <a:pt x="1" y="2"/>
                  </a:lnTo>
                  <a:lnTo>
                    <a:pt x="2" y="6"/>
                  </a:lnTo>
                  <a:lnTo>
                    <a:pt x="2" y="6"/>
                  </a:lnTo>
                  <a:lnTo>
                    <a:pt x="1" y="7"/>
                  </a:lnTo>
                  <a:lnTo>
                    <a:pt x="1" y="9"/>
                  </a:lnTo>
                  <a:lnTo>
                    <a:pt x="2" y="1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5" name="Freeform 747"/>
            <p:cNvSpPr/>
            <p:nvPr/>
          </p:nvSpPr>
          <p:spPr bwMode="auto">
            <a:xfrm>
              <a:off x="1906112" y="2811586"/>
              <a:ext cx="49148" cy="141303"/>
            </a:xfrm>
            <a:custGeom>
              <a:avLst/>
              <a:gdLst>
                <a:gd name="T0" fmla="*/ 15 w 17"/>
                <a:gd name="T1" fmla="*/ 10 h 47"/>
                <a:gd name="T2" fmla="*/ 15 w 17"/>
                <a:gd name="T3" fmla="*/ 10 h 47"/>
                <a:gd name="T4" fmla="*/ 14 w 17"/>
                <a:gd name="T5" fmla="*/ 11 h 47"/>
                <a:gd name="T6" fmla="*/ 14 w 17"/>
                <a:gd name="T7" fmla="*/ 13 h 47"/>
                <a:gd name="T8" fmla="*/ 14 w 17"/>
                <a:gd name="T9" fmla="*/ 17 h 47"/>
                <a:gd name="T10" fmla="*/ 14 w 17"/>
                <a:gd name="T11" fmla="*/ 17 h 47"/>
                <a:gd name="T12" fmla="*/ 13 w 17"/>
                <a:gd name="T13" fmla="*/ 20 h 47"/>
                <a:gd name="T14" fmla="*/ 11 w 17"/>
                <a:gd name="T15" fmla="*/ 20 h 47"/>
                <a:gd name="T16" fmla="*/ 11 w 17"/>
                <a:gd name="T17" fmla="*/ 20 h 47"/>
                <a:gd name="T18" fmla="*/ 10 w 17"/>
                <a:gd name="T19" fmla="*/ 26 h 47"/>
                <a:gd name="T20" fmla="*/ 8 w 17"/>
                <a:gd name="T21" fmla="*/ 30 h 47"/>
                <a:gd name="T22" fmla="*/ 8 w 17"/>
                <a:gd name="T23" fmla="*/ 30 h 47"/>
                <a:gd name="T24" fmla="*/ 5 w 17"/>
                <a:gd name="T25" fmla="*/ 36 h 47"/>
                <a:gd name="T26" fmla="*/ 5 w 17"/>
                <a:gd name="T27" fmla="*/ 36 h 47"/>
                <a:gd name="T28" fmla="*/ 5 w 17"/>
                <a:gd name="T29" fmla="*/ 41 h 47"/>
                <a:gd name="T30" fmla="*/ 5 w 17"/>
                <a:gd name="T31" fmla="*/ 41 h 47"/>
                <a:gd name="T32" fmla="*/ 4 w 17"/>
                <a:gd name="T33" fmla="*/ 43 h 47"/>
                <a:gd name="T34" fmla="*/ 3 w 17"/>
                <a:gd name="T35" fmla="*/ 43 h 47"/>
                <a:gd name="T36" fmla="*/ 3 w 17"/>
                <a:gd name="T37" fmla="*/ 45 h 47"/>
                <a:gd name="T38" fmla="*/ 3 w 17"/>
                <a:gd name="T39" fmla="*/ 45 h 47"/>
                <a:gd name="T40" fmla="*/ 1 w 17"/>
                <a:gd name="T41" fmla="*/ 47 h 47"/>
                <a:gd name="T42" fmla="*/ 0 w 17"/>
                <a:gd name="T43" fmla="*/ 47 h 47"/>
                <a:gd name="T44" fmla="*/ 0 w 17"/>
                <a:gd name="T45" fmla="*/ 45 h 47"/>
                <a:gd name="T46" fmla="*/ 1 w 17"/>
                <a:gd name="T47" fmla="*/ 43 h 47"/>
                <a:gd name="T48" fmla="*/ 1 w 17"/>
                <a:gd name="T49" fmla="*/ 43 h 47"/>
                <a:gd name="T50" fmla="*/ 1 w 17"/>
                <a:gd name="T51" fmla="*/ 44 h 47"/>
                <a:gd name="T52" fmla="*/ 1 w 17"/>
                <a:gd name="T53" fmla="*/ 43 h 47"/>
                <a:gd name="T54" fmla="*/ 1 w 17"/>
                <a:gd name="T55" fmla="*/ 43 h 47"/>
                <a:gd name="T56" fmla="*/ 1 w 17"/>
                <a:gd name="T57" fmla="*/ 40 h 47"/>
                <a:gd name="T58" fmla="*/ 1 w 17"/>
                <a:gd name="T59" fmla="*/ 34 h 47"/>
                <a:gd name="T60" fmla="*/ 1 w 17"/>
                <a:gd name="T61" fmla="*/ 34 h 47"/>
                <a:gd name="T62" fmla="*/ 5 w 17"/>
                <a:gd name="T63" fmla="*/ 23 h 47"/>
                <a:gd name="T64" fmla="*/ 5 w 17"/>
                <a:gd name="T65" fmla="*/ 23 h 47"/>
                <a:gd name="T66" fmla="*/ 8 w 17"/>
                <a:gd name="T67" fmla="*/ 18 h 47"/>
                <a:gd name="T68" fmla="*/ 8 w 17"/>
                <a:gd name="T69" fmla="*/ 18 h 47"/>
                <a:gd name="T70" fmla="*/ 10 w 17"/>
                <a:gd name="T71" fmla="*/ 11 h 47"/>
                <a:gd name="T72" fmla="*/ 11 w 17"/>
                <a:gd name="T73" fmla="*/ 8 h 47"/>
                <a:gd name="T74" fmla="*/ 13 w 17"/>
                <a:gd name="T75" fmla="*/ 6 h 47"/>
                <a:gd name="T76" fmla="*/ 13 w 17"/>
                <a:gd name="T77" fmla="*/ 6 h 47"/>
                <a:gd name="T78" fmla="*/ 13 w 17"/>
                <a:gd name="T79" fmla="*/ 10 h 47"/>
                <a:gd name="T80" fmla="*/ 11 w 17"/>
                <a:gd name="T81" fmla="*/ 14 h 47"/>
                <a:gd name="T82" fmla="*/ 8 w 17"/>
                <a:gd name="T83" fmla="*/ 23 h 47"/>
                <a:gd name="T84" fmla="*/ 8 w 17"/>
                <a:gd name="T85" fmla="*/ 23 h 47"/>
                <a:gd name="T86" fmla="*/ 8 w 17"/>
                <a:gd name="T87" fmla="*/ 23 h 47"/>
                <a:gd name="T88" fmla="*/ 8 w 17"/>
                <a:gd name="T89" fmla="*/ 26 h 47"/>
                <a:gd name="T90" fmla="*/ 8 w 17"/>
                <a:gd name="T91" fmla="*/ 26 h 47"/>
                <a:gd name="T92" fmla="*/ 11 w 17"/>
                <a:gd name="T93" fmla="*/ 20 h 47"/>
                <a:gd name="T94" fmla="*/ 13 w 17"/>
                <a:gd name="T95" fmla="*/ 16 h 47"/>
                <a:gd name="T96" fmla="*/ 13 w 17"/>
                <a:gd name="T97" fmla="*/ 16 h 47"/>
                <a:gd name="T98" fmla="*/ 14 w 17"/>
                <a:gd name="T99" fmla="*/ 7 h 47"/>
                <a:gd name="T100" fmla="*/ 15 w 17"/>
                <a:gd name="T101" fmla="*/ 4 h 47"/>
                <a:gd name="T102" fmla="*/ 17 w 17"/>
                <a:gd name="T103" fmla="*/ 0 h 47"/>
                <a:gd name="T104" fmla="*/ 17 w 17"/>
                <a:gd name="T105" fmla="*/ 0 h 47"/>
                <a:gd name="T106" fmla="*/ 15 w 17"/>
                <a:gd name="T107" fmla="*/ 7 h 47"/>
                <a:gd name="T108" fmla="*/ 15 w 17"/>
                <a:gd name="T109"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 h="47">
                  <a:moveTo>
                    <a:pt x="15" y="10"/>
                  </a:moveTo>
                  <a:lnTo>
                    <a:pt x="15" y="10"/>
                  </a:lnTo>
                  <a:lnTo>
                    <a:pt x="14" y="11"/>
                  </a:lnTo>
                  <a:lnTo>
                    <a:pt x="14" y="13"/>
                  </a:lnTo>
                  <a:lnTo>
                    <a:pt x="14" y="17"/>
                  </a:lnTo>
                  <a:lnTo>
                    <a:pt x="14" y="17"/>
                  </a:lnTo>
                  <a:lnTo>
                    <a:pt x="13" y="20"/>
                  </a:lnTo>
                  <a:lnTo>
                    <a:pt x="11" y="20"/>
                  </a:lnTo>
                  <a:lnTo>
                    <a:pt x="11" y="20"/>
                  </a:lnTo>
                  <a:lnTo>
                    <a:pt x="10" y="26"/>
                  </a:lnTo>
                  <a:lnTo>
                    <a:pt x="8" y="30"/>
                  </a:lnTo>
                  <a:lnTo>
                    <a:pt x="8" y="30"/>
                  </a:lnTo>
                  <a:lnTo>
                    <a:pt x="5" y="36"/>
                  </a:lnTo>
                  <a:lnTo>
                    <a:pt x="5" y="36"/>
                  </a:lnTo>
                  <a:lnTo>
                    <a:pt x="5" y="41"/>
                  </a:lnTo>
                  <a:lnTo>
                    <a:pt x="5" y="41"/>
                  </a:lnTo>
                  <a:lnTo>
                    <a:pt x="4" y="43"/>
                  </a:lnTo>
                  <a:lnTo>
                    <a:pt x="3" y="43"/>
                  </a:lnTo>
                  <a:lnTo>
                    <a:pt x="3" y="45"/>
                  </a:lnTo>
                  <a:lnTo>
                    <a:pt x="3" y="45"/>
                  </a:lnTo>
                  <a:lnTo>
                    <a:pt x="1" y="47"/>
                  </a:lnTo>
                  <a:lnTo>
                    <a:pt x="0" y="47"/>
                  </a:lnTo>
                  <a:lnTo>
                    <a:pt x="0" y="45"/>
                  </a:lnTo>
                  <a:lnTo>
                    <a:pt x="1" y="43"/>
                  </a:lnTo>
                  <a:lnTo>
                    <a:pt x="1" y="43"/>
                  </a:lnTo>
                  <a:lnTo>
                    <a:pt x="1" y="44"/>
                  </a:lnTo>
                  <a:lnTo>
                    <a:pt x="1" y="43"/>
                  </a:lnTo>
                  <a:lnTo>
                    <a:pt x="1" y="43"/>
                  </a:lnTo>
                  <a:lnTo>
                    <a:pt x="1" y="40"/>
                  </a:lnTo>
                  <a:lnTo>
                    <a:pt x="1" y="34"/>
                  </a:lnTo>
                  <a:lnTo>
                    <a:pt x="1" y="34"/>
                  </a:lnTo>
                  <a:lnTo>
                    <a:pt x="5" y="23"/>
                  </a:lnTo>
                  <a:lnTo>
                    <a:pt x="5" y="23"/>
                  </a:lnTo>
                  <a:lnTo>
                    <a:pt x="8" y="18"/>
                  </a:lnTo>
                  <a:lnTo>
                    <a:pt x="8" y="18"/>
                  </a:lnTo>
                  <a:lnTo>
                    <a:pt x="10" y="11"/>
                  </a:lnTo>
                  <a:lnTo>
                    <a:pt x="11" y="8"/>
                  </a:lnTo>
                  <a:lnTo>
                    <a:pt x="13" y="6"/>
                  </a:lnTo>
                  <a:lnTo>
                    <a:pt x="13" y="6"/>
                  </a:lnTo>
                  <a:lnTo>
                    <a:pt x="13" y="10"/>
                  </a:lnTo>
                  <a:lnTo>
                    <a:pt x="11" y="14"/>
                  </a:lnTo>
                  <a:lnTo>
                    <a:pt x="8" y="23"/>
                  </a:lnTo>
                  <a:lnTo>
                    <a:pt x="8" y="23"/>
                  </a:lnTo>
                  <a:lnTo>
                    <a:pt x="8" y="23"/>
                  </a:lnTo>
                  <a:lnTo>
                    <a:pt x="8" y="26"/>
                  </a:lnTo>
                  <a:lnTo>
                    <a:pt x="8" y="26"/>
                  </a:lnTo>
                  <a:lnTo>
                    <a:pt x="11" y="20"/>
                  </a:lnTo>
                  <a:lnTo>
                    <a:pt x="13" y="16"/>
                  </a:lnTo>
                  <a:lnTo>
                    <a:pt x="13" y="16"/>
                  </a:lnTo>
                  <a:lnTo>
                    <a:pt x="14" y="7"/>
                  </a:lnTo>
                  <a:lnTo>
                    <a:pt x="15" y="4"/>
                  </a:lnTo>
                  <a:lnTo>
                    <a:pt x="17" y="0"/>
                  </a:lnTo>
                  <a:lnTo>
                    <a:pt x="17" y="0"/>
                  </a:lnTo>
                  <a:lnTo>
                    <a:pt x="15" y="7"/>
                  </a:lnTo>
                  <a:lnTo>
                    <a:pt x="15"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6" name="Freeform 748"/>
            <p:cNvSpPr/>
            <p:nvPr/>
          </p:nvSpPr>
          <p:spPr bwMode="auto">
            <a:xfrm>
              <a:off x="1727948" y="3229347"/>
              <a:ext cx="12287" cy="30720"/>
            </a:xfrm>
            <a:custGeom>
              <a:avLst/>
              <a:gdLst>
                <a:gd name="T0" fmla="*/ 3 w 5"/>
                <a:gd name="T1" fmla="*/ 7 h 10"/>
                <a:gd name="T2" fmla="*/ 3 w 5"/>
                <a:gd name="T3" fmla="*/ 7 h 10"/>
                <a:gd name="T4" fmla="*/ 2 w 5"/>
                <a:gd name="T5" fmla="*/ 6 h 10"/>
                <a:gd name="T6" fmla="*/ 2 w 5"/>
                <a:gd name="T7" fmla="*/ 7 h 10"/>
                <a:gd name="T8" fmla="*/ 2 w 5"/>
                <a:gd name="T9" fmla="*/ 7 h 10"/>
                <a:gd name="T10" fmla="*/ 0 w 5"/>
                <a:gd name="T11" fmla="*/ 6 h 10"/>
                <a:gd name="T12" fmla="*/ 0 w 5"/>
                <a:gd name="T13" fmla="*/ 6 h 10"/>
                <a:gd name="T14" fmla="*/ 2 w 5"/>
                <a:gd name="T15" fmla="*/ 4 h 10"/>
                <a:gd name="T16" fmla="*/ 2 w 5"/>
                <a:gd name="T17" fmla="*/ 3 h 10"/>
                <a:gd name="T18" fmla="*/ 2 w 5"/>
                <a:gd name="T19" fmla="*/ 1 h 10"/>
                <a:gd name="T20" fmla="*/ 2 w 5"/>
                <a:gd name="T21" fmla="*/ 0 h 10"/>
                <a:gd name="T22" fmla="*/ 2 w 5"/>
                <a:gd name="T23" fmla="*/ 0 h 10"/>
                <a:gd name="T24" fmla="*/ 3 w 5"/>
                <a:gd name="T25" fmla="*/ 3 h 10"/>
                <a:gd name="T26" fmla="*/ 5 w 5"/>
                <a:gd name="T27" fmla="*/ 7 h 10"/>
                <a:gd name="T28" fmla="*/ 5 w 5"/>
                <a:gd name="T29" fmla="*/ 7 h 10"/>
                <a:gd name="T30" fmla="*/ 3 w 5"/>
                <a:gd name="T31" fmla="*/ 10 h 10"/>
                <a:gd name="T32" fmla="*/ 3 w 5"/>
                <a:gd name="T33" fmla="*/ 10 h 10"/>
                <a:gd name="T34" fmla="*/ 3 w 5"/>
                <a:gd name="T35"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0">
                  <a:moveTo>
                    <a:pt x="3" y="7"/>
                  </a:moveTo>
                  <a:lnTo>
                    <a:pt x="3" y="7"/>
                  </a:lnTo>
                  <a:lnTo>
                    <a:pt x="2" y="6"/>
                  </a:lnTo>
                  <a:lnTo>
                    <a:pt x="2" y="7"/>
                  </a:lnTo>
                  <a:lnTo>
                    <a:pt x="2" y="7"/>
                  </a:lnTo>
                  <a:lnTo>
                    <a:pt x="0" y="6"/>
                  </a:lnTo>
                  <a:lnTo>
                    <a:pt x="0" y="6"/>
                  </a:lnTo>
                  <a:lnTo>
                    <a:pt x="2" y="4"/>
                  </a:lnTo>
                  <a:lnTo>
                    <a:pt x="2" y="3"/>
                  </a:lnTo>
                  <a:lnTo>
                    <a:pt x="2" y="1"/>
                  </a:lnTo>
                  <a:lnTo>
                    <a:pt x="2" y="0"/>
                  </a:lnTo>
                  <a:lnTo>
                    <a:pt x="2" y="0"/>
                  </a:lnTo>
                  <a:lnTo>
                    <a:pt x="3" y="3"/>
                  </a:lnTo>
                  <a:lnTo>
                    <a:pt x="5" y="7"/>
                  </a:lnTo>
                  <a:lnTo>
                    <a:pt x="5" y="7"/>
                  </a:lnTo>
                  <a:lnTo>
                    <a:pt x="3" y="10"/>
                  </a:lnTo>
                  <a:lnTo>
                    <a:pt x="3" y="10"/>
                  </a:lnTo>
                  <a:lnTo>
                    <a:pt x="3"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7" name="Freeform 749"/>
            <p:cNvSpPr/>
            <p:nvPr/>
          </p:nvSpPr>
          <p:spPr bwMode="auto">
            <a:xfrm>
              <a:off x="2323871" y="2535130"/>
              <a:ext cx="12287" cy="18433"/>
            </a:xfrm>
            <a:custGeom>
              <a:avLst/>
              <a:gdLst>
                <a:gd name="T0" fmla="*/ 3 w 5"/>
                <a:gd name="T1" fmla="*/ 0 h 6"/>
                <a:gd name="T2" fmla="*/ 3 w 5"/>
                <a:gd name="T3" fmla="*/ 0 h 6"/>
                <a:gd name="T4" fmla="*/ 5 w 5"/>
                <a:gd name="T5" fmla="*/ 0 h 6"/>
                <a:gd name="T6" fmla="*/ 3 w 5"/>
                <a:gd name="T7" fmla="*/ 1 h 6"/>
                <a:gd name="T8" fmla="*/ 2 w 5"/>
                <a:gd name="T9" fmla="*/ 4 h 6"/>
                <a:gd name="T10" fmla="*/ 0 w 5"/>
                <a:gd name="T11" fmla="*/ 6 h 6"/>
                <a:gd name="T12" fmla="*/ 0 w 5"/>
                <a:gd name="T13" fmla="*/ 6 h 6"/>
                <a:gd name="T14" fmla="*/ 2 w 5"/>
                <a:gd name="T15" fmla="*/ 1 h 6"/>
                <a:gd name="T16" fmla="*/ 2 w 5"/>
                <a:gd name="T17" fmla="*/ 0 h 6"/>
                <a:gd name="T18" fmla="*/ 3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3" y="0"/>
                  </a:moveTo>
                  <a:lnTo>
                    <a:pt x="3" y="0"/>
                  </a:lnTo>
                  <a:lnTo>
                    <a:pt x="5" y="0"/>
                  </a:lnTo>
                  <a:lnTo>
                    <a:pt x="3" y="1"/>
                  </a:lnTo>
                  <a:lnTo>
                    <a:pt x="2" y="4"/>
                  </a:lnTo>
                  <a:lnTo>
                    <a:pt x="0" y="6"/>
                  </a:lnTo>
                  <a:lnTo>
                    <a:pt x="0" y="6"/>
                  </a:lnTo>
                  <a:lnTo>
                    <a:pt x="2" y="1"/>
                  </a:lnTo>
                  <a:lnTo>
                    <a:pt x="2" y="0"/>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8" name="Freeform 750"/>
            <p:cNvSpPr/>
            <p:nvPr/>
          </p:nvSpPr>
          <p:spPr bwMode="auto">
            <a:xfrm>
              <a:off x="2188713" y="2602708"/>
              <a:ext cx="12287" cy="24574"/>
            </a:xfrm>
            <a:custGeom>
              <a:avLst/>
              <a:gdLst>
                <a:gd name="T0" fmla="*/ 6 w 6"/>
                <a:gd name="T1" fmla="*/ 0 h 9"/>
                <a:gd name="T2" fmla="*/ 6 w 6"/>
                <a:gd name="T3" fmla="*/ 0 h 9"/>
                <a:gd name="T4" fmla="*/ 4 w 6"/>
                <a:gd name="T5" fmla="*/ 5 h 9"/>
                <a:gd name="T6" fmla="*/ 4 w 6"/>
                <a:gd name="T7" fmla="*/ 5 h 9"/>
                <a:gd name="T8" fmla="*/ 1 w 6"/>
                <a:gd name="T9" fmla="*/ 7 h 9"/>
                <a:gd name="T10" fmla="*/ 1 w 6"/>
                <a:gd name="T11" fmla="*/ 7 h 9"/>
                <a:gd name="T12" fmla="*/ 0 w 6"/>
                <a:gd name="T13" fmla="*/ 9 h 9"/>
                <a:gd name="T14" fmla="*/ 0 w 6"/>
                <a:gd name="T15" fmla="*/ 9 h 9"/>
                <a:gd name="T16" fmla="*/ 0 w 6"/>
                <a:gd name="T17" fmla="*/ 9 h 9"/>
                <a:gd name="T18" fmla="*/ 3 w 6"/>
                <a:gd name="T19" fmla="*/ 5 h 9"/>
                <a:gd name="T20" fmla="*/ 6 w 6"/>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6" y="0"/>
                  </a:moveTo>
                  <a:lnTo>
                    <a:pt x="6" y="0"/>
                  </a:lnTo>
                  <a:lnTo>
                    <a:pt x="4" y="5"/>
                  </a:lnTo>
                  <a:lnTo>
                    <a:pt x="4" y="5"/>
                  </a:lnTo>
                  <a:lnTo>
                    <a:pt x="1" y="7"/>
                  </a:lnTo>
                  <a:lnTo>
                    <a:pt x="1" y="7"/>
                  </a:lnTo>
                  <a:lnTo>
                    <a:pt x="0" y="9"/>
                  </a:lnTo>
                  <a:lnTo>
                    <a:pt x="0" y="9"/>
                  </a:lnTo>
                  <a:lnTo>
                    <a:pt x="0" y="9"/>
                  </a:lnTo>
                  <a:lnTo>
                    <a:pt x="3" y="5"/>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9" name="Freeform 751"/>
            <p:cNvSpPr/>
            <p:nvPr/>
          </p:nvSpPr>
          <p:spPr bwMode="auto">
            <a:xfrm>
              <a:off x="1691087" y="3278494"/>
              <a:ext cx="6145" cy="24574"/>
            </a:xfrm>
            <a:custGeom>
              <a:avLst/>
              <a:gdLst>
                <a:gd name="T0" fmla="*/ 1 w 1"/>
                <a:gd name="T1" fmla="*/ 0 h 7"/>
                <a:gd name="T2" fmla="*/ 1 w 1"/>
                <a:gd name="T3" fmla="*/ 0 h 7"/>
                <a:gd name="T4" fmla="*/ 1 w 1"/>
                <a:gd name="T5" fmla="*/ 5 h 7"/>
                <a:gd name="T6" fmla="*/ 1 w 1"/>
                <a:gd name="T7" fmla="*/ 5 h 7"/>
                <a:gd name="T8" fmla="*/ 0 w 1"/>
                <a:gd name="T9" fmla="*/ 7 h 7"/>
                <a:gd name="T10" fmla="*/ 0 w 1"/>
                <a:gd name="T11" fmla="*/ 7 h 7"/>
                <a:gd name="T12" fmla="*/ 0 w 1"/>
                <a:gd name="T13" fmla="*/ 7 h 7"/>
                <a:gd name="T14" fmla="*/ 0 w 1"/>
                <a:gd name="T15" fmla="*/ 7 h 7"/>
                <a:gd name="T16" fmla="*/ 0 w 1"/>
                <a:gd name="T17" fmla="*/ 4 h 7"/>
                <a:gd name="T18" fmla="*/ 1 w 1"/>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7">
                  <a:moveTo>
                    <a:pt x="1" y="0"/>
                  </a:moveTo>
                  <a:lnTo>
                    <a:pt x="1" y="0"/>
                  </a:lnTo>
                  <a:lnTo>
                    <a:pt x="1" y="5"/>
                  </a:lnTo>
                  <a:lnTo>
                    <a:pt x="1" y="5"/>
                  </a:lnTo>
                  <a:lnTo>
                    <a:pt x="0" y="7"/>
                  </a:lnTo>
                  <a:lnTo>
                    <a:pt x="0" y="7"/>
                  </a:lnTo>
                  <a:lnTo>
                    <a:pt x="0" y="7"/>
                  </a:lnTo>
                  <a:lnTo>
                    <a:pt x="0" y="7"/>
                  </a:lnTo>
                  <a:lnTo>
                    <a:pt x="0" y="4"/>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0" name="Freeform 752"/>
            <p:cNvSpPr/>
            <p:nvPr/>
          </p:nvSpPr>
          <p:spPr bwMode="auto">
            <a:xfrm>
              <a:off x="1727948" y="3155624"/>
              <a:ext cx="12287" cy="43007"/>
            </a:xfrm>
            <a:custGeom>
              <a:avLst/>
              <a:gdLst>
                <a:gd name="T0" fmla="*/ 1 w 3"/>
                <a:gd name="T1" fmla="*/ 2 h 16"/>
                <a:gd name="T2" fmla="*/ 1 w 3"/>
                <a:gd name="T3" fmla="*/ 2 h 16"/>
                <a:gd name="T4" fmla="*/ 1 w 3"/>
                <a:gd name="T5" fmla="*/ 3 h 16"/>
                <a:gd name="T6" fmla="*/ 3 w 3"/>
                <a:gd name="T7" fmla="*/ 0 h 16"/>
                <a:gd name="T8" fmla="*/ 3 w 3"/>
                <a:gd name="T9" fmla="*/ 0 h 16"/>
                <a:gd name="T10" fmla="*/ 3 w 3"/>
                <a:gd name="T11" fmla="*/ 7 h 16"/>
                <a:gd name="T12" fmla="*/ 3 w 3"/>
                <a:gd name="T13" fmla="*/ 7 h 16"/>
                <a:gd name="T14" fmla="*/ 0 w 3"/>
                <a:gd name="T15" fmla="*/ 16 h 16"/>
                <a:gd name="T16" fmla="*/ 0 w 3"/>
                <a:gd name="T17" fmla="*/ 16 h 16"/>
                <a:gd name="T18" fmla="*/ 1 w 3"/>
                <a:gd name="T1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6">
                  <a:moveTo>
                    <a:pt x="1" y="2"/>
                  </a:moveTo>
                  <a:lnTo>
                    <a:pt x="1" y="2"/>
                  </a:lnTo>
                  <a:lnTo>
                    <a:pt x="1" y="3"/>
                  </a:lnTo>
                  <a:lnTo>
                    <a:pt x="3" y="0"/>
                  </a:lnTo>
                  <a:lnTo>
                    <a:pt x="3" y="0"/>
                  </a:lnTo>
                  <a:lnTo>
                    <a:pt x="3" y="7"/>
                  </a:lnTo>
                  <a:lnTo>
                    <a:pt x="3" y="7"/>
                  </a:lnTo>
                  <a:lnTo>
                    <a:pt x="0" y="16"/>
                  </a:lnTo>
                  <a:lnTo>
                    <a:pt x="0" y="16"/>
                  </a:lnTo>
                  <a:lnTo>
                    <a:pt x="1"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1" name="Freeform 753"/>
            <p:cNvSpPr/>
            <p:nvPr/>
          </p:nvSpPr>
          <p:spPr bwMode="auto">
            <a:xfrm>
              <a:off x="1684945" y="3229347"/>
              <a:ext cx="12287" cy="49148"/>
            </a:xfrm>
            <a:custGeom>
              <a:avLst/>
              <a:gdLst>
                <a:gd name="T0" fmla="*/ 3 w 6"/>
                <a:gd name="T1" fmla="*/ 14 h 16"/>
                <a:gd name="T2" fmla="*/ 3 w 6"/>
                <a:gd name="T3" fmla="*/ 14 h 16"/>
                <a:gd name="T4" fmla="*/ 1 w 6"/>
                <a:gd name="T5" fmla="*/ 11 h 16"/>
                <a:gd name="T6" fmla="*/ 0 w 6"/>
                <a:gd name="T7" fmla="*/ 11 h 16"/>
                <a:gd name="T8" fmla="*/ 0 w 6"/>
                <a:gd name="T9" fmla="*/ 11 h 16"/>
                <a:gd name="T10" fmla="*/ 1 w 6"/>
                <a:gd name="T11" fmla="*/ 8 h 16"/>
                <a:gd name="T12" fmla="*/ 1 w 6"/>
                <a:gd name="T13" fmla="*/ 6 h 16"/>
                <a:gd name="T14" fmla="*/ 1 w 6"/>
                <a:gd name="T15" fmla="*/ 6 h 16"/>
                <a:gd name="T16" fmla="*/ 3 w 6"/>
                <a:gd name="T17" fmla="*/ 8 h 16"/>
                <a:gd name="T18" fmla="*/ 4 w 6"/>
                <a:gd name="T19" fmla="*/ 6 h 16"/>
                <a:gd name="T20" fmla="*/ 4 w 6"/>
                <a:gd name="T21" fmla="*/ 1 h 16"/>
                <a:gd name="T22" fmla="*/ 4 w 6"/>
                <a:gd name="T23" fmla="*/ 0 h 16"/>
                <a:gd name="T24" fmla="*/ 6 w 6"/>
                <a:gd name="T25" fmla="*/ 0 h 16"/>
                <a:gd name="T26" fmla="*/ 6 w 6"/>
                <a:gd name="T27" fmla="*/ 0 h 16"/>
                <a:gd name="T28" fmla="*/ 4 w 6"/>
                <a:gd name="T29" fmla="*/ 10 h 16"/>
                <a:gd name="T30" fmla="*/ 4 w 6"/>
                <a:gd name="T31" fmla="*/ 14 h 16"/>
                <a:gd name="T32" fmla="*/ 3 w 6"/>
                <a:gd name="T33" fmla="*/ 16 h 16"/>
                <a:gd name="T34" fmla="*/ 3 w 6"/>
                <a:gd name="T35" fmla="*/ 16 h 16"/>
                <a:gd name="T36" fmla="*/ 3 w 6"/>
                <a:gd name="T37"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6">
                  <a:moveTo>
                    <a:pt x="3" y="14"/>
                  </a:moveTo>
                  <a:lnTo>
                    <a:pt x="3" y="14"/>
                  </a:lnTo>
                  <a:lnTo>
                    <a:pt x="1" y="11"/>
                  </a:lnTo>
                  <a:lnTo>
                    <a:pt x="0" y="11"/>
                  </a:lnTo>
                  <a:lnTo>
                    <a:pt x="0" y="11"/>
                  </a:lnTo>
                  <a:lnTo>
                    <a:pt x="1" y="8"/>
                  </a:lnTo>
                  <a:lnTo>
                    <a:pt x="1" y="6"/>
                  </a:lnTo>
                  <a:lnTo>
                    <a:pt x="1" y="6"/>
                  </a:lnTo>
                  <a:lnTo>
                    <a:pt x="3" y="8"/>
                  </a:lnTo>
                  <a:lnTo>
                    <a:pt x="4" y="6"/>
                  </a:lnTo>
                  <a:lnTo>
                    <a:pt x="4" y="1"/>
                  </a:lnTo>
                  <a:lnTo>
                    <a:pt x="4" y="0"/>
                  </a:lnTo>
                  <a:lnTo>
                    <a:pt x="6" y="0"/>
                  </a:lnTo>
                  <a:lnTo>
                    <a:pt x="6" y="0"/>
                  </a:lnTo>
                  <a:lnTo>
                    <a:pt x="4" y="10"/>
                  </a:lnTo>
                  <a:lnTo>
                    <a:pt x="4" y="14"/>
                  </a:lnTo>
                  <a:lnTo>
                    <a:pt x="3" y="16"/>
                  </a:lnTo>
                  <a:lnTo>
                    <a:pt x="3" y="16"/>
                  </a:lnTo>
                  <a:lnTo>
                    <a:pt x="3" y="1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2" name="Freeform 754"/>
            <p:cNvSpPr/>
            <p:nvPr/>
          </p:nvSpPr>
          <p:spPr bwMode="auto">
            <a:xfrm>
              <a:off x="1740235" y="3094190"/>
              <a:ext cx="18433" cy="43007"/>
            </a:xfrm>
            <a:custGeom>
              <a:avLst/>
              <a:gdLst>
                <a:gd name="T0" fmla="*/ 4 w 4"/>
                <a:gd name="T1" fmla="*/ 1 h 12"/>
                <a:gd name="T2" fmla="*/ 4 w 4"/>
                <a:gd name="T3" fmla="*/ 1 h 12"/>
                <a:gd name="T4" fmla="*/ 3 w 4"/>
                <a:gd name="T5" fmla="*/ 2 h 12"/>
                <a:gd name="T6" fmla="*/ 3 w 4"/>
                <a:gd name="T7" fmla="*/ 5 h 12"/>
                <a:gd name="T8" fmla="*/ 1 w 4"/>
                <a:gd name="T9" fmla="*/ 12 h 12"/>
                <a:gd name="T10" fmla="*/ 1 w 4"/>
                <a:gd name="T11" fmla="*/ 12 h 12"/>
                <a:gd name="T12" fmla="*/ 0 w 4"/>
                <a:gd name="T13" fmla="*/ 8 h 12"/>
                <a:gd name="T14" fmla="*/ 1 w 4"/>
                <a:gd name="T15" fmla="*/ 4 h 12"/>
                <a:gd name="T16" fmla="*/ 3 w 4"/>
                <a:gd name="T17" fmla="*/ 1 h 12"/>
                <a:gd name="T18" fmla="*/ 4 w 4"/>
                <a:gd name="T19" fmla="*/ 0 h 12"/>
                <a:gd name="T20" fmla="*/ 4 w 4"/>
                <a:gd name="T2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2">
                  <a:moveTo>
                    <a:pt x="4" y="1"/>
                  </a:moveTo>
                  <a:lnTo>
                    <a:pt x="4" y="1"/>
                  </a:lnTo>
                  <a:lnTo>
                    <a:pt x="3" y="2"/>
                  </a:lnTo>
                  <a:lnTo>
                    <a:pt x="3" y="5"/>
                  </a:lnTo>
                  <a:lnTo>
                    <a:pt x="1" y="12"/>
                  </a:lnTo>
                  <a:lnTo>
                    <a:pt x="1" y="12"/>
                  </a:lnTo>
                  <a:lnTo>
                    <a:pt x="0" y="8"/>
                  </a:lnTo>
                  <a:lnTo>
                    <a:pt x="1" y="4"/>
                  </a:lnTo>
                  <a:lnTo>
                    <a:pt x="3" y="1"/>
                  </a:lnTo>
                  <a:lnTo>
                    <a:pt x="4" y="0"/>
                  </a:lnTo>
                  <a:lnTo>
                    <a:pt x="4"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3" name="Freeform 755"/>
            <p:cNvSpPr/>
            <p:nvPr/>
          </p:nvSpPr>
          <p:spPr bwMode="auto">
            <a:xfrm>
              <a:off x="1764810" y="3045040"/>
              <a:ext cx="12287" cy="49148"/>
            </a:xfrm>
            <a:custGeom>
              <a:avLst/>
              <a:gdLst>
                <a:gd name="T0" fmla="*/ 0 w 4"/>
                <a:gd name="T1" fmla="*/ 10 h 16"/>
                <a:gd name="T2" fmla="*/ 0 w 4"/>
                <a:gd name="T3" fmla="*/ 10 h 16"/>
                <a:gd name="T4" fmla="*/ 2 w 4"/>
                <a:gd name="T5" fmla="*/ 9 h 16"/>
                <a:gd name="T6" fmla="*/ 2 w 4"/>
                <a:gd name="T7" fmla="*/ 8 h 16"/>
                <a:gd name="T8" fmla="*/ 2 w 4"/>
                <a:gd name="T9" fmla="*/ 8 h 16"/>
                <a:gd name="T10" fmla="*/ 3 w 4"/>
                <a:gd name="T11" fmla="*/ 6 h 16"/>
                <a:gd name="T12" fmla="*/ 3 w 4"/>
                <a:gd name="T13" fmla="*/ 6 h 16"/>
                <a:gd name="T14" fmla="*/ 2 w 4"/>
                <a:gd name="T15" fmla="*/ 6 h 16"/>
                <a:gd name="T16" fmla="*/ 2 w 4"/>
                <a:gd name="T17" fmla="*/ 5 h 16"/>
                <a:gd name="T18" fmla="*/ 2 w 4"/>
                <a:gd name="T19" fmla="*/ 5 h 16"/>
                <a:gd name="T20" fmla="*/ 0 w 4"/>
                <a:gd name="T21" fmla="*/ 5 h 16"/>
                <a:gd name="T22" fmla="*/ 0 w 4"/>
                <a:gd name="T23" fmla="*/ 5 h 16"/>
                <a:gd name="T24" fmla="*/ 3 w 4"/>
                <a:gd name="T25" fmla="*/ 0 h 16"/>
                <a:gd name="T26" fmla="*/ 3 w 4"/>
                <a:gd name="T27" fmla="*/ 0 h 16"/>
                <a:gd name="T28" fmla="*/ 3 w 4"/>
                <a:gd name="T29" fmla="*/ 3 h 16"/>
                <a:gd name="T30" fmla="*/ 3 w 4"/>
                <a:gd name="T31" fmla="*/ 3 h 16"/>
                <a:gd name="T32" fmla="*/ 4 w 4"/>
                <a:gd name="T33" fmla="*/ 2 h 16"/>
                <a:gd name="T34" fmla="*/ 4 w 4"/>
                <a:gd name="T35" fmla="*/ 2 h 16"/>
                <a:gd name="T36" fmla="*/ 4 w 4"/>
                <a:gd name="T37" fmla="*/ 6 h 16"/>
                <a:gd name="T38" fmla="*/ 3 w 4"/>
                <a:gd name="T39" fmla="*/ 10 h 16"/>
                <a:gd name="T40" fmla="*/ 3 w 4"/>
                <a:gd name="T41" fmla="*/ 10 h 16"/>
                <a:gd name="T42" fmla="*/ 3 w 4"/>
                <a:gd name="T43" fmla="*/ 9 h 16"/>
                <a:gd name="T44" fmla="*/ 2 w 4"/>
                <a:gd name="T45" fmla="*/ 10 h 16"/>
                <a:gd name="T46" fmla="*/ 2 w 4"/>
                <a:gd name="T47" fmla="*/ 10 h 16"/>
                <a:gd name="T48" fmla="*/ 3 w 4"/>
                <a:gd name="T49" fmla="*/ 13 h 16"/>
                <a:gd name="T50" fmla="*/ 3 w 4"/>
                <a:gd name="T51" fmla="*/ 15 h 16"/>
                <a:gd name="T52" fmla="*/ 3 w 4"/>
                <a:gd name="T53" fmla="*/ 15 h 16"/>
                <a:gd name="T54" fmla="*/ 2 w 4"/>
                <a:gd name="T55" fmla="*/ 16 h 16"/>
                <a:gd name="T56" fmla="*/ 2 w 4"/>
                <a:gd name="T57" fmla="*/ 15 h 16"/>
                <a:gd name="T58" fmla="*/ 0 w 4"/>
                <a:gd name="T59"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16">
                  <a:moveTo>
                    <a:pt x="0" y="10"/>
                  </a:moveTo>
                  <a:lnTo>
                    <a:pt x="0" y="10"/>
                  </a:lnTo>
                  <a:lnTo>
                    <a:pt x="2" y="9"/>
                  </a:lnTo>
                  <a:lnTo>
                    <a:pt x="2" y="8"/>
                  </a:lnTo>
                  <a:lnTo>
                    <a:pt x="2" y="8"/>
                  </a:lnTo>
                  <a:lnTo>
                    <a:pt x="3" y="6"/>
                  </a:lnTo>
                  <a:lnTo>
                    <a:pt x="3" y="6"/>
                  </a:lnTo>
                  <a:lnTo>
                    <a:pt x="2" y="6"/>
                  </a:lnTo>
                  <a:lnTo>
                    <a:pt x="2" y="5"/>
                  </a:lnTo>
                  <a:lnTo>
                    <a:pt x="2" y="5"/>
                  </a:lnTo>
                  <a:lnTo>
                    <a:pt x="0" y="5"/>
                  </a:lnTo>
                  <a:lnTo>
                    <a:pt x="0" y="5"/>
                  </a:lnTo>
                  <a:lnTo>
                    <a:pt x="3" y="0"/>
                  </a:lnTo>
                  <a:lnTo>
                    <a:pt x="3" y="0"/>
                  </a:lnTo>
                  <a:lnTo>
                    <a:pt x="3" y="3"/>
                  </a:lnTo>
                  <a:lnTo>
                    <a:pt x="3" y="3"/>
                  </a:lnTo>
                  <a:lnTo>
                    <a:pt x="4" y="2"/>
                  </a:lnTo>
                  <a:lnTo>
                    <a:pt x="4" y="2"/>
                  </a:lnTo>
                  <a:lnTo>
                    <a:pt x="4" y="6"/>
                  </a:lnTo>
                  <a:lnTo>
                    <a:pt x="3" y="10"/>
                  </a:lnTo>
                  <a:lnTo>
                    <a:pt x="3" y="10"/>
                  </a:lnTo>
                  <a:lnTo>
                    <a:pt x="3" y="9"/>
                  </a:lnTo>
                  <a:lnTo>
                    <a:pt x="2" y="10"/>
                  </a:lnTo>
                  <a:lnTo>
                    <a:pt x="2" y="10"/>
                  </a:lnTo>
                  <a:lnTo>
                    <a:pt x="3" y="13"/>
                  </a:lnTo>
                  <a:lnTo>
                    <a:pt x="3" y="15"/>
                  </a:lnTo>
                  <a:lnTo>
                    <a:pt x="3" y="15"/>
                  </a:lnTo>
                  <a:lnTo>
                    <a:pt x="2" y="16"/>
                  </a:lnTo>
                  <a:lnTo>
                    <a:pt x="2" y="15"/>
                  </a:lnTo>
                  <a:lnTo>
                    <a:pt x="0"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4" name="Freeform 756"/>
            <p:cNvSpPr/>
            <p:nvPr/>
          </p:nvSpPr>
          <p:spPr bwMode="auto">
            <a:xfrm>
              <a:off x="1801670" y="2989751"/>
              <a:ext cx="12287" cy="43007"/>
            </a:xfrm>
            <a:custGeom>
              <a:avLst/>
              <a:gdLst>
                <a:gd name="T0" fmla="*/ 4 w 4"/>
                <a:gd name="T1" fmla="*/ 0 h 15"/>
                <a:gd name="T2" fmla="*/ 4 w 4"/>
                <a:gd name="T3" fmla="*/ 0 h 15"/>
                <a:gd name="T4" fmla="*/ 2 w 4"/>
                <a:gd name="T5" fmla="*/ 7 h 15"/>
                <a:gd name="T6" fmla="*/ 0 w 4"/>
                <a:gd name="T7" fmla="*/ 15 h 15"/>
                <a:gd name="T8" fmla="*/ 0 w 4"/>
                <a:gd name="T9" fmla="*/ 15 h 15"/>
                <a:gd name="T10" fmla="*/ 1 w 4"/>
                <a:gd name="T11" fmla="*/ 7 h 15"/>
                <a:gd name="T12" fmla="*/ 4 w 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4" h="15">
                  <a:moveTo>
                    <a:pt x="4" y="0"/>
                  </a:moveTo>
                  <a:lnTo>
                    <a:pt x="4" y="0"/>
                  </a:lnTo>
                  <a:lnTo>
                    <a:pt x="2" y="7"/>
                  </a:lnTo>
                  <a:lnTo>
                    <a:pt x="0" y="15"/>
                  </a:lnTo>
                  <a:lnTo>
                    <a:pt x="0" y="15"/>
                  </a:lnTo>
                  <a:lnTo>
                    <a:pt x="1" y="7"/>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5" name="Freeform 757"/>
            <p:cNvSpPr/>
            <p:nvPr/>
          </p:nvSpPr>
          <p:spPr bwMode="auto">
            <a:xfrm>
              <a:off x="1697232" y="3167911"/>
              <a:ext cx="12287" cy="49148"/>
            </a:xfrm>
            <a:custGeom>
              <a:avLst/>
              <a:gdLst>
                <a:gd name="T0" fmla="*/ 0 w 5"/>
                <a:gd name="T1" fmla="*/ 16 h 16"/>
                <a:gd name="T2" fmla="*/ 0 w 5"/>
                <a:gd name="T3" fmla="*/ 16 h 16"/>
                <a:gd name="T4" fmla="*/ 3 w 5"/>
                <a:gd name="T5" fmla="*/ 8 h 16"/>
                <a:gd name="T6" fmla="*/ 5 w 5"/>
                <a:gd name="T7" fmla="*/ 0 h 16"/>
                <a:gd name="T8" fmla="*/ 5 w 5"/>
                <a:gd name="T9" fmla="*/ 0 h 16"/>
                <a:gd name="T10" fmla="*/ 5 w 5"/>
                <a:gd name="T11" fmla="*/ 6 h 16"/>
                <a:gd name="T12" fmla="*/ 3 w 5"/>
                <a:gd name="T13" fmla="*/ 14 h 16"/>
                <a:gd name="T14" fmla="*/ 3 w 5"/>
                <a:gd name="T15" fmla="*/ 14 h 16"/>
                <a:gd name="T16" fmla="*/ 2 w 5"/>
                <a:gd name="T17" fmla="*/ 14 h 16"/>
                <a:gd name="T18" fmla="*/ 2 w 5"/>
                <a:gd name="T19" fmla="*/ 14 h 16"/>
                <a:gd name="T20" fmla="*/ 0 w 5"/>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16">
                  <a:moveTo>
                    <a:pt x="0" y="16"/>
                  </a:moveTo>
                  <a:lnTo>
                    <a:pt x="0" y="16"/>
                  </a:lnTo>
                  <a:lnTo>
                    <a:pt x="3" y="8"/>
                  </a:lnTo>
                  <a:lnTo>
                    <a:pt x="5" y="0"/>
                  </a:lnTo>
                  <a:lnTo>
                    <a:pt x="5" y="0"/>
                  </a:lnTo>
                  <a:lnTo>
                    <a:pt x="5" y="6"/>
                  </a:lnTo>
                  <a:lnTo>
                    <a:pt x="3" y="14"/>
                  </a:lnTo>
                  <a:lnTo>
                    <a:pt x="3" y="14"/>
                  </a:lnTo>
                  <a:lnTo>
                    <a:pt x="2" y="14"/>
                  </a:lnTo>
                  <a:lnTo>
                    <a:pt x="2" y="14"/>
                  </a:lnTo>
                  <a:lnTo>
                    <a:pt x="0" y="1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6" name="Freeform 758"/>
            <p:cNvSpPr/>
            <p:nvPr/>
          </p:nvSpPr>
          <p:spPr bwMode="auto">
            <a:xfrm>
              <a:off x="1955260" y="2762438"/>
              <a:ext cx="18433" cy="43007"/>
            </a:xfrm>
            <a:custGeom>
              <a:avLst/>
              <a:gdLst>
                <a:gd name="T0" fmla="*/ 6 w 6"/>
                <a:gd name="T1" fmla="*/ 0 h 14"/>
                <a:gd name="T2" fmla="*/ 6 w 6"/>
                <a:gd name="T3" fmla="*/ 0 h 14"/>
                <a:gd name="T4" fmla="*/ 6 w 6"/>
                <a:gd name="T5" fmla="*/ 4 h 14"/>
                <a:gd name="T6" fmla="*/ 6 w 6"/>
                <a:gd name="T7" fmla="*/ 4 h 14"/>
                <a:gd name="T8" fmla="*/ 3 w 6"/>
                <a:gd name="T9" fmla="*/ 9 h 14"/>
                <a:gd name="T10" fmla="*/ 3 w 6"/>
                <a:gd name="T11" fmla="*/ 13 h 14"/>
                <a:gd name="T12" fmla="*/ 3 w 6"/>
                <a:gd name="T13" fmla="*/ 13 h 14"/>
                <a:gd name="T14" fmla="*/ 0 w 6"/>
                <a:gd name="T15" fmla="*/ 14 h 14"/>
                <a:gd name="T16" fmla="*/ 0 w 6"/>
                <a:gd name="T17" fmla="*/ 14 h 14"/>
                <a:gd name="T18" fmla="*/ 3 w 6"/>
                <a:gd name="T19" fmla="*/ 7 h 14"/>
                <a:gd name="T20" fmla="*/ 6 w 6"/>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4">
                  <a:moveTo>
                    <a:pt x="6" y="0"/>
                  </a:moveTo>
                  <a:lnTo>
                    <a:pt x="6" y="0"/>
                  </a:lnTo>
                  <a:lnTo>
                    <a:pt x="6" y="4"/>
                  </a:lnTo>
                  <a:lnTo>
                    <a:pt x="6" y="4"/>
                  </a:lnTo>
                  <a:lnTo>
                    <a:pt x="3" y="9"/>
                  </a:lnTo>
                  <a:lnTo>
                    <a:pt x="3" y="13"/>
                  </a:lnTo>
                  <a:lnTo>
                    <a:pt x="3" y="13"/>
                  </a:lnTo>
                  <a:lnTo>
                    <a:pt x="0" y="14"/>
                  </a:lnTo>
                  <a:lnTo>
                    <a:pt x="0" y="14"/>
                  </a:lnTo>
                  <a:lnTo>
                    <a:pt x="3" y="7"/>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7" name="Freeform 759"/>
            <p:cNvSpPr/>
            <p:nvPr/>
          </p:nvSpPr>
          <p:spPr bwMode="auto">
            <a:xfrm>
              <a:off x="1709520" y="3149482"/>
              <a:ext cx="6145" cy="30720"/>
            </a:xfrm>
            <a:custGeom>
              <a:avLst/>
              <a:gdLst>
                <a:gd name="T0" fmla="*/ 2 w 2"/>
                <a:gd name="T1" fmla="*/ 0 h 10"/>
                <a:gd name="T2" fmla="*/ 2 w 2"/>
                <a:gd name="T3" fmla="*/ 0 h 10"/>
                <a:gd name="T4" fmla="*/ 1 w 2"/>
                <a:gd name="T5" fmla="*/ 4 h 10"/>
                <a:gd name="T6" fmla="*/ 0 w 2"/>
                <a:gd name="T7" fmla="*/ 10 h 10"/>
                <a:gd name="T8" fmla="*/ 0 w 2"/>
                <a:gd name="T9" fmla="*/ 10 h 10"/>
                <a:gd name="T10" fmla="*/ 1 w 2"/>
                <a:gd name="T11" fmla="*/ 3 h 10"/>
                <a:gd name="T12" fmla="*/ 1 w 2"/>
                <a:gd name="T13" fmla="*/ 0 h 10"/>
                <a:gd name="T14" fmla="*/ 2 w 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0">
                  <a:moveTo>
                    <a:pt x="2" y="0"/>
                  </a:moveTo>
                  <a:lnTo>
                    <a:pt x="2" y="0"/>
                  </a:lnTo>
                  <a:lnTo>
                    <a:pt x="1" y="4"/>
                  </a:lnTo>
                  <a:lnTo>
                    <a:pt x="0" y="10"/>
                  </a:lnTo>
                  <a:lnTo>
                    <a:pt x="0" y="10"/>
                  </a:lnTo>
                  <a:lnTo>
                    <a:pt x="1" y="3"/>
                  </a:lnTo>
                  <a:lnTo>
                    <a:pt x="1" y="0"/>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8" name="Freeform 760"/>
            <p:cNvSpPr/>
            <p:nvPr/>
          </p:nvSpPr>
          <p:spPr bwMode="auto">
            <a:xfrm>
              <a:off x="2262436" y="2485981"/>
              <a:ext cx="30720" cy="36861"/>
            </a:xfrm>
            <a:custGeom>
              <a:avLst/>
              <a:gdLst>
                <a:gd name="T0" fmla="*/ 10 w 10"/>
                <a:gd name="T1" fmla="*/ 0 h 12"/>
                <a:gd name="T2" fmla="*/ 10 w 10"/>
                <a:gd name="T3" fmla="*/ 0 h 12"/>
                <a:gd name="T4" fmla="*/ 4 w 10"/>
                <a:gd name="T5" fmla="*/ 6 h 12"/>
                <a:gd name="T6" fmla="*/ 0 w 10"/>
                <a:gd name="T7" fmla="*/ 12 h 12"/>
                <a:gd name="T8" fmla="*/ 0 w 10"/>
                <a:gd name="T9" fmla="*/ 12 h 12"/>
                <a:gd name="T10" fmla="*/ 0 w 10"/>
                <a:gd name="T11" fmla="*/ 10 h 12"/>
                <a:gd name="T12" fmla="*/ 3 w 10"/>
                <a:gd name="T13" fmla="*/ 6 h 12"/>
                <a:gd name="T14" fmla="*/ 10 w 10"/>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2">
                  <a:moveTo>
                    <a:pt x="10" y="0"/>
                  </a:moveTo>
                  <a:lnTo>
                    <a:pt x="10" y="0"/>
                  </a:lnTo>
                  <a:lnTo>
                    <a:pt x="4" y="6"/>
                  </a:lnTo>
                  <a:lnTo>
                    <a:pt x="0" y="12"/>
                  </a:lnTo>
                  <a:lnTo>
                    <a:pt x="0" y="12"/>
                  </a:lnTo>
                  <a:lnTo>
                    <a:pt x="0" y="10"/>
                  </a:lnTo>
                  <a:lnTo>
                    <a:pt x="3" y="6"/>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9" name="Freeform 761"/>
            <p:cNvSpPr/>
            <p:nvPr/>
          </p:nvSpPr>
          <p:spPr bwMode="auto">
            <a:xfrm>
              <a:off x="1672658" y="3075761"/>
              <a:ext cx="36861" cy="172019"/>
            </a:xfrm>
            <a:custGeom>
              <a:avLst/>
              <a:gdLst>
                <a:gd name="T0" fmla="*/ 2 w 12"/>
                <a:gd name="T1" fmla="*/ 44 h 54"/>
                <a:gd name="T2" fmla="*/ 2 w 12"/>
                <a:gd name="T3" fmla="*/ 44 h 54"/>
                <a:gd name="T4" fmla="*/ 0 w 12"/>
                <a:gd name="T5" fmla="*/ 43 h 54"/>
                <a:gd name="T6" fmla="*/ 0 w 12"/>
                <a:gd name="T7" fmla="*/ 40 h 54"/>
                <a:gd name="T8" fmla="*/ 0 w 12"/>
                <a:gd name="T9" fmla="*/ 40 h 54"/>
                <a:gd name="T10" fmla="*/ 2 w 12"/>
                <a:gd name="T11" fmla="*/ 31 h 54"/>
                <a:gd name="T12" fmla="*/ 2 w 12"/>
                <a:gd name="T13" fmla="*/ 31 h 54"/>
                <a:gd name="T14" fmla="*/ 3 w 12"/>
                <a:gd name="T15" fmla="*/ 31 h 54"/>
                <a:gd name="T16" fmla="*/ 3 w 12"/>
                <a:gd name="T17" fmla="*/ 31 h 54"/>
                <a:gd name="T18" fmla="*/ 4 w 12"/>
                <a:gd name="T19" fmla="*/ 33 h 54"/>
                <a:gd name="T20" fmla="*/ 4 w 12"/>
                <a:gd name="T21" fmla="*/ 33 h 54"/>
                <a:gd name="T22" fmla="*/ 4 w 12"/>
                <a:gd name="T23" fmla="*/ 24 h 54"/>
                <a:gd name="T24" fmla="*/ 4 w 12"/>
                <a:gd name="T25" fmla="*/ 17 h 54"/>
                <a:gd name="T26" fmla="*/ 4 w 12"/>
                <a:gd name="T27" fmla="*/ 17 h 54"/>
                <a:gd name="T28" fmla="*/ 9 w 12"/>
                <a:gd name="T29" fmla="*/ 10 h 54"/>
                <a:gd name="T30" fmla="*/ 12 w 12"/>
                <a:gd name="T31" fmla="*/ 0 h 54"/>
                <a:gd name="T32" fmla="*/ 12 w 12"/>
                <a:gd name="T33" fmla="*/ 0 h 54"/>
                <a:gd name="T34" fmla="*/ 12 w 12"/>
                <a:gd name="T35" fmla="*/ 4 h 54"/>
                <a:gd name="T36" fmla="*/ 10 w 12"/>
                <a:gd name="T37" fmla="*/ 11 h 54"/>
                <a:gd name="T38" fmla="*/ 10 w 12"/>
                <a:gd name="T39" fmla="*/ 11 h 54"/>
                <a:gd name="T40" fmla="*/ 9 w 12"/>
                <a:gd name="T41" fmla="*/ 17 h 54"/>
                <a:gd name="T42" fmla="*/ 9 w 12"/>
                <a:gd name="T43" fmla="*/ 17 h 54"/>
                <a:gd name="T44" fmla="*/ 7 w 12"/>
                <a:gd name="T45" fmla="*/ 23 h 54"/>
                <a:gd name="T46" fmla="*/ 7 w 12"/>
                <a:gd name="T47" fmla="*/ 23 h 54"/>
                <a:gd name="T48" fmla="*/ 7 w 12"/>
                <a:gd name="T49" fmla="*/ 21 h 54"/>
                <a:gd name="T50" fmla="*/ 9 w 12"/>
                <a:gd name="T51" fmla="*/ 23 h 54"/>
                <a:gd name="T52" fmla="*/ 9 w 12"/>
                <a:gd name="T53" fmla="*/ 23 h 54"/>
                <a:gd name="T54" fmla="*/ 7 w 12"/>
                <a:gd name="T55" fmla="*/ 28 h 54"/>
                <a:gd name="T56" fmla="*/ 6 w 12"/>
                <a:gd name="T57" fmla="*/ 30 h 54"/>
                <a:gd name="T58" fmla="*/ 6 w 12"/>
                <a:gd name="T59" fmla="*/ 27 h 54"/>
                <a:gd name="T60" fmla="*/ 6 w 12"/>
                <a:gd name="T61" fmla="*/ 27 h 54"/>
                <a:gd name="T62" fmla="*/ 4 w 12"/>
                <a:gd name="T63" fmla="*/ 41 h 54"/>
                <a:gd name="T64" fmla="*/ 4 w 12"/>
                <a:gd name="T65" fmla="*/ 41 h 54"/>
                <a:gd name="T66" fmla="*/ 3 w 12"/>
                <a:gd name="T67" fmla="*/ 48 h 54"/>
                <a:gd name="T68" fmla="*/ 0 w 12"/>
                <a:gd name="T69" fmla="*/ 54 h 54"/>
                <a:gd name="T70" fmla="*/ 0 w 12"/>
                <a:gd name="T71" fmla="*/ 54 h 54"/>
                <a:gd name="T72" fmla="*/ 2 w 12"/>
                <a:gd name="T73" fmla="*/ 48 h 54"/>
                <a:gd name="T74" fmla="*/ 2 w 12"/>
                <a:gd name="T75"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 h="54">
                  <a:moveTo>
                    <a:pt x="2" y="44"/>
                  </a:moveTo>
                  <a:lnTo>
                    <a:pt x="2" y="44"/>
                  </a:lnTo>
                  <a:lnTo>
                    <a:pt x="0" y="43"/>
                  </a:lnTo>
                  <a:lnTo>
                    <a:pt x="0" y="40"/>
                  </a:lnTo>
                  <a:lnTo>
                    <a:pt x="0" y="40"/>
                  </a:lnTo>
                  <a:lnTo>
                    <a:pt x="2" y="31"/>
                  </a:lnTo>
                  <a:lnTo>
                    <a:pt x="2" y="31"/>
                  </a:lnTo>
                  <a:lnTo>
                    <a:pt x="3" y="31"/>
                  </a:lnTo>
                  <a:lnTo>
                    <a:pt x="3" y="31"/>
                  </a:lnTo>
                  <a:lnTo>
                    <a:pt x="4" y="33"/>
                  </a:lnTo>
                  <a:lnTo>
                    <a:pt x="4" y="33"/>
                  </a:lnTo>
                  <a:lnTo>
                    <a:pt x="4" y="24"/>
                  </a:lnTo>
                  <a:lnTo>
                    <a:pt x="4" y="17"/>
                  </a:lnTo>
                  <a:lnTo>
                    <a:pt x="4" y="17"/>
                  </a:lnTo>
                  <a:lnTo>
                    <a:pt x="9" y="10"/>
                  </a:lnTo>
                  <a:lnTo>
                    <a:pt x="12" y="0"/>
                  </a:lnTo>
                  <a:lnTo>
                    <a:pt x="12" y="0"/>
                  </a:lnTo>
                  <a:lnTo>
                    <a:pt x="12" y="4"/>
                  </a:lnTo>
                  <a:lnTo>
                    <a:pt x="10" y="11"/>
                  </a:lnTo>
                  <a:lnTo>
                    <a:pt x="10" y="11"/>
                  </a:lnTo>
                  <a:lnTo>
                    <a:pt x="9" y="17"/>
                  </a:lnTo>
                  <a:lnTo>
                    <a:pt x="9" y="17"/>
                  </a:lnTo>
                  <a:lnTo>
                    <a:pt x="7" y="23"/>
                  </a:lnTo>
                  <a:lnTo>
                    <a:pt x="7" y="23"/>
                  </a:lnTo>
                  <a:lnTo>
                    <a:pt x="7" y="21"/>
                  </a:lnTo>
                  <a:lnTo>
                    <a:pt x="9" y="23"/>
                  </a:lnTo>
                  <a:lnTo>
                    <a:pt x="9" y="23"/>
                  </a:lnTo>
                  <a:lnTo>
                    <a:pt x="7" y="28"/>
                  </a:lnTo>
                  <a:lnTo>
                    <a:pt x="6" y="30"/>
                  </a:lnTo>
                  <a:lnTo>
                    <a:pt x="6" y="27"/>
                  </a:lnTo>
                  <a:lnTo>
                    <a:pt x="6" y="27"/>
                  </a:lnTo>
                  <a:lnTo>
                    <a:pt x="4" y="41"/>
                  </a:lnTo>
                  <a:lnTo>
                    <a:pt x="4" y="41"/>
                  </a:lnTo>
                  <a:lnTo>
                    <a:pt x="3" y="48"/>
                  </a:lnTo>
                  <a:lnTo>
                    <a:pt x="0" y="54"/>
                  </a:lnTo>
                  <a:lnTo>
                    <a:pt x="0" y="54"/>
                  </a:lnTo>
                  <a:lnTo>
                    <a:pt x="2" y="48"/>
                  </a:lnTo>
                  <a:lnTo>
                    <a:pt x="2" y="4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0" name="Freeform 762"/>
            <p:cNvSpPr/>
            <p:nvPr/>
          </p:nvSpPr>
          <p:spPr bwMode="auto">
            <a:xfrm>
              <a:off x="1758668" y="3045040"/>
              <a:ext cx="0" cy="30720"/>
            </a:xfrm>
            <a:custGeom>
              <a:avLst/>
              <a:gdLst>
                <a:gd name="T0" fmla="*/ 0 w 2"/>
                <a:gd name="T1" fmla="*/ 0 h 10"/>
                <a:gd name="T2" fmla="*/ 0 w 2"/>
                <a:gd name="T3" fmla="*/ 0 h 10"/>
                <a:gd name="T4" fmla="*/ 2 w 2"/>
                <a:gd name="T5" fmla="*/ 4 h 10"/>
                <a:gd name="T6" fmla="*/ 0 w 2"/>
                <a:gd name="T7" fmla="*/ 10 h 10"/>
                <a:gd name="T8" fmla="*/ 0 w 2"/>
                <a:gd name="T9" fmla="*/ 10 h 10"/>
                <a:gd name="T10" fmla="*/ 0 w 2"/>
                <a:gd name="T11" fmla="*/ 7 h 10"/>
                <a:gd name="T12" fmla="*/ 0 w 2"/>
                <a:gd name="T13" fmla="*/ 6 h 10"/>
                <a:gd name="T14" fmla="*/ 0 w 2"/>
                <a:gd name="T15" fmla="*/ 4 h 10"/>
                <a:gd name="T16" fmla="*/ 0 w 2"/>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0">
                  <a:moveTo>
                    <a:pt x="0" y="0"/>
                  </a:moveTo>
                  <a:lnTo>
                    <a:pt x="0" y="0"/>
                  </a:lnTo>
                  <a:lnTo>
                    <a:pt x="2" y="4"/>
                  </a:lnTo>
                  <a:lnTo>
                    <a:pt x="0" y="10"/>
                  </a:lnTo>
                  <a:lnTo>
                    <a:pt x="0" y="10"/>
                  </a:lnTo>
                  <a:lnTo>
                    <a:pt x="0" y="7"/>
                  </a:lnTo>
                  <a:lnTo>
                    <a:pt x="0" y="6"/>
                  </a:lnTo>
                  <a:lnTo>
                    <a:pt x="0" y="4"/>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1" name="Freeform 763"/>
            <p:cNvSpPr/>
            <p:nvPr/>
          </p:nvSpPr>
          <p:spPr bwMode="auto">
            <a:xfrm>
              <a:off x="1697232" y="3143338"/>
              <a:ext cx="6145" cy="24574"/>
            </a:xfrm>
            <a:custGeom>
              <a:avLst/>
              <a:gdLst>
                <a:gd name="T0" fmla="*/ 0 w 1"/>
                <a:gd name="T1" fmla="*/ 9 h 9"/>
                <a:gd name="T2" fmla="*/ 0 w 1"/>
                <a:gd name="T3" fmla="*/ 9 h 9"/>
                <a:gd name="T4" fmla="*/ 1 w 1"/>
                <a:gd name="T5" fmla="*/ 0 h 9"/>
                <a:gd name="T6" fmla="*/ 1 w 1"/>
                <a:gd name="T7" fmla="*/ 0 h 9"/>
                <a:gd name="T8" fmla="*/ 1 w 1"/>
                <a:gd name="T9" fmla="*/ 7 h 9"/>
                <a:gd name="T10" fmla="*/ 0 w 1"/>
                <a:gd name="T11" fmla="*/ 9 h 9"/>
                <a:gd name="T12" fmla="*/ 0 w 1"/>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 h="9">
                  <a:moveTo>
                    <a:pt x="0" y="9"/>
                  </a:moveTo>
                  <a:lnTo>
                    <a:pt x="0" y="9"/>
                  </a:lnTo>
                  <a:lnTo>
                    <a:pt x="1" y="0"/>
                  </a:lnTo>
                  <a:lnTo>
                    <a:pt x="1" y="0"/>
                  </a:lnTo>
                  <a:lnTo>
                    <a:pt x="1" y="7"/>
                  </a:lnTo>
                  <a:lnTo>
                    <a:pt x="0" y="9"/>
                  </a:lnTo>
                  <a:lnTo>
                    <a:pt x="0"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2" name="Freeform 764"/>
            <p:cNvSpPr/>
            <p:nvPr/>
          </p:nvSpPr>
          <p:spPr bwMode="auto">
            <a:xfrm>
              <a:off x="1998263" y="2651856"/>
              <a:ext cx="36861" cy="73722"/>
            </a:xfrm>
            <a:custGeom>
              <a:avLst/>
              <a:gdLst>
                <a:gd name="T0" fmla="*/ 0 w 13"/>
                <a:gd name="T1" fmla="*/ 24 h 24"/>
                <a:gd name="T2" fmla="*/ 0 w 13"/>
                <a:gd name="T3" fmla="*/ 24 h 24"/>
                <a:gd name="T4" fmla="*/ 1 w 13"/>
                <a:gd name="T5" fmla="*/ 19 h 24"/>
                <a:gd name="T6" fmla="*/ 1 w 13"/>
                <a:gd name="T7" fmla="*/ 19 h 24"/>
                <a:gd name="T8" fmla="*/ 5 w 13"/>
                <a:gd name="T9" fmla="*/ 16 h 24"/>
                <a:gd name="T10" fmla="*/ 5 w 13"/>
                <a:gd name="T11" fmla="*/ 16 h 24"/>
                <a:gd name="T12" fmla="*/ 8 w 13"/>
                <a:gd name="T13" fmla="*/ 7 h 24"/>
                <a:gd name="T14" fmla="*/ 13 w 13"/>
                <a:gd name="T15" fmla="*/ 0 h 24"/>
                <a:gd name="T16" fmla="*/ 13 w 13"/>
                <a:gd name="T17" fmla="*/ 0 h 24"/>
                <a:gd name="T18" fmla="*/ 13 w 13"/>
                <a:gd name="T19" fmla="*/ 0 h 24"/>
                <a:gd name="T20" fmla="*/ 13 w 13"/>
                <a:gd name="T21" fmla="*/ 0 h 24"/>
                <a:gd name="T22" fmla="*/ 13 w 13"/>
                <a:gd name="T23" fmla="*/ 1 h 24"/>
                <a:gd name="T24" fmla="*/ 13 w 13"/>
                <a:gd name="T25" fmla="*/ 3 h 24"/>
                <a:gd name="T26" fmla="*/ 13 w 13"/>
                <a:gd name="T27" fmla="*/ 3 h 24"/>
                <a:gd name="T28" fmla="*/ 10 w 13"/>
                <a:gd name="T29" fmla="*/ 7 h 24"/>
                <a:gd name="T30" fmla="*/ 7 w 13"/>
                <a:gd name="T31" fmla="*/ 14 h 24"/>
                <a:gd name="T32" fmla="*/ 7 w 13"/>
                <a:gd name="T33" fmla="*/ 14 h 24"/>
                <a:gd name="T34" fmla="*/ 8 w 13"/>
                <a:gd name="T35" fmla="*/ 14 h 24"/>
                <a:gd name="T36" fmla="*/ 8 w 13"/>
                <a:gd name="T37" fmla="*/ 17 h 24"/>
                <a:gd name="T38" fmla="*/ 8 w 13"/>
                <a:gd name="T39" fmla="*/ 17 h 24"/>
                <a:gd name="T40" fmla="*/ 3 w 13"/>
                <a:gd name="T41" fmla="*/ 24 h 24"/>
                <a:gd name="T42" fmla="*/ 3 w 13"/>
                <a:gd name="T43" fmla="*/ 24 h 24"/>
                <a:gd name="T44" fmla="*/ 4 w 13"/>
                <a:gd name="T45" fmla="*/ 20 h 24"/>
                <a:gd name="T46" fmla="*/ 5 w 13"/>
                <a:gd name="T47" fmla="*/ 16 h 24"/>
                <a:gd name="T48" fmla="*/ 5 w 13"/>
                <a:gd name="T49" fmla="*/ 16 h 24"/>
                <a:gd name="T50" fmla="*/ 3 w 13"/>
                <a:gd name="T51" fmla="*/ 20 h 24"/>
                <a:gd name="T52" fmla="*/ 1 w 13"/>
                <a:gd name="T53" fmla="*/ 23 h 24"/>
                <a:gd name="T54" fmla="*/ 0 w 13"/>
                <a:gd name="T5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24">
                  <a:moveTo>
                    <a:pt x="0" y="24"/>
                  </a:moveTo>
                  <a:lnTo>
                    <a:pt x="0" y="24"/>
                  </a:lnTo>
                  <a:lnTo>
                    <a:pt x="1" y="19"/>
                  </a:lnTo>
                  <a:lnTo>
                    <a:pt x="1" y="19"/>
                  </a:lnTo>
                  <a:lnTo>
                    <a:pt x="5" y="16"/>
                  </a:lnTo>
                  <a:lnTo>
                    <a:pt x="5" y="16"/>
                  </a:lnTo>
                  <a:lnTo>
                    <a:pt x="8" y="7"/>
                  </a:lnTo>
                  <a:lnTo>
                    <a:pt x="13" y="0"/>
                  </a:lnTo>
                  <a:lnTo>
                    <a:pt x="13" y="0"/>
                  </a:lnTo>
                  <a:lnTo>
                    <a:pt x="13" y="0"/>
                  </a:lnTo>
                  <a:lnTo>
                    <a:pt x="13" y="0"/>
                  </a:lnTo>
                  <a:lnTo>
                    <a:pt x="13" y="1"/>
                  </a:lnTo>
                  <a:lnTo>
                    <a:pt x="13" y="3"/>
                  </a:lnTo>
                  <a:lnTo>
                    <a:pt x="13" y="3"/>
                  </a:lnTo>
                  <a:lnTo>
                    <a:pt x="10" y="7"/>
                  </a:lnTo>
                  <a:lnTo>
                    <a:pt x="7" y="14"/>
                  </a:lnTo>
                  <a:lnTo>
                    <a:pt x="7" y="14"/>
                  </a:lnTo>
                  <a:lnTo>
                    <a:pt x="8" y="14"/>
                  </a:lnTo>
                  <a:lnTo>
                    <a:pt x="8" y="17"/>
                  </a:lnTo>
                  <a:lnTo>
                    <a:pt x="8" y="17"/>
                  </a:lnTo>
                  <a:lnTo>
                    <a:pt x="3" y="24"/>
                  </a:lnTo>
                  <a:lnTo>
                    <a:pt x="3" y="24"/>
                  </a:lnTo>
                  <a:lnTo>
                    <a:pt x="4" y="20"/>
                  </a:lnTo>
                  <a:lnTo>
                    <a:pt x="5" y="16"/>
                  </a:lnTo>
                  <a:lnTo>
                    <a:pt x="5" y="16"/>
                  </a:lnTo>
                  <a:lnTo>
                    <a:pt x="3" y="20"/>
                  </a:lnTo>
                  <a:lnTo>
                    <a:pt x="1" y="23"/>
                  </a:lnTo>
                  <a:lnTo>
                    <a:pt x="0" y="2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3" name="Freeform 765"/>
            <p:cNvSpPr/>
            <p:nvPr/>
          </p:nvSpPr>
          <p:spPr bwMode="auto">
            <a:xfrm>
              <a:off x="1985976" y="2713290"/>
              <a:ext cx="18433" cy="30720"/>
            </a:xfrm>
            <a:custGeom>
              <a:avLst/>
              <a:gdLst>
                <a:gd name="T0" fmla="*/ 6 w 6"/>
                <a:gd name="T1" fmla="*/ 0 h 10"/>
                <a:gd name="T2" fmla="*/ 6 w 6"/>
                <a:gd name="T3" fmla="*/ 0 h 10"/>
                <a:gd name="T4" fmla="*/ 3 w 6"/>
                <a:gd name="T5" fmla="*/ 6 h 10"/>
                <a:gd name="T6" fmla="*/ 0 w 6"/>
                <a:gd name="T7" fmla="*/ 10 h 10"/>
                <a:gd name="T8" fmla="*/ 0 w 6"/>
                <a:gd name="T9" fmla="*/ 10 h 10"/>
                <a:gd name="T10" fmla="*/ 3 w 6"/>
                <a:gd name="T11" fmla="*/ 5 h 10"/>
                <a:gd name="T12" fmla="*/ 6 w 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6" y="0"/>
                  </a:moveTo>
                  <a:lnTo>
                    <a:pt x="6" y="0"/>
                  </a:lnTo>
                  <a:lnTo>
                    <a:pt x="3" y="6"/>
                  </a:lnTo>
                  <a:lnTo>
                    <a:pt x="0" y="10"/>
                  </a:lnTo>
                  <a:lnTo>
                    <a:pt x="0" y="10"/>
                  </a:lnTo>
                  <a:lnTo>
                    <a:pt x="3" y="5"/>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4" name="Freeform 766"/>
            <p:cNvSpPr/>
            <p:nvPr/>
          </p:nvSpPr>
          <p:spPr bwMode="auto">
            <a:xfrm>
              <a:off x="1721807" y="3075761"/>
              <a:ext cx="6145" cy="30720"/>
            </a:xfrm>
            <a:custGeom>
              <a:avLst/>
              <a:gdLst>
                <a:gd name="T0" fmla="*/ 0 w 3"/>
                <a:gd name="T1" fmla="*/ 1 h 8"/>
                <a:gd name="T2" fmla="*/ 0 w 3"/>
                <a:gd name="T3" fmla="*/ 1 h 8"/>
                <a:gd name="T4" fmla="*/ 1 w 3"/>
                <a:gd name="T5" fmla="*/ 0 h 8"/>
                <a:gd name="T6" fmla="*/ 1 w 3"/>
                <a:gd name="T7" fmla="*/ 0 h 8"/>
                <a:gd name="T8" fmla="*/ 1 w 3"/>
                <a:gd name="T9" fmla="*/ 1 h 8"/>
                <a:gd name="T10" fmla="*/ 3 w 3"/>
                <a:gd name="T11" fmla="*/ 0 h 8"/>
                <a:gd name="T12" fmla="*/ 3 w 3"/>
                <a:gd name="T13" fmla="*/ 0 h 8"/>
                <a:gd name="T14" fmla="*/ 3 w 3"/>
                <a:gd name="T15" fmla="*/ 4 h 8"/>
                <a:gd name="T16" fmla="*/ 0 w 3"/>
                <a:gd name="T17" fmla="*/ 8 h 8"/>
                <a:gd name="T18" fmla="*/ 0 w 3"/>
                <a:gd name="T19" fmla="*/ 8 h 8"/>
                <a:gd name="T20" fmla="*/ 0 w 3"/>
                <a:gd name="T21" fmla="*/ 6 h 8"/>
                <a:gd name="T22" fmla="*/ 0 w 3"/>
                <a:gd name="T23"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1"/>
                  </a:moveTo>
                  <a:lnTo>
                    <a:pt x="0" y="1"/>
                  </a:lnTo>
                  <a:lnTo>
                    <a:pt x="1" y="0"/>
                  </a:lnTo>
                  <a:lnTo>
                    <a:pt x="1" y="0"/>
                  </a:lnTo>
                  <a:lnTo>
                    <a:pt x="1" y="1"/>
                  </a:lnTo>
                  <a:lnTo>
                    <a:pt x="3" y="0"/>
                  </a:lnTo>
                  <a:lnTo>
                    <a:pt x="3" y="0"/>
                  </a:lnTo>
                  <a:lnTo>
                    <a:pt x="3" y="4"/>
                  </a:lnTo>
                  <a:lnTo>
                    <a:pt x="0" y="8"/>
                  </a:lnTo>
                  <a:lnTo>
                    <a:pt x="0" y="8"/>
                  </a:lnTo>
                  <a:lnTo>
                    <a:pt x="0" y="6"/>
                  </a:lnTo>
                  <a:lnTo>
                    <a:pt x="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5" name="Freeform 767"/>
            <p:cNvSpPr/>
            <p:nvPr/>
          </p:nvSpPr>
          <p:spPr bwMode="auto">
            <a:xfrm>
              <a:off x="2379162" y="2406114"/>
              <a:ext cx="18433" cy="24574"/>
            </a:xfrm>
            <a:custGeom>
              <a:avLst/>
              <a:gdLst>
                <a:gd name="T0" fmla="*/ 6 w 6"/>
                <a:gd name="T1" fmla="*/ 0 h 7"/>
                <a:gd name="T2" fmla="*/ 6 w 6"/>
                <a:gd name="T3" fmla="*/ 0 h 7"/>
                <a:gd name="T4" fmla="*/ 3 w 6"/>
                <a:gd name="T5" fmla="*/ 4 h 7"/>
                <a:gd name="T6" fmla="*/ 0 w 6"/>
                <a:gd name="T7" fmla="*/ 7 h 7"/>
                <a:gd name="T8" fmla="*/ 0 w 6"/>
                <a:gd name="T9" fmla="*/ 7 h 7"/>
                <a:gd name="T10" fmla="*/ 3 w 6"/>
                <a:gd name="T11" fmla="*/ 2 h 7"/>
                <a:gd name="T12" fmla="*/ 6 w 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6" y="0"/>
                  </a:moveTo>
                  <a:lnTo>
                    <a:pt x="6" y="0"/>
                  </a:lnTo>
                  <a:lnTo>
                    <a:pt x="3" y="4"/>
                  </a:lnTo>
                  <a:lnTo>
                    <a:pt x="0" y="7"/>
                  </a:lnTo>
                  <a:lnTo>
                    <a:pt x="0" y="7"/>
                  </a:lnTo>
                  <a:lnTo>
                    <a:pt x="3" y="2"/>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6" name="Freeform 768"/>
            <p:cNvSpPr/>
            <p:nvPr/>
          </p:nvSpPr>
          <p:spPr bwMode="auto">
            <a:xfrm>
              <a:off x="1709520" y="3094190"/>
              <a:ext cx="6145" cy="18433"/>
            </a:xfrm>
            <a:custGeom>
              <a:avLst/>
              <a:gdLst>
                <a:gd name="T0" fmla="*/ 0 w 2"/>
                <a:gd name="T1" fmla="*/ 3 h 7"/>
                <a:gd name="T2" fmla="*/ 0 w 2"/>
                <a:gd name="T3" fmla="*/ 3 h 7"/>
                <a:gd name="T4" fmla="*/ 1 w 2"/>
                <a:gd name="T5" fmla="*/ 2 h 7"/>
                <a:gd name="T6" fmla="*/ 2 w 2"/>
                <a:gd name="T7" fmla="*/ 0 h 7"/>
                <a:gd name="T8" fmla="*/ 2 w 2"/>
                <a:gd name="T9" fmla="*/ 0 h 7"/>
                <a:gd name="T10" fmla="*/ 2 w 2"/>
                <a:gd name="T11" fmla="*/ 4 h 7"/>
                <a:gd name="T12" fmla="*/ 1 w 2"/>
                <a:gd name="T13" fmla="*/ 7 h 7"/>
                <a:gd name="T14" fmla="*/ 1 w 2"/>
                <a:gd name="T15" fmla="*/ 7 h 7"/>
                <a:gd name="T16" fmla="*/ 0 w 2"/>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7">
                  <a:moveTo>
                    <a:pt x="0" y="3"/>
                  </a:moveTo>
                  <a:lnTo>
                    <a:pt x="0" y="3"/>
                  </a:lnTo>
                  <a:lnTo>
                    <a:pt x="1" y="2"/>
                  </a:lnTo>
                  <a:lnTo>
                    <a:pt x="2" y="0"/>
                  </a:lnTo>
                  <a:lnTo>
                    <a:pt x="2" y="0"/>
                  </a:lnTo>
                  <a:lnTo>
                    <a:pt x="2" y="4"/>
                  </a:lnTo>
                  <a:lnTo>
                    <a:pt x="1" y="7"/>
                  </a:lnTo>
                  <a:lnTo>
                    <a:pt x="1" y="7"/>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7" name="Freeform 769"/>
            <p:cNvSpPr/>
            <p:nvPr/>
          </p:nvSpPr>
          <p:spPr bwMode="auto">
            <a:xfrm>
              <a:off x="1856964" y="2830020"/>
              <a:ext cx="12287" cy="36861"/>
            </a:xfrm>
            <a:custGeom>
              <a:avLst/>
              <a:gdLst>
                <a:gd name="T0" fmla="*/ 3 w 4"/>
                <a:gd name="T1" fmla="*/ 2 h 12"/>
                <a:gd name="T2" fmla="*/ 3 w 4"/>
                <a:gd name="T3" fmla="*/ 2 h 12"/>
                <a:gd name="T4" fmla="*/ 4 w 4"/>
                <a:gd name="T5" fmla="*/ 0 h 12"/>
                <a:gd name="T6" fmla="*/ 4 w 4"/>
                <a:gd name="T7" fmla="*/ 0 h 12"/>
                <a:gd name="T8" fmla="*/ 3 w 4"/>
                <a:gd name="T9" fmla="*/ 7 h 12"/>
                <a:gd name="T10" fmla="*/ 0 w 4"/>
                <a:gd name="T11" fmla="*/ 12 h 12"/>
                <a:gd name="T12" fmla="*/ 0 w 4"/>
                <a:gd name="T13" fmla="*/ 12 h 12"/>
                <a:gd name="T14" fmla="*/ 1 w 4"/>
                <a:gd name="T15" fmla="*/ 8 h 12"/>
                <a:gd name="T16" fmla="*/ 3 w 4"/>
                <a:gd name="T1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3" y="2"/>
                  </a:moveTo>
                  <a:lnTo>
                    <a:pt x="3" y="2"/>
                  </a:lnTo>
                  <a:lnTo>
                    <a:pt x="4" y="0"/>
                  </a:lnTo>
                  <a:lnTo>
                    <a:pt x="4" y="0"/>
                  </a:lnTo>
                  <a:lnTo>
                    <a:pt x="3" y="7"/>
                  </a:lnTo>
                  <a:lnTo>
                    <a:pt x="0" y="12"/>
                  </a:lnTo>
                  <a:lnTo>
                    <a:pt x="0" y="12"/>
                  </a:lnTo>
                  <a:lnTo>
                    <a:pt x="1" y="8"/>
                  </a:lnTo>
                  <a:lnTo>
                    <a:pt x="3"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8" name="Freeform 770"/>
            <p:cNvSpPr/>
            <p:nvPr/>
          </p:nvSpPr>
          <p:spPr bwMode="auto">
            <a:xfrm>
              <a:off x="1727948" y="2989751"/>
              <a:ext cx="18433" cy="55293"/>
            </a:xfrm>
            <a:custGeom>
              <a:avLst/>
              <a:gdLst>
                <a:gd name="T0" fmla="*/ 0 w 5"/>
                <a:gd name="T1" fmla="*/ 17 h 19"/>
                <a:gd name="T2" fmla="*/ 0 w 5"/>
                <a:gd name="T3" fmla="*/ 17 h 19"/>
                <a:gd name="T4" fmla="*/ 3 w 5"/>
                <a:gd name="T5" fmla="*/ 9 h 19"/>
                <a:gd name="T6" fmla="*/ 5 w 5"/>
                <a:gd name="T7" fmla="*/ 0 h 19"/>
                <a:gd name="T8" fmla="*/ 5 w 5"/>
                <a:gd name="T9" fmla="*/ 0 h 19"/>
                <a:gd name="T10" fmla="*/ 4 w 5"/>
                <a:gd name="T11" fmla="*/ 10 h 19"/>
                <a:gd name="T12" fmla="*/ 3 w 5"/>
                <a:gd name="T13" fmla="*/ 15 h 19"/>
                <a:gd name="T14" fmla="*/ 1 w 5"/>
                <a:gd name="T15" fmla="*/ 19 h 19"/>
                <a:gd name="T16" fmla="*/ 1 w 5"/>
                <a:gd name="T17" fmla="*/ 19 h 19"/>
                <a:gd name="T18" fmla="*/ 1 w 5"/>
                <a:gd name="T19" fmla="*/ 17 h 19"/>
                <a:gd name="T20" fmla="*/ 1 w 5"/>
                <a:gd name="T21" fmla="*/ 17 h 19"/>
                <a:gd name="T22" fmla="*/ 0 w 5"/>
                <a:gd name="T23"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9">
                  <a:moveTo>
                    <a:pt x="0" y="17"/>
                  </a:moveTo>
                  <a:lnTo>
                    <a:pt x="0" y="17"/>
                  </a:lnTo>
                  <a:lnTo>
                    <a:pt x="3" y="9"/>
                  </a:lnTo>
                  <a:lnTo>
                    <a:pt x="5" y="0"/>
                  </a:lnTo>
                  <a:lnTo>
                    <a:pt x="5" y="0"/>
                  </a:lnTo>
                  <a:lnTo>
                    <a:pt x="4" y="10"/>
                  </a:lnTo>
                  <a:lnTo>
                    <a:pt x="3" y="15"/>
                  </a:lnTo>
                  <a:lnTo>
                    <a:pt x="1" y="19"/>
                  </a:lnTo>
                  <a:lnTo>
                    <a:pt x="1" y="19"/>
                  </a:lnTo>
                  <a:lnTo>
                    <a:pt x="1" y="17"/>
                  </a:lnTo>
                  <a:lnTo>
                    <a:pt x="1" y="17"/>
                  </a:lnTo>
                  <a:lnTo>
                    <a:pt x="0" y="1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9" name="Freeform 771"/>
            <p:cNvSpPr/>
            <p:nvPr/>
          </p:nvSpPr>
          <p:spPr bwMode="auto">
            <a:xfrm>
              <a:off x="1770955" y="2952890"/>
              <a:ext cx="12287" cy="18433"/>
            </a:xfrm>
            <a:custGeom>
              <a:avLst/>
              <a:gdLst>
                <a:gd name="T0" fmla="*/ 0 w 3"/>
                <a:gd name="T1" fmla="*/ 8 h 8"/>
                <a:gd name="T2" fmla="*/ 0 w 3"/>
                <a:gd name="T3" fmla="*/ 8 h 8"/>
                <a:gd name="T4" fmla="*/ 0 w 3"/>
                <a:gd name="T5" fmla="*/ 2 h 8"/>
                <a:gd name="T6" fmla="*/ 0 w 3"/>
                <a:gd name="T7" fmla="*/ 2 h 8"/>
                <a:gd name="T8" fmla="*/ 1 w 3"/>
                <a:gd name="T9" fmla="*/ 0 h 8"/>
                <a:gd name="T10" fmla="*/ 3 w 3"/>
                <a:gd name="T11" fmla="*/ 0 h 8"/>
                <a:gd name="T12" fmla="*/ 3 w 3"/>
                <a:gd name="T13" fmla="*/ 0 h 8"/>
                <a:gd name="T14" fmla="*/ 1 w 3"/>
                <a:gd name="T15" fmla="*/ 3 h 8"/>
                <a:gd name="T16" fmla="*/ 0 w 3"/>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8">
                  <a:moveTo>
                    <a:pt x="0" y="8"/>
                  </a:moveTo>
                  <a:lnTo>
                    <a:pt x="0" y="8"/>
                  </a:lnTo>
                  <a:lnTo>
                    <a:pt x="0" y="2"/>
                  </a:lnTo>
                  <a:lnTo>
                    <a:pt x="0" y="2"/>
                  </a:lnTo>
                  <a:lnTo>
                    <a:pt x="1" y="0"/>
                  </a:lnTo>
                  <a:lnTo>
                    <a:pt x="3" y="0"/>
                  </a:lnTo>
                  <a:lnTo>
                    <a:pt x="3" y="0"/>
                  </a:lnTo>
                  <a:lnTo>
                    <a:pt x="1" y="3"/>
                  </a:lnTo>
                  <a:lnTo>
                    <a:pt x="0"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0" name="Freeform 772"/>
            <p:cNvSpPr/>
            <p:nvPr/>
          </p:nvSpPr>
          <p:spPr bwMode="auto">
            <a:xfrm>
              <a:off x="1709520" y="3045040"/>
              <a:ext cx="12287" cy="36861"/>
            </a:xfrm>
            <a:custGeom>
              <a:avLst/>
              <a:gdLst>
                <a:gd name="T0" fmla="*/ 2 w 4"/>
                <a:gd name="T1" fmla="*/ 3 h 11"/>
                <a:gd name="T2" fmla="*/ 2 w 4"/>
                <a:gd name="T3" fmla="*/ 3 h 11"/>
                <a:gd name="T4" fmla="*/ 2 w 4"/>
                <a:gd name="T5" fmla="*/ 3 h 11"/>
                <a:gd name="T6" fmla="*/ 1 w 4"/>
                <a:gd name="T7" fmla="*/ 6 h 11"/>
                <a:gd name="T8" fmla="*/ 0 w 4"/>
                <a:gd name="T9" fmla="*/ 7 h 11"/>
                <a:gd name="T10" fmla="*/ 0 w 4"/>
                <a:gd name="T11" fmla="*/ 4 h 11"/>
                <a:gd name="T12" fmla="*/ 0 w 4"/>
                <a:gd name="T13" fmla="*/ 4 h 11"/>
                <a:gd name="T14" fmla="*/ 1 w 4"/>
                <a:gd name="T15" fmla="*/ 3 h 11"/>
                <a:gd name="T16" fmla="*/ 1 w 4"/>
                <a:gd name="T17" fmla="*/ 1 h 11"/>
                <a:gd name="T18" fmla="*/ 2 w 4"/>
                <a:gd name="T19" fmla="*/ 1 h 11"/>
                <a:gd name="T20" fmla="*/ 2 w 4"/>
                <a:gd name="T21" fmla="*/ 0 h 11"/>
                <a:gd name="T22" fmla="*/ 2 w 4"/>
                <a:gd name="T23" fmla="*/ 0 h 11"/>
                <a:gd name="T24" fmla="*/ 4 w 4"/>
                <a:gd name="T25" fmla="*/ 6 h 11"/>
                <a:gd name="T26" fmla="*/ 4 w 4"/>
                <a:gd name="T27" fmla="*/ 6 h 11"/>
                <a:gd name="T28" fmla="*/ 2 w 4"/>
                <a:gd name="T29" fmla="*/ 10 h 11"/>
                <a:gd name="T30" fmla="*/ 1 w 4"/>
                <a:gd name="T31" fmla="*/ 11 h 11"/>
                <a:gd name="T32" fmla="*/ 1 w 4"/>
                <a:gd name="T33" fmla="*/ 11 h 11"/>
                <a:gd name="T34" fmla="*/ 1 w 4"/>
                <a:gd name="T35" fmla="*/ 11 h 11"/>
                <a:gd name="T36" fmla="*/ 2 w 4"/>
                <a:gd name="T3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1">
                  <a:moveTo>
                    <a:pt x="2" y="3"/>
                  </a:moveTo>
                  <a:lnTo>
                    <a:pt x="2" y="3"/>
                  </a:lnTo>
                  <a:lnTo>
                    <a:pt x="2" y="3"/>
                  </a:lnTo>
                  <a:lnTo>
                    <a:pt x="1" y="6"/>
                  </a:lnTo>
                  <a:lnTo>
                    <a:pt x="0" y="7"/>
                  </a:lnTo>
                  <a:lnTo>
                    <a:pt x="0" y="4"/>
                  </a:lnTo>
                  <a:lnTo>
                    <a:pt x="0" y="4"/>
                  </a:lnTo>
                  <a:lnTo>
                    <a:pt x="1" y="3"/>
                  </a:lnTo>
                  <a:lnTo>
                    <a:pt x="1" y="1"/>
                  </a:lnTo>
                  <a:lnTo>
                    <a:pt x="2" y="1"/>
                  </a:lnTo>
                  <a:lnTo>
                    <a:pt x="2" y="0"/>
                  </a:lnTo>
                  <a:lnTo>
                    <a:pt x="2" y="0"/>
                  </a:lnTo>
                  <a:lnTo>
                    <a:pt x="4" y="6"/>
                  </a:lnTo>
                  <a:lnTo>
                    <a:pt x="4" y="6"/>
                  </a:lnTo>
                  <a:lnTo>
                    <a:pt x="2" y="10"/>
                  </a:lnTo>
                  <a:lnTo>
                    <a:pt x="1" y="11"/>
                  </a:lnTo>
                  <a:lnTo>
                    <a:pt x="1" y="11"/>
                  </a:lnTo>
                  <a:lnTo>
                    <a:pt x="1" y="11"/>
                  </a:lnTo>
                  <a:lnTo>
                    <a:pt x="2"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1" name="Freeform 773"/>
            <p:cNvSpPr/>
            <p:nvPr/>
          </p:nvSpPr>
          <p:spPr bwMode="auto">
            <a:xfrm>
              <a:off x="2041270" y="2621140"/>
              <a:ext cx="12287" cy="24574"/>
            </a:xfrm>
            <a:custGeom>
              <a:avLst/>
              <a:gdLst>
                <a:gd name="T0" fmla="*/ 4 w 4"/>
                <a:gd name="T1" fmla="*/ 0 h 9"/>
                <a:gd name="T2" fmla="*/ 4 w 4"/>
                <a:gd name="T3" fmla="*/ 0 h 9"/>
                <a:gd name="T4" fmla="*/ 3 w 4"/>
                <a:gd name="T5" fmla="*/ 4 h 9"/>
                <a:gd name="T6" fmla="*/ 0 w 4"/>
                <a:gd name="T7" fmla="*/ 9 h 9"/>
                <a:gd name="T8" fmla="*/ 0 w 4"/>
                <a:gd name="T9" fmla="*/ 9 h 9"/>
                <a:gd name="T10" fmla="*/ 3 w 4"/>
                <a:gd name="T11" fmla="*/ 3 h 9"/>
                <a:gd name="T12" fmla="*/ 4 w 4"/>
                <a:gd name="T13" fmla="*/ 0 h 9"/>
                <a:gd name="T14" fmla="*/ 4 w 4"/>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9">
                  <a:moveTo>
                    <a:pt x="4" y="0"/>
                  </a:moveTo>
                  <a:lnTo>
                    <a:pt x="4" y="0"/>
                  </a:lnTo>
                  <a:lnTo>
                    <a:pt x="3" y="4"/>
                  </a:lnTo>
                  <a:lnTo>
                    <a:pt x="0" y="9"/>
                  </a:lnTo>
                  <a:lnTo>
                    <a:pt x="0" y="9"/>
                  </a:lnTo>
                  <a:lnTo>
                    <a:pt x="3" y="3"/>
                  </a:lnTo>
                  <a:lnTo>
                    <a:pt x="4" y="0"/>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2" name="Freeform 774"/>
            <p:cNvSpPr/>
            <p:nvPr/>
          </p:nvSpPr>
          <p:spPr bwMode="auto">
            <a:xfrm>
              <a:off x="1789383" y="2885310"/>
              <a:ext cx="12287" cy="36861"/>
            </a:xfrm>
            <a:custGeom>
              <a:avLst/>
              <a:gdLst>
                <a:gd name="T0" fmla="*/ 4 w 4"/>
                <a:gd name="T1" fmla="*/ 0 h 12"/>
                <a:gd name="T2" fmla="*/ 4 w 4"/>
                <a:gd name="T3" fmla="*/ 0 h 12"/>
                <a:gd name="T4" fmla="*/ 0 w 4"/>
                <a:gd name="T5" fmla="*/ 12 h 12"/>
                <a:gd name="T6" fmla="*/ 0 w 4"/>
                <a:gd name="T7" fmla="*/ 12 h 12"/>
                <a:gd name="T8" fmla="*/ 1 w 4"/>
                <a:gd name="T9" fmla="*/ 6 h 12"/>
                <a:gd name="T10" fmla="*/ 4 w 4"/>
                <a:gd name="T11" fmla="*/ 0 h 12"/>
              </a:gdLst>
              <a:ahLst/>
              <a:cxnLst>
                <a:cxn ang="0">
                  <a:pos x="T0" y="T1"/>
                </a:cxn>
                <a:cxn ang="0">
                  <a:pos x="T2" y="T3"/>
                </a:cxn>
                <a:cxn ang="0">
                  <a:pos x="T4" y="T5"/>
                </a:cxn>
                <a:cxn ang="0">
                  <a:pos x="T6" y="T7"/>
                </a:cxn>
                <a:cxn ang="0">
                  <a:pos x="T8" y="T9"/>
                </a:cxn>
                <a:cxn ang="0">
                  <a:pos x="T10" y="T11"/>
                </a:cxn>
              </a:cxnLst>
              <a:rect l="0" t="0" r="r" b="b"/>
              <a:pathLst>
                <a:path w="4" h="12">
                  <a:moveTo>
                    <a:pt x="4" y="0"/>
                  </a:moveTo>
                  <a:lnTo>
                    <a:pt x="4" y="0"/>
                  </a:lnTo>
                  <a:lnTo>
                    <a:pt x="0" y="12"/>
                  </a:lnTo>
                  <a:lnTo>
                    <a:pt x="0" y="12"/>
                  </a:lnTo>
                  <a:lnTo>
                    <a:pt x="1" y="6"/>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3" name="Freeform 775"/>
            <p:cNvSpPr/>
            <p:nvPr/>
          </p:nvSpPr>
          <p:spPr bwMode="auto">
            <a:xfrm>
              <a:off x="2471317" y="2326250"/>
              <a:ext cx="18433" cy="12287"/>
            </a:xfrm>
            <a:custGeom>
              <a:avLst/>
              <a:gdLst>
                <a:gd name="T0" fmla="*/ 5 w 5"/>
                <a:gd name="T1" fmla="*/ 0 h 5"/>
                <a:gd name="T2" fmla="*/ 5 w 5"/>
                <a:gd name="T3" fmla="*/ 0 h 5"/>
                <a:gd name="T4" fmla="*/ 3 w 5"/>
                <a:gd name="T5" fmla="*/ 3 h 5"/>
                <a:gd name="T6" fmla="*/ 0 w 5"/>
                <a:gd name="T7" fmla="*/ 5 h 5"/>
                <a:gd name="T8" fmla="*/ 0 w 5"/>
                <a:gd name="T9" fmla="*/ 5 h 5"/>
                <a:gd name="T10" fmla="*/ 1 w 5"/>
                <a:gd name="T11" fmla="*/ 3 h 5"/>
                <a:gd name="T12" fmla="*/ 5 w 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0"/>
                  </a:moveTo>
                  <a:lnTo>
                    <a:pt x="5" y="0"/>
                  </a:lnTo>
                  <a:lnTo>
                    <a:pt x="3" y="3"/>
                  </a:lnTo>
                  <a:lnTo>
                    <a:pt x="0" y="5"/>
                  </a:lnTo>
                  <a:lnTo>
                    <a:pt x="0" y="5"/>
                  </a:lnTo>
                  <a:lnTo>
                    <a:pt x="1" y="3"/>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4" name="Freeform 776"/>
            <p:cNvSpPr/>
            <p:nvPr/>
          </p:nvSpPr>
          <p:spPr bwMode="auto">
            <a:xfrm>
              <a:off x="1838532" y="2799299"/>
              <a:ext cx="18433" cy="30720"/>
            </a:xfrm>
            <a:custGeom>
              <a:avLst/>
              <a:gdLst>
                <a:gd name="T0" fmla="*/ 6 w 6"/>
                <a:gd name="T1" fmla="*/ 0 h 11"/>
                <a:gd name="T2" fmla="*/ 6 w 6"/>
                <a:gd name="T3" fmla="*/ 0 h 11"/>
                <a:gd name="T4" fmla="*/ 3 w 6"/>
                <a:gd name="T5" fmla="*/ 5 h 11"/>
                <a:gd name="T6" fmla="*/ 0 w 6"/>
                <a:gd name="T7" fmla="*/ 11 h 11"/>
                <a:gd name="T8" fmla="*/ 0 w 6"/>
                <a:gd name="T9" fmla="*/ 11 h 11"/>
                <a:gd name="T10" fmla="*/ 3 w 6"/>
                <a:gd name="T11" fmla="*/ 2 h 11"/>
                <a:gd name="T12" fmla="*/ 3 w 6"/>
                <a:gd name="T13" fmla="*/ 2 h 11"/>
                <a:gd name="T14" fmla="*/ 5 w 6"/>
                <a:gd name="T15" fmla="*/ 0 h 11"/>
                <a:gd name="T16" fmla="*/ 6 w 6"/>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1">
                  <a:moveTo>
                    <a:pt x="6" y="0"/>
                  </a:moveTo>
                  <a:lnTo>
                    <a:pt x="6" y="0"/>
                  </a:lnTo>
                  <a:lnTo>
                    <a:pt x="3" y="5"/>
                  </a:lnTo>
                  <a:lnTo>
                    <a:pt x="0" y="11"/>
                  </a:lnTo>
                  <a:lnTo>
                    <a:pt x="0" y="11"/>
                  </a:lnTo>
                  <a:lnTo>
                    <a:pt x="3" y="2"/>
                  </a:lnTo>
                  <a:lnTo>
                    <a:pt x="3" y="2"/>
                  </a:lnTo>
                  <a:lnTo>
                    <a:pt x="5" y="0"/>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5" name="Freeform 777"/>
            <p:cNvSpPr/>
            <p:nvPr/>
          </p:nvSpPr>
          <p:spPr bwMode="auto">
            <a:xfrm>
              <a:off x="2096560" y="2522843"/>
              <a:ext cx="24574" cy="36861"/>
            </a:xfrm>
            <a:custGeom>
              <a:avLst/>
              <a:gdLst>
                <a:gd name="T0" fmla="*/ 0 w 9"/>
                <a:gd name="T1" fmla="*/ 11 h 12"/>
                <a:gd name="T2" fmla="*/ 0 w 9"/>
                <a:gd name="T3" fmla="*/ 11 h 12"/>
                <a:gd name="T4" fmla="*/ 4 w 9"/>
                <a:gd name="T5" fmla="*/ 5 h 12"/>
                <a:gd name="T6" fmla="*/ 4 w 9"/>
                <a:gd name="T7" fmla="*/ 5 h 12"/>
                <a:gd name="T8" fmla="*/ 9 w 9"/>
                <a:gd name="T9" fmla="*/ 0 h 12"/>
                <a:gd name="T10" fmla="*/ 9 w 9"/>
                <a:gd name="T11" fmla="*/ 0 h 12"/>
                <a:gd name="T12" fmla="*/ 4 w 9"/>
                <a:gd name="T13" fmla="*/ 8 h 12"/>
                <a:gd name="T14" fmla="*/ 4 w 9"/>
                <a:gd name="T15" fmla="*/ 8 h 12"/>
                <a:gd name="T16" fmla="*/ 2 w 9"/>
                <a:gd name="T17" fmla="*/ 12 h 12"/>
                <a:gd name="T18" fmla="*/ 0 w 9"/>
                <a:gd name="T19" fmla="*/ 12 h 12"/>
                <a:gd name="T20" fmla="*/ 0 w 9"/>
                <a:gd name="T21"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2">
                  <a:moveTo>
                    <a:pt x="0" y="11"/>
                  </a:moveTo>
                  <a:lnTo>
                    <a:pt x="0" y="11"/>
                  </a:lnTo>
                  <a:lnTo>
                    <a:pt x="4" y="5"/>
                  </a:lnTo>
                  <a:lnTo>
                    <a:pt x="4" y="5"/>
                  </a:lnTo>
                  <a:lnTo>
                    <a:pt x="9" y="0"/>
                  </a:lnTo>
                  <a:lnTo>
                    <a:pt x="9" y="0"/>
                  </a:lnTo>
                  <a:lnTo>
                    <a:pt x="4" y="8"/>
                  </a:lnTo>
                  <a:lnTo>
                    <a:pt x="4" y="8"/>
                  </a:lnTo>
                  <a:lnTo>
                    <a:pt x="2" y="12"/>
                  </a:lnTo>
                  <a:lnTo>
                    <a:pt x="0" y="12"/>
                  </a:lnTo>
                  <a:lnTo>
                    <a:pt x="0" y="1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6" name="Freeform 778"/>
            <p:cNvSpPr/>
            <p:nvPr/>
          </p:nvSpPr>
          <p:spPr bwMode="auto">
            <a:xfrm>
              <a:off x="1703374" y="2897597"/>
              <a:ext cx="49148" cy="110582"/>
            </a:xfrm>
            <a:custGeom>
              <a:avLst/>
              <a:gdLst>
                <a:gd name="T0" fmla="*/ 9 w 16"/>
                <a:gd name="T1" fmla="*/ 5 h 36"/>
                <a:gd name="T2" fmla="*/ 9 w 16"/>
                <a:gd name="T3" fmla="*/ 5 h 36"/>
                <a:gd name="T4" fmla="*/ 9 w 16"/>
                <a:gd name="T5" fmla="*/ 8 h 36"/>
                <a:gd name="T6" fmla="*/ 9 w 16"/>
                <a:gd name="T7" fmla="*/ 8 h 36"/>
                <a:gd name="T8" fmla="*/ 10 w 16"/>
                <a:gd name="T9" fmla="*/ 3 h 36"/>
                <a:gd name="T10" fmla="*/ 10 w 16"/>
                <a:gd name="T11" fmla="*/ 3 h 36"/>
                <a:gd name="T12" fmla="*/ 10 w 16"/>
                <a:gd name="T13" fmla="*/ 8 h 36"/>
                <a:gd name="T14" fmla="*/ 9 w 16"/>
                <a:gd name="T15" fmla="*/ 12 h 36"/>
                <a:gd name="T16" fmla="*/ 9 w 16"/>
                <a:gd name="T17" fmla="*/ 12 h 36"/>
                <a:gd name="T18" fmla="*/ 12 w 16"/>
                <a:gd name="T19" fmla="*/ 6 h 36"/>
                <a:gd name="T20" fmla="*/ 14 w 16"/>
                <a:gd name="T21" fmla="*/ 2 h 36"/>
                <a:gd name="T22" fmla="*/ 14 w 16"/>
                <a:gd name="T23" fmla="*/ 2 h 36"/>
                <a:gd name="T24" fmla="*/ 16 w 16"/>
                <a:gd name="T25" fmla="*/ 0 h 36"/>
                <a:gd name="T26" fmla="*/ 16 w 16"/>
                <a:gd name="T27" fmla="*/ 0 h 36"/>
                <a:gd name="T28" fmla="*/ 16 w 16"/>
                <a:gd name="T29" fmla="*/ 3 h 36"/>
                <a:gd name="T30" fmla="*/ 16 w 16"/>
                <a:gd name="T31" fmla="*/ 3 h 36"/>
                <a:gd name="T32" fmla="*/ 16 w 16"/>
                <a:gd name="T33" fmla="*/ 3 h 36"/>
                <a:gd name="T34" fmla="*/ 14 w 16"/>
                <a:gd name="T35" fmla="*/ 5 h 36"/>
                <a:gd name="T36" fmla="*/ 13 w 16"/>
                <a:gd name="T37" fmla="*/ 9 h 36"/>
                <a:gd name="T38" fmla="*/ 13 w 16"/>
                <a:gd name="T39" fmla="*/ 9 h 36"/>
                <a:gd name="T40" fmla="*/ 12 w 16"/>
                <a:gd name="T41" fmla="*/ 12 h 36"/>
                <a:gd name="T42" fmla="*/ 12 w 16"/>
                <a:gd name="T43" fmla="*/ 15 h 36"/>
                <a:gd name="T44" fmla="*/ 12 w 16"/>
                <a:gd name="T45" fmla="*/ 15 h 36"/>
                <a:gd name="T46" fmla="*/ 10 w 16"/>
                <a:gd name="T47" fmla="*/ 19 h 36"/>
                <a:gd name="T48" fmla="*/ 10 w 16"/>
                <a:gd name="T49" fmla="*/ 19 h 36"/>
                <a:gd name="T50" fmla="*/ 9 w 16"/>
                <a:gd name="T51" fmla="*/ 22 h 36"/>
                <a:gd name="T52" fmla="*/ 9 w 16"/>
                <a:gd name="T53" fmla="*/ 22 h 36"/>
                <a:gd name="T54" fmla="*/ 6 w 16"/>
                <a:gd name="T55" fmla="*/ 26 h 36"/>
                <a:gd name="T56" fmla="*/ 4 w 16"/>
                <a:gd name="T57" fmla="*/ 32 h 36"/>
                <a:gd name="T58" fmla="*/ 4 w 16"/>
                <a:gd name="T59" fmla="*/ 32 h 36"/>
                <a:gd name="T60" fmla="*/ 4 w 16"/>
                <a:gd name="T61" fmla="*/ 33 h 36"/>
                <a:gd name="T62" fmla="*/ 4 w 16"/>
                <a:gd name="T63" fmla="*/ 32 h 36"/>
                <a:gd name="T64" fmla="*/ 6 w 16"/>
                <a:gd name="T65" fmla="*/ 32 h 36"/>
                <a:gd name="T66" fmla="*/ 6 w 16"/>
                <a:gd name="T67" fmla="*/ 32 h 36"/>
                <a:gd name="T68" fmla="*/ 6 w 16"/>
                <a:gd name="T69" fmla="*/ 32 h 36"/>
                <a:gd name="T70" fmla="*/ 3 w 16"/>
                <a:gd name="T71" fmla="*/ 36 h 36"/>
                <a:gd name="T72" fmla="*/ 3 w 16"/>
                <a:gd name="T73" fmla="*/ 36 h 36"/>
                <a:gd name="T74" fmla="*/ 2 w 16"/>
                <a:gd name="T75" fmla="*/ 36 h 36"/>
                <a:gd name="T76" fmla="*/ 0 w 16"/>
                <a:gd name="T77" fmla="*/ 29 h 36"/>
                <a:gd name="T78" fmla="*/ 0 w 16"/>
                <a:gd name="T79" fmla="*/ 29 h 36"/>
                <a:gd name="T80" fmla="*/ 2 w 16"/>
                <a:gd name="T81" fmla="*/ 29 h 36"/>
                <a:gd name="T82" fmla="*/ 3 w 16"/>
                <a:gd name="T83" fmla="*/ 29 h 36"/>
                <a:gd name="T84" fmla="*/ 3 w 16"/>
                <a:gd name="T85" fmla="*/ 29 h 36"/>
                <a:gd name="T86" fmla="*/ 3 w 16"/>
                <a:gd name="T87" fmla="*/ 26 h 36"/>
                <a:gd name="T88" fmla="*/ 4 w 16"/>
                <a:gd name="T89" fmla="*/ 23 h 36"/>
                <a:gd name="T90" fmla="*/ 4 w 16"/>
                <a:gd name="T91" fmla="*/ 23 h 36"/>
                <a:gd name="T92" fmla="*/ 2 w 16"/>
                <a:gd name="T93" fmla="*/ 26 h 36"/>
                <a:gd name="T94" fmla="*/ 2 w 16"/>
                <a:gd name="T95" fmla="*/ 26 h 36"/>
                <a:gd name="T96" fmla="*/ 3 w 16"/>
                <a:gd name="T97" fmla="*/ 20 h 36"/>
                <a:gd name="T98" fmla="*/ 3 w 16"/>
                <a:gd name="T99" fmla="*/ 20 h 36"/>
                <a:gd name="T100" fmla="*/ 2 w 16"/>
                <a:gd name="T101" fmla="*/ 20 h 36"/>
                <a:gd name="T102" fmla="*/ 2 w 16"/>
                <a:gd name="T103" fmla="*/ 20 h 36"/>
                <a:gd name="T104" fmla="*/ 3 w 16"/>
                <a:gd name="T105" fmla="*/ 16 h 36"/>
                <a:gd name="T106" fmla="*/ 4 w 16"/>
                <a:gd name="T107" fmla="*/ 12 h 36"/>
                <a:gd name="T108" fmla="*/ 4 w 16"/>
                <a:gd name="T109" fmla="*/ 12 h 36"/>
                <a:gd name="T110" fmla="*/ 4 w 16"/>
                <a:gd name="T111" fmla="*/ 15 h 36"/>
                <a:gd name="T112" fmla="*/ 4 w 16"/>
                <a:gd name="T113" fmla="*/ 16 h 36"/>
                <a:gd name="T114" fmla="*/ 4 w 16"/>
                <a:gd name="T115" fmla="*/ 16 h 36"/>
                <a:gd name="T116" fmla="*/ 9 w 16"/>
                <a:gd name="T117"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 h="36">
                  <a:moveTo>
                    <a:pt x="9" y="5"/>
                  </a:moveTo>
                  <a:lnTo>
                    <a:pt x="9" y="5"/>
                  </a:lnTo>
                  <a:lnTo>
                    <a:pt x="9" y="8"/>
                  </a:lnTo>
                  <a:lnTo>
                    <a:pt x="9" y="8"/>
                  </a:lnTo>
                  <a:lnTo>
                    <a:pt x="10" y="3"/>
                  </a:lnTo>
                  <a:lnTo>
                    <a:pt x="10" y="3"/>
                  </a:lnTo>
                  <a:lnTo>
                    <a:pt x="10" y="8"/>
                  </a:lnTo>
                  <a:lnTo>
                    <a:pt x="9" y="12"/>
                  </a:lnTo>
                  <a:lnTo>
                    <a:pt x="9" y="12"/>
                  </a:lnTo>
                  <a:lnTo>
                    <a:pt x="12" y="6"/>
                  </a:lnTo>
                  <a:lnTo>
                    <a:pt x="14" y="2"/>
                  </a:lnTo>
                  <a:lnTo>
                    <a:pt x="14" y="2"/>
                  </a:lnTo>
                  <a:lnTo>
                    <a:pt x="16" y="0"/>
                  </a:lnTo>
                  <a:lnTo>
                    <a:pt x="16" y="0"/>
                  </a:lnTo>
                  <a:lnTo>
                    <a:pt x="16" y="3"/>
                  </a:lnTo>
                  <a:lnTo>
                    <a:pt x="16" y="3"/>
                  </a:lnTo>
                  <a:lnTo>
                    <a:pt x="16" y="3"/>
                  </a:lnTo>
                  <a:lnTo>
                    <a:pt x="14" y="5"/>
                  </a:lnTo>
                  <a:lnTo>
                    <a:pt x="13" y="9"/>
                  </a:lnTo>
                  <a:lnTo>
                    <a:pt x="13" y="9"/>
                  </a:lnTo>
                  <a:lnTo>
                    <a:pt x="12" y="12"/>
                  </a:lnTo>
                  <a:lnTo>
                    <a:pt x="12" y="15"/>
                  </a:lnTo>
                  <a:lnTo>
                    <a:pt x="12" y="15"/>
                  </a:lnTo>
                  <a:lnTo>
                    <a:pt x="10" y="19"/>
                  </a:lnTo>
                  <a:lnTo>
                    <a:pt x="10" y="19"/>
                  </a:lnTo>
                  <a:lnTo>
                    <a:pt x="9" y="22"/>
                  </a:lnTo>
                  <a:lnTo>
                    <a:pt x="9" y="22"/>
                  </a:lnTo>
                  <a:lnTo>
                    <a:pt x="6" y="26"/>
                  </a:lnTo>
                  <a:lnTo>
                    <a:pt x="4" y="32"/>
                  </a:lnTo>
                  <a:lnTo>
                    <a:pt x="4" y="32"/>
                  </a:lnTo>
                  <a:lnTo>
                    <a:pt x="4" y="33"/>
                  </a:lnTo>
                  <a:lnTo>
                    <a:pt x="4" y="32"/>
                  </a:lnTo>
                  <a:lnTo>
                    <a:pt x="6" y="32"/>
                  </a:lnTo>
                  <a:lnTo>
                    <a:pt x="6" y="32"/>
                  </a:lnTo>
                  <a:lnTo>
                    <a:pt x="6" y="32"/>
                  </a:lnTo>
                  <a:lnTo>
                    <a:pt x="3" y="36"/>
                  </a:lnTo>
                  <a:lnTo>
                    <a:pt x="3" y="36"/>
                  </a:lnTo>
                  <a:lnTo>
                    <a:pt x="2" y="36"/>
                  </a:lnTo>
                  <a:lnTo>
                    <a:pt x="0" y="29"/>
                  </a:lnTo>
                  <a:lnTo>
                    <a:pt x="0" y="29"/>
                  </a:lnTo>
                  <a:lnTo>
                    <a:pt x="2" y="29"/>
                  </a:lnTo>
                  <a:lnTo>
                    <a:pt x="3" y="29"/>
                  </a:lnTo>
                  <a:lnTo>
                    <a:pt x="3" y="29"/>
                  </a:lnTo>
                  <a:lnTo>
                    <a:pt x="3" y="26"/>
                  </a:lnTo>
                  <a:lnTo>
                    <a:pt x="4" y="23"/>
                  </a:lnTo>
                  <a:lnTo>
                    <a:pt x="4" y="23"/>
                  </a:lnTo>
                  <a:lnTo>
                    <a:pt x="2" y="26"/>
                  </a:lnTo>
                  <a:lnTo>
                    <a:pt x="2" y="26"/>
                  </a:lnTo>
                  <a:lnTo>
                    <a:pt x="3" y="20"/>
                  </a:lnTo>
                  <a:lnTo>
                    <a:pt x="3" y="20"/>
                  </a:lnTo>
                  <a:lnTo>
                    <a:pt x="2" y="20"/>
                  </a:lnTo>
                  <a:lnTo>
                    <a:pt x="2" y="20"/>
                  </a:lnTo>
                  <a:lnTo>
                    <a:pt x="3" y="16"/>
                  </a:lnTo>
                  <a:lnTo>
                    <a:pt x="4" y="12"/>
                  </a:lnTo>
                  <a:lnTo>
                    <a:pt x="4" y="12"/>
                  </a:lnTo>
                  <a:lnTo>
                    <a:pt x="4" y="15"/>
                  </a:lnTo>
                  <a:lnTo>
                    <a:pt x="4" y="16"/>
                  </a:lnTo>
                  <a:lnTo>
                    <a:pt x="4" y="16"/>
                  </a:lnTo>
                  <a:lnTo>
                    <a:pt x="9"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7" name="Freeform 779"/>
            <p:cNvSpPr/>
            <p:nvPr/>
          </p:nvSpPr>
          <p:spPr bwMode="auto">
            <a:xfrm>
              <a:off x="1795529" y="2756298"/>
              <a:ext cx="36861" cy="92155"/>
            </a:xfrm>
            <a:custGeom>
              <a:avLst/>
              <a:gdLst>
                <a:gd name="T0" fmla="*/ 0 w 12"/>
                <a:gd name="T1" fmla="*/ 25 h 30"/>
                <a:gd name="T2" fmla="*/ 0 w 12"/>
                <a:gd name="T3" fmla="*/ 25 h 30"/>
                <a:gd name="T4" fmla="*/ 0 w 12"/>
                <a:gd name="T5" fmla="*/ 22 h 30"/>
                <a:gd name="T6" fmla="*/ 2 w 12"/>
                <a:gd name="T7" fmla="*/ 17 h 30"/>
                <a:gd name="T8" fmla="*/ 2 w 12"/>
                <a:gd name="T9" fmla="*/ 17 h 30"/>
                <a:gd name="T10" fmla="*/ 3 w 12"/>
                <a:gd name="T11" fmla="*/ 16 h 30"/>
                <a:gd name="T12" fmla="*/ 4 w 12"/>
                <a:gd name="T13" fmla="*/ 13 h 30"/>
                <a:gd name="T14" fmla="*/ 4 w 12"/>
                <a:gd name="T15" fmla="*/ 13 h 30"/>
                <a:gd name="T16" fmla="*/ 7 w 12"/>
                <a:gd name="T17" fmla="*/ 6 h 30"/>
                <a:gd name="T18" fmla="*/ 7 w 12"/>
                <a:gd name="T19" fmla="*/ 6 h 30"/>
                <a:gd name="T20" fmla="*/ 7 w 12"/>
                <a:gd name="T21" fmla="*/ 7 h 30"/>
                <a:gd name="T22" fmla="*/ 9 w 12"/>
                <a:gd name="T23" fmla="*/ 6 h 30"/>
                <a:gd name="T24" fmla="*/ 10 w 12"/>
                <a:gd name="T25" fmla="*/ 2 h 30"/>
                <a:gd name="T26" fmla="*/ 12 w 12"/>
                <a:gd name="T27" fmla="*/ 0 h 30"/>
                <a:gd name="T28" fmla="*/ 12 w 12"/>
                <a:gd name="T29" fmla="*/ 0 h 30"/>
                <a:gd name="T30" fmla="*/ 9 w 12"/>
                <a:gd name="T31" fmla="*/ 7 h 30"/>
                <a:gd name="T32" fmla="*/ 6 w 12"/>
                <a:gd name="T33" fmla="*/ 13 h 30"/>
                <a:gd name="T34" fmla="*/ 6 w 12"/>
                <a:gd name="T35" fmla="*/ 13 h 30"/>
                <a:gd name="T36" fmla="*/ 6 w 12"/>
                <a:gd name="T37" fmla="*/ 19 h 30"/>
                <a:gd name="T38" fmla="*/ 6 w 12"/>
                <a:gd name="T39" fmla="*/ 23 h 30"/>
                <a:gd name="T40" fmla="*/ 6 w 12"/>
                <a:gd name="T41" fmla="*/ 26 h 30"/>
                <a:gd name="T42" fmla="*/ 4 w 12"/>
                <a:gd name="T43" fmla="*/ 30 h 30"/>
                <a:gd name="T44" fmla="*/ 4 w 12"/>
                <a:gd name="T45" fmla="*/ 30 h 30"/>
                <a:gd name="T46" fmla="*/ 4 w 12"/>
                <a:gd name="T47" fmla="*/ 26 h 30"/>
                <a:gd name="T48" fmla="*/ 4 w 12"/>
                <a:gd name="T49" fmla="*/ 22 h 30"/>
                <a:gd name="T50" fmla="*/ 3 w 12"/>
                <a:gd name="T51" fmla="*/ 20 h 30"/>
                <a:gd name="T52" fmla="*/ 3 w 12"/>
                <a:gd name="T53" fmla="*/ 20 h 30"/>
                <a:gd name="T54" fmla="*/ 0 w 12"/>
                <a:gd name="T55"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 h="30">
                  <a:moveTo>
                    <a:pt x="0" y="25"/>
                  </a:moveTo>
                  <a:lnTo>
                    <a:pt x="0" y="25"/>
                  </a:lnTo>
                  <a:lnTo>
                    <a:pt x="0" y="22"/>
                  </a:lnTo>
                  <a:lnTo>
                    <a:pt x="2" y="17"/>
                  </a:lnTo>
                  <a:lnTo>
                    <a:pt x="2" y="17"/>
                  </a:lnTo>
                  <a:lnTo>
                    <a:pt x="3" y="16"/>
                  </a:lnTo>
                  <a:lnTo>
                    <a:pt x="4" y="13"/>
                  </a:lnTo>
                  <a:lnTo>
                    <a:pt x="4" y="13"/>
                  </a:lnTo>
                  <a:lnTo>
                    <a:pt x="7" y="6"/>
                  </a:lnTo>
                  <a:lnTo>
                    <a:pt x="7" y="6"/>
                  </a:lnTo>
                  <a:lnTo>
                    <a:pt x="7" y="7"/>
                  </a:lnTo>
                  <a:lnTo>
                    <a:pt x="9" y="6"/>
                  </a:lnTo>
                  <a:lnTo>
                    <a:pt x="10" y="2"/>
                  </a:lnTo>
                  <a:lnTo>
                    <a:pt x="12" y="0"/>
                  </a:lnTo>
                  <a:lnTo>
                    <a:pt x="12" y="0"/>
                  </a:lnTo>
                  <a:lnTo>
                    <a:pt x="9" y="7"/>
                  </a:lnTo>
                  <a:lnTo>
                    <a:pt x="6" y="13"/>
                  </a:lnTo>
                  <a:lnTo>
                    <a:pt x="6" y="13"/>
                  </a:lnTo>
                  <a:lnTo>
                    <a:pt x="6" y="19"/>
                  </a:lnTo>
                  <a:lnTo>
                    <a:pt x="6" y="23"/>
                  </a:lnTo>
                  <a:lnTo>
                    <a:pt x="6" y="26"/>
                  </a:lnTo>
                  <a:lnTo>
                    <a:pt x="4" y="30"/>
                  </a:lnTo>
                  <a:lnTo>
                    <a:pt x="4" y="30"/>
                  </a:lnTo>
                  <a:lnTo>
                    <a:pt x="4" y="26"/>
                  </a:lnTo>
                  <a:lnTo>
                    <a:pt x="4" y="22"/>
                  </a:lnTo>
                  <a:lnTo>
                    <a:pt x="3" y="20"/>
                  </a:lnTo>
                  <a:lnTo>
                    <a:pt x="3" y="20"/>
                  </a:lnTo>
                  <a:lnTo>
                    <a:pt x="0" y="2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8" name="Freeform 780"/>
            <p:cNvSpPr/>
            <p:nvPr/>
          </p:nvSpPr>
          <p:spPr bwMode="auto">
            <a:xfrm>
              <a:off x="2520465" y="2240240"/>
              <a:ext cx="61435" cy="55293"/>
            </a:xfrm>
            <a:custGeom>
              <a:avLst/>
              <a:gdLst>
                <a:gd name="T0" fmla="*/ 11 w 18"/>
                <a:gd name="T1" fmla="*/ 5 h 17"/>
                <a:gd name="T2" fmla="*/ 11 w 18"/>
                <a:gd name="T3" fmla="*/ 5 h 17"/>
                <a:gd name="T4" fmla="*/ 11 w 18"/>
                <a:gd name="T5" fmla="*/ 7 h 17"/>
                <a:gd name="T6" fmla="*/ 11 w 18"/>
                <a:gd name="T7" fmla="*/ 7 h 17"/>
                <a:gd name="T8" fmla="*/ 13 w 18"/>
                <a:gd name="T9" fmla="*/ 7 h 17"/>
                <a:gd name="T10" fmla="*/ 13 w 18"/>
                <a:gd name="T11" fmla="*/ 7 h 17"/>
                <a:gd name="T12" fmla="*/ 14 w 18"/>
                <a:gd name="T13" fmla="*/ 5 h 17"/>
                <a:gd name="T14" fmla="*/ 14 w 18"/>
                <a:gd name="T15" fmla="*/ 2 h 17"/>
                <a:gd name="T16" fmla="*/ 14 w 18"/>
                <a:gd name="T17" fmla="*/ 2 h 17"/>
                <a:gd name="T18" fmla="*/ 18 w 18"/>
                <a:gd name="T19" fmla="*/ 0 h 17"/>
                <a:gd name="T20" fmla="*/ 18 w 18"/>
                <a:gd name="T21" fmla="*/ 0 h 17"/>
                <a:gd name="T22" fmla="*/ 17 w 18"/>
                <a:gd name="T23" fmla="*/ 5 h 17"/>
                <a:gd name="T24" fmla="*/ 14 w 18"/>
                <a:gd name="T25" fmla="*/ 10 h 17"/>
                <a:gd name="T26" fmla="*/ 14 w 18"/>
                <a:gd name="T27" fmla="*/ 10 h 17"/>
                <a:gd name="T28" fmla="*/ 7 w 18"/>
                <a:gd name="T29" fmla="*/ 13 h 17"/>
                <a:gd name="T30" fmla="*/ 0 w 18"/>
                <a:gd name="T31" fmla="*/ 17 h 17"/>
                <a:gd name="T32" fmla="*/ 0 w 18"/>
                <a:gd name="T33" fmla="*/ 17 h 17"/>
                <a:gd name="T34" fmla="*/ 6 w 18"/>
                <a:gd name="T35" fmla="*/ 12 h 17"/>
                <a:gd name="T36" fmla="*/ 11 w 18"/>
                <a:gd name="T37"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7">
                  <a:moveTo>
                    <a:pt x="11" y="5"/>
                  </a:moveTo>
                  <a:lnTo>
                    <a:pt x="11" y="5"/>
                  </a:lnTo>
                  <a:lnTo>
                    <a:pt x="11" y="7"/>
                  </a:lnTo>
                  <a:lnTo>
                    <a:pt x="11" y="7"/>
                  </a:lnTo>
                  <a:lnTo>
                    <a:pt x="13" y="7"/>
                  </a:lnTo>
                  <a:lnTo>
                    <a:pt x="13" y="7"/>
                  </a:lnTo>
                  <a:lnTo>
                    <a:pt x="14" y="5"/>
                  </a:lnTo>
                  <a:lnTo>
                    <a:pt x="14" y="2"/>
                  </a:lnTo>
                  <a:lnTo>
                    <a:pt x="14" y="2"/>
                  </a:lnTo>
                  <a:lnTo>
                    <a:pt x="18" y="0"/>
                  </a:lnTo>
                  <a:lnTo>
                    <a:pt x="18" y="0"/>
                  </a:lnTo>
                  <a:lnTo>
                    <a:pt x="17" y="5"/>
                  </a:lnTo>
                  <a:lnTo>
                    <a:pt x="14" y="10"/>
                  </a:lnTo>
                  <a:lnTo>
                    <a:pt x="14" y="10"/>
                  </a:lnTo>
                  <a:lnTo>
                    <a:pt x="7" y="13"/>
                  </a:lnTo>
                  <a:lnTo>
                    <a:pt x="0" y="17"/>
                  </a:lnTo>
                  <a:lnTo>
                    <a:pt x="0" y="17"/>
                  </a:lnTo>
                  <a:lnTo>
                    <a:pt x="6" y="12"/>
                  </a:lnTo>
                  <a:lnTo>
                    <a:pt x="11"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9" name="Freeform 781"/>
            <p:cNvSpPr/>
            <p:nvPr/>
          </p:nvSpPr>
          <p:spPr bwMode="auto">
            <a:xfrm>
              <a:off x="2121134" y="2498269"/>
              <a:ext cx="18433" cy="24574"/>
            </a:xfrm>
            <a:custGeom>
              <a:avLst/>
              <a:gdLst>
                <a:gd name="T0" fmla="*/ 5 w 5"/>
                <a:gd name="T1" fmla="*/ 0 h 9"/>
                <a:gd name="T2" fmla="*/ 5 w 5"/>
                <a:gd name="T3" fmla="*/ 0 h 9"/>
                <a:gd name="T4" fmla="*/ 4 w 5"/>
                <a:gd name="T5" fmla="*/ 4 h 9"/>
                <a:gd name="T6" fmla="*/ 0 w 5"/>
                <a:gd name="T7" fmla="*/ 9 h 9"/>
                <a:gd name="T8" fmla="*/ 0 w 5"/>
                <a:gd name="T9" fmla="*/ 9 h 9"/>
                <a:gd name="T10" fmla="*/ 5 w 5"/>
                <a:gd name="T11" fmla="*/ 0 h 9"/>
              </a:gdLst>
              <a:ahLst/>
              <a:cxnLst>
                <a:cxn ang="0">
                  <a:pos x="T0" y="T1"/>
                </a:cxn>
                <a:cxn ang="0">
                  <a:pos x="T2" y="T3"/>
                </a:cxn>
                <a:cxn ang="0">
                  <a:pos x="T4" y="T5"/>
                </a:cxn>
                <a:cxn ang="0">
                  <a:pos x="T6" y="T7"/>
                </a:cxn>
                <a:cxn ang="0">
                  <a:pos x="T8" y="T9"/>
                </a:cxn>
                <a:cxn ang="0">
                  <a:pos x="T10" y="T11"/>
                </a:cxn>
              </a:cxnLst>
              <a:rect l="0" t="0" r="r" b="b"/>
              <a:pathLst>
                <a:path w="5" h="9">
                  <a:moveTo>
                    <a:pt x="5" y="0"/>
                  </a:moveTo>
                  <a:lnTo>
                    <a:pt x="5" y="0"/>
                  </a:lnTo>
                  <a:lnTo>
                    <a:pt x="4" y="4"/>
                  </a:lnTo>
                  <a:lnTo>
                    <a:pt x="0" y="9"/>
                  </a:lnTo>
                  <a:lnTo>
                    <a:pt x="0" y="9"/>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0" name="Freeform 782"/>
            <p:cNvSpPr/>
            <p:nvPr/>
          </p:nvSpPr>
          <p:spPr bwMode="auto">
            <a:xfrm>
              <a:off x="1697232" y="2983606"/>
              <a:ext cx="6145" cy="18433"/>
            </a:xfrm>
            <a:custGeom>
              <a:avLst/>
              <a:gdLst>
                <a:gd name="T0" fmla="*/ 2 w 3"/>
                <a:gd name="T1" fmla="*/ 0 h 6"/>
                <a:gd name="T2" fmla="*/ 2 w 3"/>
                <a:gd name="T3" fmla="*/ 0 h 6"/>
                <a:gd name="T4" fmla="*/ 2 w 3"/>
                <a:gd name="T5" fmla="*/ 1 h 6"/>
                <a:gd name="T6" fmla="*/ 2 w 3"/>
                <a:gd name="T7" fmla="*/ 0 h 6"/>
                <a:gd name="T8" fmla="*/ 3 w 3"/>
                <a:gd name="T9" fmla="*/ 0 h 6"/>
                <a:gd name="T10" fmla="*/ 3 w 3"/>
                <a:gd name="T11" fmla="*/ 1 h 6"/>
                <a:gd name="T12" fmla="*/ 3 w 3"/>
                <a:gd name="T13" fmla="*/ 1 h 6"/>
                <a:gd name="T14" fmla="*/ 2 w 3"/>
                <a:gd name="T15" fmla="*/ 4 h 6"/>
                <a:gd name="T16" fmla="*/ 2 w 3"/>
                <a:gd name="T17" fmla="*/ 6 h 6"/>
                <a:gd name="T18" fmla="*/ 0 w 3"/>
                <a:gd name="T19" fmla="*/ 4 h 6"/>
                <a:gd name="T20" fmla="*/ 2 w 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2" y="0"/>
                  </a:moveTo>
                  <a:lnTo>
                    <a:pt x="2" y="0"/>
                  </a:lnTo>
                  <a:lnTo>
                    <a:pt x="2" y="1"/>
                  </a:lnTo>
                  <a:lnTo>
                    <a:pt x="2" y="0"/>
                  </a:lnTo>
                  <a:lnTo>
                    <a:pt x="3" y="0"/>
                  </a:lnTo>
                  <a:lnTo>
                    <a:pt x="3" y="1"/>
                  </a:lnTo>
                  <a:lnTo>
                    <a:pt x="3" y="1"/>
                  </a:lnTo>
                  <a:lnTo>
                    <a:pt x="2" y="4"/>
                  </a:lnTo>
                  <a:lnTo>
                    <a:pt x="2" y="6"/>
                  </a:lnTo>
                  <a:lnTo>
                    <a:pt x="0" y="4"/>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1" name="Freeform 783"/>
            <p:cNvSpPr/>
            <p:nvPr/>
          </p:nvSpPr>
          <p:spPr bwMode="auto">
            <a:xfrm>
              <a:off x="1820103" y="2768584"/>
              <a:ext cx="12287" cy="49148"/>
            </a:xfrm>
            <a:custGeom>
              <a:avLst/>
              <a:gdLst>
                <a:gd name="T0" fmla="*/ 5 w 5"/>
                <a:gd name="T1" fmla="*/ 0 h 14"/>
                <a:gd name="T2" fmla="*/ 5 w 5"/>
                <a:gd name="T3" fmla="*/ 0 h 14"/>
                <a:gd name="T4" fmla="*/ 3 w 5"/>
                <a:gd name="T5" fmla="*/ 10 h 14"/>
                <a:gd name="T6" fmla="*/ 3 w 5"/>
                <a:gd name="T7" fmla="*/ 10 h 14"/>
                <a:gd name="T8" fmla="*/ 2 w 5"/>
                <a:gd name="T9" fmla="*/ 14 h 14"/>
                <a:gd name="T10" fmla="*/ 2 w 5"/>
                <a:gd name="T11" fmla="*/ 14 h 14"/>
                <a:gd name="T12" fmla="*/ 0 w 5"/>
                <a:gd name="T13" fmla="*/ 13 h 14"/>
                <a:gd name="T14" fmla="*/ 0 w 5"/>
                <a:gd name="T15" fmla="*/ 9 h 14"/>
                <a:gd name="T16" fmla="*/ 0 w 5"/>
                <a:gd name="T17" fmla="*/ 9 h 14"/>
                <a:gd name="T18" fmla="*/ 5 w 5"/>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4">
                  <a:moveTo>
                    <a:pt x="5" y="0"/>
                  </a:moveTo>
                  <a:lnTo>
                    <a:pt x="5" y="0"/>
                  </a:lnTo>
                  <a:lnTo>
                    <a:pt x="3" y="10"/>
                  </a:lnTo>
                  <a:lnTo>
                    <a:pt x="3" y="10"/>
                  </a:lnTo>
                  <a:lnTo>
                    <a:pt x="2" y="14"/>
                  </a:lnTo>
                  <a:lnTo>
                    <a:pt x="2" y="14"/>
                  </a:lnTo>
                  <a:lnTo>
                    <a:pt x="0" y="13"/>
                  </a:lnTo>
                  <a:lnTo>
                    <a:pt x="0" y="9"/>
                  </a:lnTo>
                  <a:lnTo>
                    <a:pt x="0" y="9"/>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2" name="Freeform 784"/>
            <p:cNvSpPr/>
            <p:nvPr/>
          </p:nvSpPr>
          <p:spPr bwMode="auto">
            <a:xfrm>
              <a:off x="2151853" y="2467550"/>
              <a:ext cx="12287" cy="18433"/>
            </a:xfrm>
            <a:custGeom>
              <a:avLst/>
              <a:gdLst>
                <a:gd name="T0" fmla="*/ 0 w 4"/>
                <a:gd name="T1" fmla="*/ 2 h 6"/>
                <a:gd name="T2" fmla="*/ 0 w 4"/>
                <a:gd name="T3" fmla="*/ 2 h 6"/>
                <a:gd name="T4" fmla="*/ 2 w 4"/>
                <a:gd name="T5" fmla="*/ 0 h 6"/>
                <a:gd name="T6" fmla="*/ 4 w 4"/>
                <a:gd name="T7" fmla="*/ 0 h 6"/>
                <a:gd name="T8" fmla="*/ 4 w 4"/>
                <a:gd name="T9" fmla="*/ 0 h 6"/>
                <a:gd name="T10" fmla="*/ 4 w 4"/>
                <a:gd name="T11" fmla="*/ 0 h 6"/>
                <a:gd name="T12" fmla="*/ 1 w 4"/>
                <a:gd name="T13" fmla="*/ 3 h 6"/>
                <a:gd name="T14" fmla="*/ 0 w 4"/>
                <a:gd name="T15" fmla="*/ 6 h 6"/>
                <a:gd name="T16" fmla="*/ 0 w 4"/>
                <a:gd name="T17" fmla="*/ 6 h 6"/>
                <a:gd name="T18" fmla="*/ 0 w 4"/>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0" y="2"/>
                  </a:moveTo>
                  <a:lnTo>
                    <a:pt x="0" y="2"/>
                  </a:lnTo>
                  <a:lnTo>
                    <a:pt x="2" y="0"/>
                  </a:lnTo>
                  <a:lnTo>
                    <a:pt x="4" y="0"/>
                  </a:lnTo>
                  <a:lnTo>
                    <a:pt x="4" y="0"/>
                  </a:lnTo>
                  <a:lnTo>
                    <a:pt x="4" y="0"/>
                  </a:lnTo>
                  <a:lnTo>
                    <a:pt x="1" y="3"/>
                  </a:lnTo>
                  <a:lnTo>
                    <a:pt x="0" y="6"/>
                  </a:lnTo>
                  <a:lnTo>
                    <a:pt x="0" y="6"/>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3" name="Freeform 785"/>
            <p:cNvSpPr/>
            <p:nvPr/>
          </p:nvSpPr>
          <p:spPr bwMode="auto">
            <a:xfrm>
              <a:off x="1961402" y="2608853"/>
              <a:ext cx="12287" cy="30720"/>
            </a:xfrm>
            <a:custGeom>
              <a:avLst/>
              <a:gdLst>
                <a:gd name="T0" fmla="*/ 3 w 5"/>
                <a:gd name="T1" fmla="*/ 2 h 10"/>
                <a:gd name="T2" fmla="*/ 3 w 5"/>
                <a:gd name="T3" fmla="*/ 2 h 10"/>
                <a:gd name="T4" fmla="*/ 5 w 5"/>
                <a:gd name="T5" fmla="*/ 0 h 10"/>
                <a:gd name="T6" fmla="*/ 5 w 5"/>
                <a:gd name="T7" fmla="*/ 3 h 10"/>
                <a:gd name="T8" fmla="*/ 0 w 5"/>
                <a:gd name="T9" fmla="*/ 10 h 10"/>
                <a:gd name="T10" fmla="*/ 0 w 5"/>
                <a:gd name="T11" fmla="*/ 10 h 10"/>
                <a:gd name="T12" fmla="*/ 2 w 5"/>
                <a:gd name="T13" fmla="*/ 6 h 10"/>
                <a:gd name="T14" fmla="*/ 3 w 5"/>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0">
                  <a:moveTo>
                    <a:pt x="3" y="2"/>
                  </a:moveTo>
                  <a:lnTo>
                    <a:pt x="3" y="2"/>
                  </a:lnTo>
                  <a:lnTo>
                    <a:pt x="5" y="0"/>
                  </a:lnTo>
                  <a:lnTo>
                    <a:pt x="5" y="3"/>
                  </a:lnTo>
                  <a:lnTo>
                    <a:pt x="0" y="10"/>
                  </a:lnTo>
                  <a:lnTo>
                    <a:pt x="0" y="10"/>
                  </a:lnTo>
                  <a:lnTo>
                    <a:pt x="2" y="6"/>
                  </a:lnTo>
                  <a:lnTo>
                    <a:pt x="3"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4" name="Freeform 786"/>
            <p:cNvSpPr/>
            <p:nvPr/>
          </p:nvSpPr>
          <p:spPr bwMode="auto">
            <a:xfrm>
              <a:off x="1746381" y="2879168"/>
              <a:ext cx="12287" cy="12287"/>
            </a:xfrm>
            <a:custGeom>
              <a:avLst/>
              <a:gdLst>
                <a:gd name="T0" fmla="*/ 0 w 3"/>
                <a:gd name="T1" fmla="*/ 5 h 6"/>
                <a:gd name="T2" fmla="*/ 0 w 3"/>
                <a:gd name="T3" fmla="*/ 5 h 6"/>
                <a:gd name="T4" fmla="*/ 2 w 3"/>
                <a:gd name="T5" fmla="*/ 2 h 6"/>
                <a:gd name="T6" fmla="*/ 3 w 3"/>
                <a:gd name="T7" fmla="*/ 0 h 6"/>
                <a:gd name="T8" fmla="*/ 3 w 3"/>
                <a:gd name="T9" fmla="*/ 2 h 6"/>
                <a:gd name="T10" fmla="*/ 3 w 3"/>
                <a:gd name="T11" fmla="*/ 2 h 6"/>
                <a:gd name="T12" fmla="*/ 0 w 3"/>
                <a:gd name="T13" fmla="*/ 6 h 6"/>
                <a:gd name="T14" fmla="*/ 0 w 3"/>
                <a:gd name="T15" fmla="*/ 6 h 6"/>
                <a:gd name="T16" fmla="*/ 0 w 3"/>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0" y="5"/>
                  </a:moveTo>
                  <a:lnTo>
                    <a:pt x="0" y="5"/>
                  </a:lnTo>
                  <a:lnTo>
                    <a:pt x="2" y="2"/>
                  </a:lnTo>
                  <a:lnTo>
                    <a:pt x="3" y="0"/>
                  </a:lnTo>
                  <a:lnTo>
                    <a:pt x="3" y="2"/>
                  </a:lnTo>
                  <a:lnTo>
                    <a:pt x="3" y="2"/>
                  </a:lnTo>
                  <a:lnTo>
                    <a:pt x="0" y="6"/>
                  </a:lnTo>
                  <a:lnTo>
                    <a:pt x="0" y="6"/>
                  </a:lnTo>
                  <a:lnTo>
                    <a:pt x="0"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5" name="Freeform 787"/>
            <p:cNvSpPr/>
            <p:nvPr/>
          </p:nvSpPr>
          <p:spPr bwMode="auto">
            <a:xfrm>
              <a:off x="2151853" y="2442976"/>
              <a:ext cx="18433" cy="24574"/>
            </a:xfrm>
            <a:custGeom>
              <a:avLst/>
              <a:gdLst>
                <a:gd name="T0" fmla="*/ 2 w 5"/>
                <a:gd name="T1" fmla="*/ 4 h 8"/>
                <a:gd name="T2" fmla="*/ 2 w 5"/>
                <a:gd name="T3" fmla="*/ 4 h 8"/>
                <a:gd name="T4" fmla="*/ 2 w 5"/>
                <a:gd name="T5" fmla="*/ 4 h 8"/>
                <a:gd name="T6" fmla="*/ 2 w 5"/>
                <a:gd name="T7" fmla="*/ 4 h 8"/>
                <a:gd name="T8" fmla="*/ 2 w 5"/>
                <a:gd name="T9" fmla="*/ 4 h 8"/>
                <a:gd name="T10" fmla="*/ 5 w 5"/>
                <a:gd name="T11" fmla="*/ 0 h 8"/>
                <a:gd name="T12" fmla="*/ 5 w 5"/>
                <a:gd name="T13" fmla="*/ 0 h 8"/>
                <a:gd name="T14" fmla="*/ 4 w 5"/>
                <a:gd name="T15" fmla="*/ 4 h 8"/>
                <a:gd name="T16" fmla="*/ 0 w 5"/>
                <a:gd name="T17" fmla="*/ 8 h 8"/>
                <a:gd name="T18" fmla="*/ 0 w 5"/>
                <a:gd name="T19" fmla="*/ 8 h 8"/>
                <a:gd name="T20" fmla="*/ 1 w 5"/>
                <a:gd name="T21" fmla="*/ 6 h 8"/>
                <a:gd name="T22" fmla="*/ 2 w 5"/>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2" y="4"/>
                  </a:moveTo>
                  <a:lnTo>
                    <a:pt x="2" y="4"/>
                  </a:lnTo>
                  <a:lnTo>
                    <a:pt x="2" y="4"/>
                  </a:lnTo>
                  <a:lnTo>
                    <a:pt x="2" y="4"/>
                  </a:lnTo>
                  <a:lnTo>
                    <a:pt x="2" y="4"/>
                  </a:lnTo>
                  <a:lnTo>
                    <a:pt x="5" y="0"/>
                  </a:lnTo>
                  <a:lnTo>
                    <a:pt x="5" y="0"/>
                  </a:lnTo>
                  <a:lnTo>
                    <a:pt x="4" y="4"/>
                  </a:lnTo>
                  <a:lnTo>
                    <a:pt x="0" y="8"/>
                  </a:lnTo>
                  <a:lnTo>
                    <a:pt x="0" y="8"/>
                  </a:lnTo>
                  <a:lnTo>
                    <a:pt x="1" y="6"/>
                  </a:lnTo>
                  <a:lnTo>
                    <a:pt x="2"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6" name="Freeform 788"/>
            <p:cNvSpPr/>
            <p:nvPr/>
          </p:nvSpPr>
          <p:spPr bwMode="auto">
            <a:xfrm>
              <a:off x="2121134" y="2449121"/>
              <a:ext cx="18433" cy="30720"/>
            </a:xfrm>
            <a:custGeom>
              <a:avLst/>
              <a:gdLst>
                <a:gd name="T0" fmla="*/ 7 w 7"/>
                <a:gd name="T1" fmla="*/ 0 h 8"/>
                <a:gd name="T2" fmla="*/ 7 w 7"/>
                <a:gd name="T3" fmla="*/ 0 h 8"/>
                <a:gd name="T4" fmla="*/ 2 w 7"/>
                <a:gd name="T5" fmla="*/ 4 h 8"/>
                <a:gd name="T6" fmla="*/ 0 w 7"/>
                <a:gd name="T7" fmla="*/ 8 h 8"/>
                <a:gd name="T8" fmla="*/ 0 w 7"/>
                <a:gd name="T9" fmla="*/ 8 h 8"/>
                <a:gd name="T10" fmla="*/ 1 w 7"/>
                <a:gd name="T11" fmla="*/ 5 h 8"/>
                <a:gd name="T12" fmla="*/ 1 w 7"/>
                <a:gd name="T13" fmla="*/ 5 h 8"/>
                <a:gd name="T14" fmla="*/ 2 w 7"/>
                <a:gd name="T15" fmla="*/ 1 h 8"/>
                <a:gd name="T16" fmla="*/ 2 w 7"/>
                <a:gd name="T17" fmla="*/ 1 h 8"/>
                <a:gd name="T18" fmla="*/ 5 w 7"/>
                <a:gd name="T19" fmla="*/ 0 h 8"/>
                <a:gd name="T20" fmla="*/ 7 w 7"/>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7" y="0"/>
                  </a:moveTo>
                  <a:lnTo>
                    <a:pt x="7" y="0"/>
                  </a:lnTo>
                  <a:lnTo>
                    <a:pt x="2" y="4"/>
                  </a:lnTo>
                  <a:lnTo>
                    <a:pt x="0" y="8"/>
                  </a:lnTo>
                  <a:lnTo>
                    <a:pt x="0" y="8"/>
                  </a:lnTo>
                  <a:lnTo>
                    <a:pt x="1" y="5"/>
                  </a:lnTo>
                  <a:lnTo>
                    <a:pt x="1" y="5"/>
                  </a:lnTo>
                  <a:lnTo>
                    <a:pt x="2" y="1"/>
                  </a:lnTo>
                  <a:lnTo>
                    <a:pt x="2" y="1"/>
                  </a:lnTo>
                  <a:lnTo>
                    <a:pt x="5" y="0"/>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7" name="Freeform 789"/>
            <p:cNvSpPr/>
            <p:nvPr/>
          </p:nvSpPr>
          <p:spPr bwMode="auto">
            <a:xfrm>
              <a:off x="1654226" y="2965178"/>
              <a:ext cx="12287" cy="36861"/>
            </a:xfrm>
            <a:custGeom>
              <a:avLst/>
              <a:gdLst>
                <a:gd name="T0" fmla="*/ 2 w 5"/>
                <a:gd name="T1" fmla="*/ 4 h 13"/>
                <a:gd name="T2" fmla="*/ 2 w 5"/>
                <a:gd name="T3" fmla="*/ 4 h 13"/>
                <a:gd name="T4" fmla="*/ 2 w 5"/>
                <a:gd name="T5" fmla="*/ 4 h 13"/>
                <a:gd name="T6" fmla="*/ 2 w 5"/>
                <a:gd name="T7" fmla="*/ 3 h 13"/>
                <a:gd name="T8" fmla="*/ 2 w 5"/>
                <a:gd name="T9" fmla="*/ 1 h 13"/>
                <a:gd name="T10" fmla="*/ 2 w 5"/>
                <a:gd name="T11" fmla="*/ 1 h 13"/>
                <a:gd name="T12" fmla="*/ 2 w 5"/>
                <a:gd name="T13" fmla="*/ 1 h 13"/>
                <a:gd name="T14" fmla="*/ 3 w 5"/>
                <a:gd name="T15" fmla="*/ 0 h 13"/>
                <a:gd name="T16" fmla="*/ 5 w 5"/>
                <a:gd name="T17" fmla="*/ 0 h 13"/>
                <a:gd name="T18" fmla="*/ 5 w 5"/>
                <a:gd name="T19" fmla="*/ 0 h 13"/>
                <a:gd name="T20" fmla="*/ 0 w 5"/>
                <a:gd name="T21" fmla="*/ 13 h 13"/>
                <a:gd name="T22" fmla="*/ 0 w 5"/>
                <a:gd name="T23" fmla="*/ 13 h 13"/>
                <a:gd name="T24" fmla="*/ 0 w 5"/>
                <a:gd name="T25" fmla="*/ 8 h 13"/>
                <a:gd name="T26" fmla="*/ 2 w 5"/>
                <a:gd name="T27"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3">
                  <a:moveTo>
                    <a:pt x="2" y="4"/>
                  </a:moveTo>
                  <a:lnTo>
                    <a:pt x="2" y="4"/>
                  </a:lnTo>
                  <a:lnTo>
                    <a:pt x="2" y="4"/>
                  </a:lnTo>
                  <a:lnTo>
                    <a:pt x="2" y="3"/>
                  </a:lnTo>
                  <a:lnTo>
                    <a:pt x="2" y="1"/>
                  </a:lnTo>
                  <a:lnTo>
                    <a:pt x="2" y="1"/>
                  </a:lnTo>
                  <a:lnTo>
                    <a:pt x="2" y="1"/>
                  </a:lnTo>
                  <a:lnTo>
                    <a:pt x="3" y="0"/>
                  </a:lnTo>
                  <a:lnTo>
                    <a:pt x="5" y="0"/>
                  </a:lnTo>
                  <a:lnTo>
                    <a:pt x="5" y="0"/>
                  </a:lnTo>
                  <a:lnTo>
                    <a:pt x="0" y="13"/>
                  </a:lnTo>
                  <a:lnTo>
                    <a:pt x="0" y="13"/>
                  </a:lnTo>
                  <a:lnTo>
                    <a:pt x="0" y="8"/>
                  </a:lnTo>
                  <a:lnTo>
                    <a:pt x="2"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8" name="Freeform 790"/>
            <p:cNvSpPr/>
            <p:nvPr/>
          </p:nvSpPr>
          <p:spPr bwMode="auto">
            <a:xfrm>
              <a:off x="2704770" y="2148087"/>
              <a:ext cx="18433" cy="12287"/>
            </a:xfrm>
            <a:custGeom>
              <a:avLst/>
              <a:gdLst>
                <a:gd name="T0" fmla="*/ 5 w 5"/>
                <a:gd name="T1" fmla="*/ 0 h 3"/>
                <a:gd name="T2" fmla="*/ 5 w 5"/>
                <a:gd name="T3" fmla="*/ 0 h 3"/>
                <a:gd name="T4" fmla="*/ 3 w 5"/>
                <a:gd name="T5" fmla="*/ 2 h 3"/>
                <a:gd name="T6" fmla="*/ 0 w 5"/>
                <a:gd name="T7" fmla="*/ 3 h 3"/>
                <a:gd name="T8" fmla="*/ 0 w 5"/>
                <a:gd name="T9" fmla="*/ 3 h 3"/>
                <a:gd name="T10" fmla="*/ 3 w 5"/>
                <a:gd name="T11" fmla="*/ 0 h 3"/>
                <a:gd name="T12" fmla="*/ 5 w 5"/>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5" y="0"/>
                  </a:moveTo>
                  <a:lnTo>
                    <a:pt x="5" y="0"/>
                  </a:lnTo>
                  <a:lnTo>
                    <a:pt x="3" y="2"/>
                  </a:lnTo>
                  <a:lnTo>
                    <a:pt x="0" y="3"/>
                  </a:lnTo>
                  <a:lnTo>
                    <a:pt x="0" y="3"/>
                  </a:lnTo>
                  <a:lnTo>
                    <a:pt x="3" y="0"/>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9" name="Freeform 791"/>
            <p:cNvSpPr/>
            <p:nvPr/>
          </p:nvSpPr>
          <p:spPr bwMode="auto">
            <a:xfrm>
              <a:off x="2065844" y="2436833"/>
              <a:ext cx="12287" cy="18433"/>
            </a:xfrm>
            <a:custGeom>
              <a:avLst/>
              <a:gdLst>
                <a:gd name="T0" fmla="*/ 4 w 4"/>
                <a:gd name="T1" fmla="*/ 0 h 5"/>
                <a:gd name="T2" fmla="*/ 4 w 4"/>
                <a:gd name="T3" fmla="*/ 0 h 5"/>
                <a:gd name="T4" fmla="*/ 2 w 4"/>
                <a:gd name="T5" fmla="*/ 4 h 5"/>
                <a:gd name="T6" fmla="*/ 0 w 4"/>
                <a:gd name="T7" fmla="*/ 5 h 5"/>
                <a:gd name="T8" fmla="*/ 0 w 4"/>
                <a:gd name="T9" fmla="*/ 5 h 5"/>
                <a:gd name="T10" fmla="*/ 1 w 4"/>
                <a:gd name="T11" fmla="*/ 2 h 5"/>
                <a:gd name="T12" fmla="*/ 4 w 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4" y="0"/>
                  </a:moveTo>
                  <a:lnTo>
                    <a:pt x="4" y="0"/>
                  </a:lnTo>
                  <a:lnTo>
                    <a:pt x="2" y="4"/>
                  </a:lnTo>
                  <a:lnTo>
                    <a:pt x="0" y="5"/>
                  </a:lnTo>
                  <a:lnTo>
                    <a:pt x="0" y="5"/>
                  </a:lnTo>
                  <a:lnTo>
                    <a:pt x="1" y="2"/>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0" name="Freeform 792"/>
            <p:cNvSpPr/>
            <p:nvPr/>
          </p:nvSpPr>
          <p:spPr bwMode="auto">
            <a:xfrm>
              <a:off x="2323871" y="2283243"/>
              <a:ext cx="12287" cy="12287"/>
            </a:xfrm>
            <a:custGeom>
              <a:avLst/>
              <a:gdLst>
                <a:gd name="T0" fmla="*/ 2 w 5"/>
                <a:gd name="T1" fmla="*/ 0 h 4"/>
                <a:gd name="T2" fmla="*/ 2 w 5"/>
                <a:gd name="T3" fmla="*/ 0 h 4"/>
                <a:gd name="T4" fmla="*/ 5 w 5"/>
                <a:gd name="T5" fmla="*/ 0 h 4"/>
                <a:gd name="T6" fmla="*/ 5 w 5"/>
                <a:gd name="T7" fmla="*/ 0 h 4"/>
                <a:gd name="T8" fmla="*/ 3 w 5"/>
                <a:gd name="T9" fmla="*/ 3 h 4"/>
                <a:gd name="T10" fmla="*/ 0 w 5"/>
                <a:gd name="T11" fmla="*/ 4 h 4"/>
                <a:gd name="T12" fmla="*/ 0 w 5"/>
                <a:gd name="T13" fmla="*/ 4 h 4"/>
                <a:gd name="T14" fmla="*/ 0 w 5"/>
                <a:gd name="T15" fmla="*/ 2 h 4"/>
                <a:gd name="T16" fmla="*/ 2 w 5"/>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4">
                  <a:moveTo>
                    <a:pt x="2" y="0"/>
                  </a:moveTo>
                  <a:lnTo>
                    <a:pt x="2" y="0"/>
                  </a:lnTo>
                  <a:lnTo>
                    <a:pt x="5" y="0"/>
                  </a:lnTo>
                  <a:lnTo>
                    <a:pt x="5" y="0"/>
                  </a:lnTo>
                  <a:lnTo>
                    <a:pt x="3" y="3"/>
                  </a:lnTo>
                  <a:lnTo>
                    <a:pt x="0" y="4"/>
                  </a:lnTo>
                  <a:lnTo>
                    <a:pt x="0" y="4"/>
                  </a:lnTo>
                  <a:lnTo>
                    <a:pt x="0" y="2"/>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1" name="Freeform 793"/>
            <p:cNvSpPr/>
            <p:nvPr/>
          </p:nvSpPr>
          <p:spPr bwMode="auto">
            <a:xfrm>
              <a:off x="2121134" y="2356965"/>
              <a:ext cx="36861" cy="43007"/>
            </a:xfrm>
            <a:custGeom>
              <a:avLst/>
              <a:gdLst>
                <a:gd name="T0" fmla="*/ 0 w 11"/>
                <a:gd name="T1" fmla="*/ 11 h 13"/>
                <a:gd name="T2" fmla="*/ 0 w 11"/>
                <a:gd name="T3" fmla="*/ 11 h 13"/>
                <a:gd name="T4" fmla="*/ 5 w 11"/>
                <a:gd name="T5" fmla="*/ 4 h 13"/>
                <a:gd name="T6" fmla="*/ 5 w 11"/>
                <a:gd name="T7" fmla="*/ 4 h 13"/>
                <a:gd name="T8" fmla="*/ 8 w 11"/>
                <a:gd name="T9" fmla="*/ 1 h 13"/>
                <a:gd name="T10" fmla="*/ 11 w 11"/>
                <a:gd name="T11" fmla="*/ 0 h 13"/>
                <a:gd name="T12" fmla="*/ 11 w 11"/>
                <a:gd name="T13" fmla="*/ 0 h 13"/>
                <a:gd name="T14" fmla="*/ 8 w 11"/>
                <a:gd name="T15" fmla="*/ 1 h 13"/>
                <a:gd name="T16" fmla="*/ 5 w 11"/>
                <a:gd name="T17" fmla="*/ 4 h 13"/>
                <a:gd name="T18" fmla="*/ 5 w 11"/>
                <a:gd name="T19" fmla="*/ 4 h 13"/>
                <a:gd name="T20" fmla="*/ 2 w 11"/>
                <a:gd name="T21" fmla="*/ 11 h 13"/>
                <a:gd name="T22" fmla="*/ 2 w 11"/>
                <a:gd name="T23" fmla="*/ 11 h 13"/>
                <a:gd name="T24" fmla="*/ 1 w 11"/>
                <a:gd name="T25" fmla="*/ 10 h 13"/>
                <a:gd name="T26" fmla="*/ 1 w 11"/>
                <a:gd name="T27" fmla="*/ 11 h 13"/>
                <a:gd name="T28" fmla="*/ 0 w 11"/>
                <a:gd name="T29" fmla="*/ 13 h 13"/>
                <a:gd name="T30" fmla="*/ 0 w 11"/>
                <a:gd name="T3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3">
                  <a:moveTo>
                    <a:pt x="0" y="11"/>
                  </a:moveTo>
                  <a:lnTo>
                    <a:pt x="0" y="11"/>
                  </a:lnTo>
                  <a:lnTo>
                    <a:pt x="5" y="4"/>
                  </a:lnTo>
                  <a:lnTo>
                    <a:pt x="5" y="4"/>
                  </a:lnTo>
                  <a:lnTo>
                    <a:pt x="8" y="1"/>
                  </a:lnTo>
                  <a:lnTo>
                    <a:pt x="11" y="0"/>
                  </a:lnTo>
                  <a:lnTo>
                    <a:pt x="11" y="0"/>
                  </a:lnTo>
                  <a:lnTo>
                    <a:pt x="8" y="1"/>
                  </a:lnTo>
                  <a:lnTo>
                    <a:pt x="5" y="4"/>
                  </a:lnTo>
                  <a:lnTo>
                    <a:pt x="5" y="4"/>
                  </a:lnTo>
                  <a:lnTo>
                    <a:pt x="2" y="11"/>
                  </a:lnTo>
                  <a:lnTo>
                    <a:pt x="2" y="11"/>
                  </a:lnTo>
                  <a:lnTo>
                    <a:pt x="1" y="10"/>
                  </a:lnTo>
                  <a:lnTo>
                    <a:pt x="1" y="11"/>
                  </a:lnTo>
                  <a:lnTo>
                    <a:pt x="0" y="13"/>
                  </a:lnTo>
                  <a:lnTo>
                    <a:pt x="0" y="1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2" name="Freeform 794"/>
            <p:cNvSpPr/>
            <p:nvPr/>
          </p:nvSpPr>
          <p:spPr bwMode="auto">
            <a:xfrm>
              <a:off x="2827641" y="2080509"/>
              <a:ext cx="30720" cy="18433"/>
            </a:xfrm>
            <a:custGeom>
              <a:avLst/>
              <a:gdLst>
                <a:gd name="T0" fmla="*/ 10 w 10"/>
                <a:gd name="T1" fmla="*/ 0 h 6"/>
                <a:gd name="T2" fmla="*/ 10 w 10"/>
                <a:gd name="T3" fmla="*/ 0 h 6"/>
                <a:gd name="T4" fmla="*/ 6 w 10"/>
                <a:gd name="T5" fmla="*/ 5 h 6"/>
                <a:gd name="T6" fmla="*/ 0 w 10"/>
                <a:gd name="T7" fmla="*/ 6 h 6"/>
                <a:gd name="T8" fmla="*/ 0 w 10"/>
                <a:gd name="T9" fmla="*/ 6 h 6"/>
                <a:gd name="T10" fmla="*/ 6 w 10"/>
                <a:gd name="T11" fmla="*/ 2 h 6"/>
                <a:gd name="T12" fmla="*/ 9 w 10"/>
                <a:gd name="T13" fmla="*/ 0 h 6"/>
                <a:gd name="T14" fmla="*/ 10 w 10"/>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10" y="0"/>
                  </a:moveTo>
                  <a:lnTo>
                    <a:pt x="10" y="0"/>
                  </a:lnTo>
                  <a:lnTo>
                    <a:pt x="6" y="5"/>
                  </a:lnTo>
                  <a:lnTo>
                    <a:pt x="0" y="6"/>
                  </a:lnTo>
                  <a:lnTo>
                    <a:pt x="0" y="6"/>
                  </a:lnTo>
                  <a:lnTo>
                    <a:pt x="6" y="2"/>
                  </a:lnTo>
                  <a:lnTo>
                    <a:pt x="9" y="0"/>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3" name="Freeform 795"/>
            <p:cNvSpPr/>
            <p:nvPr/>
          </p:nvSpPr>
          <p:spPr bwMode="auto">
            <a:xfrm>
              <a:off x="1764810" y="2682574"/>
              <a:ext cx="18433" cy="18433"/>
            </a:xfrm>
            <a:custGeom>
              <a:avLst/>
              <a:gdLst>
                <a:gd name="T0" fmla="*/ 6 w 6"/>
                <a:gd name="T1" fmla="*/ 0 h 7"/>
                <a:gd name="T2" fmla="*/ 6 w 6"/>
                <a:gd name="T3" fmla="*/ 0 h 7"/>
                <a:gd name="T4" fmla="*/ 3 w 6"/>
                <a:gd name="T5" fmla="*/ 6 h 7"/>
                <a:gd name="T6" fmla="*/ 2 w 6"/>
                <a:gd name="T7" fmla="*/ 7 h 7"/>
                <a:gd name="T8" fmla="*/ 0 w 6"/>
                <a:gd name="T9" fmla="*/ 7 h 7"/>
                <a:gd name="T10" fmla="*/ 0 w 6"/>
                <a:gd name="T11" fmla="*/ 7 h 7"/>
                <a:gd name="T12" fmla="*/ 3 w 6"/>
                <a:gd name="T13" fmla="*/ 3 h 7"/>
                <a:gd name="T14" fmla="*/ 4 w 6"/>
                <a:gd name="T15" fmla="*/ 0 h 7"/>
                <a:gd name="T16" fmla="*/ 6 w 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6" y="0"/>
                  </a:moveTo>
                  <a:lnTo>
                    <a:pt x="6" y="0"/>
                  </a:lnTo>
                  <a:lnTo>
                    <a:pt x="3" y="6"/>
                  </a:lnTo>
                  <a:lnTo>
                    <a:pt x="2" y="7"/>
                  </a:lnTo>
                  <a:lnTo>
                    <a:pt x="0" y="7"/>
                  </a:lnTo>
                  <a:lnTo>
                    <a:pt x="0" y="7"/>
                  </a:lnTo>
                  <a:lnTo>
                    <a:pt x="3" y="3"/>
                  </a:lnTo>
                  <a:lnTo>
                    <a:pt x="4" y="0"/>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4" name="Freeform 796"/>
            <p:cNvSpPr/>
            <p:nvPr/>
          </p:nvSpPr>
          <p:spPr bwMode="auto">
            <a:xfrm>
              <a:off x="1961402" y="2424547"/>
              <a:ext cx="30720" cy="49148"/>
            </a:xfrm>
            <a:custGeom>
              <a:avLst/>
              <a:gdLst>
                <a:gd name="T0" fmla="*/ 3 w 10"/>
                <a:gd name="T1" fmla="*/ 9 h 16"/>
                <a:gd name="T2" fmla="*/ 3 w 10"/>
                <a:gd name="T3" fmla="*/ 9 h 16"/>
                <a:gd name="T4" fmla="*/ 7 w 10"/>
                <a:gd name="T5" fmla="*/ 5 h 16"/>
                <a:gd name="T6" fmla="*/ 10 w 10"/>
                <a:gd name="T7" fmla="*/ 0 h 16"/>
                <a:gd name="T8" fmla="*/ 10 w 10"/>
                <a:gd name="T9" fmla="*/ 0 h 16"/>
                <a:gd name="T10" fmla="*/ 7 w 10"/>
                <a:gd name="T11" fmla="*/ 6 h 16"/>
                <a:gd name="T12" fmla="*/ 6 w 10"/>
                <a:gd name="T13" fmla="*/ 9 h 16"/>
                <a:gd name="T14" fmla="*/ 5 w 10"/>
                <a:gd name="T15" fmla="*/ 12 h 16"/>
                <a:gd name="T16" fmla="*/ 5 w 10"/>
                <a:gd name="T17" fmla="*/ 12 h 16"/>
                <a:gd name="T18" fmla="*/ 3 w 10"/>
                <a:gd name="T19" fmla="*/ 14 h 16"/>
                <a:gd name="T20" fmla="*/ 0 w 10"/>
                <a:gd name="T21" fmla="*/ 16 h 16"/>
                <a:gd name="T22" fmla="*/ 0 w 10"/>
                <a:gd name="T23" fmla="*/ 16 h 16"/>
                <a:gd name="T24" fmla="*/ 2 w 10"/>
                <a:gd name="T25" fmla="*/ 12 h 16"/>
                <a:gd name="T26" fmla="*/ 2 w 10"/>
                <a:gd name="T27" fmla="*/ 12 h 16"/>
                <a:gd name="T28" fmla="*/ 3 w 10"/>
                <a:gd name="T29"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6">
                  <a:moveTo>
                    <a:pt x="3" y="9"/>
                  </a:moveTo>
                  <a:lnTo>
                    <a:pt x="3" y="9"/>
                  </a:lnTo>
                  <a:lnTo>
                    <a:pt x="7" y="5"/>
                  </a:lnTo>
                  <a:lnTo>
                    <a:pt x="10" y="0"/>
                  </a:lnTo>
                  <a:lnTo>
                    <a:pt x="10" y="0"/>
                  </a:lnTo>
                  <a:lnTo>
                    <a:pt x="7" y="6"/>
                  </a:lnTo>
                  <a:lnTo>
                    <a:pt x="6" y="9"/>
                  </a:lnTo>
                  <a:lnTo>
                    <a:pt x="5" y="12"/>
                  </a:lnTo>
                  <a:lnTo>
                    <a:pt x="5" y="12"/>
                  </a:lnTo>
                  <a:lnTo>
                    <a:pt x="3" y="14"/>
                  </a:lnTo>
                  <a:lnTo>
                    <a:pt x="0" y="16"/>
                  </a:lnTo>
                  <a:lnTo>
                    <a:pt x="0" y="16"/>
                  </a:lnTo>
                  <a:lnTo>
                    <a:pt x="2" y="12"/>
                  </a:lnTo>
                  <a:lnTo>
                    <a:pt x="2" y="12"/>
                  </a:lnTo>
                  <a:lnTo>
                    <a:pt x="3"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5" name="Freeform 797"/>
            <p:cNvSpPr/>
            <p:nvPr/>
          </p:nvSpPr>
          <p:spPr bwMode="auto">
            <a:xfrm>
              <a:off x="2366875" y="2178806"/>
              <a:ext cx="24574" cy="24574"/>
            </a:xfrm>
            <a:custGeom>
              <a:avLst/>
              <a:gdLst>
                <a:gd name="T0" fmla="*/ 4 w 8"/>
                <a:gd name="T1" fmla="*/ 2 h 9"/>
                <a:gd name="T2" fmla="*/ 4 w 8"/>
                <a:gd name="T3" fmla="*/ 2 h 9"/>
                <a:gd name="T4" fmla="*/ 8 w 8"/>
                <a:gd name="T5" fmla="*/ 0 h 9"/>
                <a:gd name="T6" fmla="*/ 8 w 8"/>
                <a:gd name="T7" fmla="*/ 2 h 9"/>
                <a:gd name="T8" fmla="*/ 7 w 8"/>
                <a:gd name="T9" fmla="*/ 3 h 9"/>
                <a:gd name="T10" fmla="*/ 7 w 8"/>
                <a:gd name="T11" fmla="*/ 3 h 9"/>
                <a:gd name="T12" fmla="*/ 4 w 8"/>
                <a:gd name="T13" fmla="*/ 5 h 9"/>
                <a:gd name="T14" fmla="*/ 0 w 8"/>
                <a:gd name="T15" fmla="*/ 9 h 9"/>
                <a:gd name="T16" fmla="*/ 0 w 8"/>
                <a:gd name="T17" fmla="*/ 9 h 9"/>
                <a:gd name="T18" fmla="*/ 1 w 8"/>
                <a:gd name="T19" fmla="*/ 5 h 9"/>
                <a:gd name="T20" fmla="*/ 4 w 8"/>
                <a:gd name="T2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9">
                  <a:moveTo>
                    <a:pt x="4" y="2"/>
                  </a:moveTo>
                  <a:lnTo>
                    <a:pt x="4" y="2"/>
                  </a:lnTo>
                  <a:lnTo>
                    <a:pt x="8" y="0"/>
                  </a:lnTo>
                  <a:lnTo>
                    <a:pt x="8" y="2"/>
                  </a:lnTo>
                  <a:lnTo>
                    <a:pt x="7" y="3"/>
                  </a:lnTo>
                  <a:lnTo>
                    <a:pt x="7" y="3"/>
                  </a:lnTo>
                  <a:lnTo>
                    <a:pt x="4" y="5"/>
                  </a:lnTo>
                  <a:lnTo>
                    <a:pt x="0" y="9"/>
                  </a:lnTo>
                  <a:lnTo>
                    <a:pt x="0" y="9"/>
                  </a:lnTo>
                  <a:lnTo>
                    <a:pt x="1" y="5"/>
                  </a:lnTo>
                  <a:lnTo>
                    <a:pt x="4"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6" name="Freeform 798"/>
            <p:cNvSpPr/>
            <p:nvPr/>
          </p:nvSpPr>
          <p:spPr bwMode="auto">
            <a:xfrm>
              <a:off x="1893825" y="2455262"/>
              <a:ext cx="18433" cy="36861"/>
            </a:xfrm>
            <a:custGeom>
              <a:avLst/>
              <a:gdLst>
                <a:gd name="T0" fmla="*/ 4 w 4"/>
                <a:gd name="T1" fmla="*/ 0 h 12"/>
                <a:gd name="T2" fmla="*/ 4 w 4"/>
                <a:gd name="T3" fmla="*/ 0 h 12"/>
                <a:gd name="T4" fmla="*/ 3 w 4"/>
                <a:gd name="T5" fmla="*/ 6 h 12"/>
                <a:gd name="T6" fmla="*/ 0 w 4"/>
                <a:gd name="T7" fmla="*/ 12 h 12"/>
                <a:gd name="T8" fmla="*/ 0 w 4"/>
                <a:gd name="T9" fmla="*/ 12 h 12"/>
                <a:gd name="T10" fmla="*/ 1 w 4"/>
                <a:gd name="T11" fmla="*/ 4 h 12"/>
                <a:gd name="T12" fmla="*/ 3 w 4"/>
                <a:gd name="T13" fmla="*/ 2 h 12"/>
                <a:gd name="T14" fmla="*/ 4 w 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2">
                  <a:moveTo>
                    <a:pt x="4" y="0"/>
                  </a:moveTo>
                  <a:lnTo>
                    <a:pt x="4" y="0"/>
                  </a:lnTo>
                  <a:lnTo>
                    <a:pt x="3" y="6"/>
                  </a:lnTo>
                  <a:lnTo>
                    <a:pt x="0" y="12"/>
                  </a:lnTo>
                  <a:lnTo>
                    <a:pt x="0" y="12"/>
                  </a:lnTo>
                  <a:lnTo>
                    <a:pt x="1" y="4"/>
                  </a:lnTo>
                  <a:lnTo>
                    <a:pt x="3" y="2"/>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7" name="Freeform 799"/>
            <p:cNvSpPr/>
            <p:nvPr/>
          </p:nvSpPr>
          <p:spPr bwMode="auto">
            <a:xfrm>
              <a:off x="2139565" y="2277102"/>
              <a:ext cx="18433" cy="18433"/>
            </a:xfrm>
            <a:custGeom>
              <a:avLst/>
              <a:gdLst>
                <a:gd name="T0" fmla="*/ 4 w 4"/>
                <a:gd name="T1" fmla="*/ 0 h 5"/>
                <a:gd name="T2" fmla="*/ 4 w 4"/>
                <a:gd name="T3" fmla="*/ 0 h 5"/>
                <a:gd name="T4" fmla="*/ 3 w 4"/>
                <a:gd name="T5" fmla="*/ 3 h 5"/>
                <a:gd name="T6" fmla="*/ 0 w 4"/>
                <a:gd name="T7" fmla="*/ 5 h 5"/>
                <a:gd name="T8" fmla="*/ 0 w 4"/>
                <a:gd name="T9" fmla="*/ 5 h 5"/>
                <a:gd name="T10" fmla="*/ 1 w 4"/>
                <a:gd name="T11" fmla="*/ 3 h 5"/>
                <a:gd name="T12" fmla="*/ 4 w 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4" y="0"/>
                  </a:moveTo>
                  <a:lnTo>
                    <a:pt x="4" y="0"/>
                  </a:lnTo>
                  <a:lnTo>
                    <a:pt x="3" y="3"/>
                  </a:lnTo>
                  <a:lnTo>
                    <a:pt x="0" y="5"/>
                  </a:lnTo>
                  <a:lnTo>
                    <a:pt x="0" y="5"/>
                  </a:lnTo>
                  <a:lnTo>
                    <a:pt x="1" y="3"/>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8" name="Freeform 800"/>
            <p:cNvSpPr/>
            <p:nvPr/>
          </p:nvSpPr>
          <p:spPr bwMode="auto">
            <a:xfrm>
              <a:off x="2041270" y="2326250"/>
              <a:ext cx="24574" cy="30720"/>
            </a:xfrm>
            <a:custGeom>
              <a:avLst/>
              <a:gdLst>
                <a:gd name="T0" fmla="*/ 7 w 7"/>
                <a:gd name="T1" fmla="*/ 0 h 10"/>
                <a:gd name="T2" fmla="*/ 7 w 7"/>
                <a:gd name="T3" fmla="*/ 0 h 10"/>
                <a:gd name="T4" fmla="*/ 4 w 7"/>
                <a:gd name="T5" fmla="*/ 6 h 10"/>
                <a:gd name="T6" fmla="*/ 0 w 7"/>
                <a:gd name="T7" fmla="*/ 10 h 10"/>
                <a:gd name="T8" fmla="*/ 0 w 7"/>
                <a:gd name="T9" fmla="*/ 10 h 10"/>
                <a:gd name="T10" fmla="*/ 4 w 7"/>
                <a:gd name="T11" fmla="*/ 4 h 10"/>
                <a:gd name="T12" fmla="*/ 7 w 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7" h="10">
                  <a:moveTo>
                    <a:pt x="7" y="0"/>
                  </a:moveTo>
                  <a:lnTo>
                    <a:pt x="7" y="0"/>
                  </a:lnTo>
                  <a:lnTo>
                    <a:pt x="4" y="6"/>
                  </a:lnTo>
                  <a:lnTo>
                    <a:pt x="0" y="10"/>
                  </a:lnTo>
                  <a:lnTo>
                    <a:pt x="0" y="10"/>
                  </a:lnTo>
                  <a:lnTo>
                    <a:pt x="4" y="4"/>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9" name="Freeform 801"/>
            <p:cNvSpPr/>
            <p:nvPr/>
          </p:nvSpPr>
          <p:spPr bwMode="auto">
            <a:xfrm>
              <a:off x="2127279" y="2227953"/>
              <a:ext cx="43007" cy="55293"/>
            </a:xfrm>
            <a:custGeom>
              <a:avLst/>
              <a:gdLst>
                <a:gd name="T0" fmla="*/ 2 w 15"/>
                <a:gd name="T1" fmla="*/ 14 h 19"/>
                <a:gd name="T2" fmla="*/ 2 w 15"/>
                <a:gd name="T3" fmla="*/ 14 h 19"/>
                <a:gd name="T4" fmla="*/ 6 w 15"/>
                <a:gd name="T5" fmla="*/ 11 h 19"/>
                <a:gd name="T6" fmla="*/ 6 w 15"/>
                <a:gd name="T7" fmla="*/ 11 h 19"/>
                <a:gd name="T8" fmla="*/ 9 w 15"/>
                <a:gd name="T9" fmla="*/ 7 h 19"/>
                <a:gd name="T10" fmla="*/ 9 w 15"/>
                <a:gd name="T11" fmla="*/ 7 h 19"/>
                <a:gd name="T12" fmla="*/ 15 w 15"/>
                <a:gd name="T13" fmla="*/ 0 h 19"/>
                <a:gd name="T14" fmla="*/ 15 w 15"/>
                <a:gd name="T15" fmla="*/ 0 h 19"/>
                <a:gd name="T16" fmla="*/ 13 w 15"/>
                <a:gd name="T17" fmla="*/ 4 h 19"/>
                <a:gd name="T18" fmla="*/ 10 w 15"/>
                <a:gd name="T19" fmla="*/ 7 h 19"/>
                <a:gd name="T20" fmla="*/ 10 w 15"/>
                <a:gd name="T21" fmla="*/ 7 h 19"/>
                <a:gd name="T22" fmla="*/ 6 w 15"/>
                <a:gd name="T23" fmla="*/ 11 h 19"/>
                <a:gd name="T24" fmla="*/ 6 w 15"/>
                <a:gd name="T25" fmla="*/ 11 h 19"/>
                <a:gd name="T26" fmla="*/ 3 w 15"/>
                <a:gd name="T27" fmla="*/ 16 h 19"/>
                <a:gd name="T28" fmla="*/ 3 w 15"/>
                <a:gd name="T29" fmla="*/ 16 h 19"/>
                <a:gd name="T30" fmla="*/ 2 w 15"/>
                <a:gd name="T31" fmla="*/ 17 h 19"/>
                <a:gd name="T32" fmla="*/ 0 w 15"/>
                <a:gd name="T33" fmla="*/ 19 h 19"/>
                <a:gd name="T34" fmla="*/ 0 w 15"/>
                <a:gd name="T35" fmla="*/ 19 h 19"/>
                <a:gd name="T36" fmla="*/ 2 w 15"/>
                <a:gd name="T37"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19">
                  <a:moveTo>
                    <a:pt x="2" y="14"/>
                  </a:moveTo>
                  <a:lnTo>
                    <a:pt x="2" y="14"/>
                  </a:lnTo>
                  <a:lnTo>
                    <a:pt x="6" y="11"/>
                  </a:lnTo>
                  <a:lnTo>
                    <a:pt x="6" y="11"/>
                  </a:lnTo>
                  <a:lnTo>
                    <a:pt x="9" y="7"/>
                  </a:lnTo>
                  <a:lnTo>
                    <a:pt x="9" y="7"/>
                  </a:lnTo>
                  <a:lnTo>
                    <a:pt x="15" y="0"/>
                  </a:lnTo>
                  <a:lnTo>
                    <a:pt x="15" y="0"/>
                  </a:lnTo>
                  <a:lnTo>
                    <a:pt x="13" y="4"/>
                  </a:lnTo>
                  <a:lnTo>
                    <a:pt x="10" y="7"/>
                  </a:lnTo>
                  <a:lnTo>
                    <a:pt x="10" y="7"/>
                  </a:lnTo>
                  <a:lnTo>
                    <a:pt x="6" y="11"/>
                  </a:lnTo>
                  <a:lnTo>
                    <a:pt x="6" y="11"/>
                  </a:lnTo>
                  <a:lnTo>
                    <a:pt x="3" y="16"/>
                  </a:lnTo>
                  <a:lnTo>
                    <a:pt x="3" y="16"/>
                  </a:lnTo>
                  <a:lnTo>
                    <a:pt x="2" y="17"/>
                  </a:lnTo>
                  <a:lnTo>
                    <a:pt x="0" y="19"/>
                  </a:lnTo>
                  <a:lnTo>
                    <a:pt x="0" y="19"/>
                  </a:lnTo>
                  <a:lnTo>
                    <a:pt x="2" y="1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0" name="Freeform 802"/>
            <p:cNvSpPr/>
            <p:nvPr/>
          </p:nvSpPr>
          <p:spPr bwMode="auto">
            <a:xfrm>
              <a:off x="2348445" y="2123511"/>
              <a:ext cx="36861" cy="36861"/>
            </a:xfrm>
            <a:custGeom>
              <a:avLst/>
              <a:gdLst>
                <a:gd name="T0" fmla="*/ 11 w 11"/>
                <a:gd name="T1" fmla="*/ 0 h 11"/>
                <a:gd name="T2" fmla="*/ 11 w 11"/>
                <a:gd name="T3" fmla="*/ 0 h 11"/>
                <a:gd name="T4" fmla="*/ 7 w 11"/>
                <a:gd name="T5" fmla="*/ 7 h 11"/>
                <a:gd name="T6" fmla="*/ 0 w 11"/>
                <a:gd name="T7" fmla="*/ 11 h 11"/>
                <a:gd name="T8" fmla="*/ 0 w 11"/>
                <a:gd name="T9" fmla="*/ 11 h 11"/>
                <a:gd name="T10" fmla="*/ 6 w 11"/>
                <a:gd name="T11" fmla="*/ 5 h 11"/>
                <a:gd name="T12" fmla="*/ 11 w 11"/>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0"/>
                  </a:moveTo>
                  <a:lnTo>
                    <a:pt x="11" y="0"/>
                  </a:lnTo>
                  <a:lnTo>
                    <a:pt x="7" y="7"/>
                  </a:lnTo>
                  <a:lnTo>
                    <a:pt x="0" y="11"/>
                  </a:lnTo>
                  <a:lnTo>
                    <a:pt x="0" y="11"/>
                  </a:lnTo>
                  <a:lnTo>
                    <a:pt x="6" y="5"/>
                  </a:lnTo>
                  <a:lnTo>
                    <a:pt x="1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1" name="Freeform 803"/>
            <p:cNvSpPr/>
            <p:nvPr/>
          </p:nvSpPr>
          <p:spPr bwMode="auto">
            <a:xfrm>
              <a:off x="1930686" y="2375399"/>
              <a:ext cx="18433" cy="30720"/>
            </a:xfrm>
            <a:custGeom>
              <a:avLst/>
              <a:gdLst>
                <a:gd name="T0" fmla="*/ 6 w 6"/>
                <a:gd name="T1" fmla="*/ 0 h 8"/>
                <a:gd name="T2" fmla="*/ 6 w 6"/>
                <a:gd name="T3" fmla="*/ 0 h 8"/>
                <a:gd name="T4" fmla="*/ 2 w 6"/>
                <a:gd name="T5" fmla="*/ 8 h 8"/>
                <a:gd name="T6" fmla="*/ 2 w 6"/>
                <a:gd name="T7" fmla="*/ 8 h 8"/>
                <a:gd name="T8" fmla="*/ 2 w 6"/>
                <a:gd name="T9" fmla="*/ 7 h 8"/>
                <a:gd name="T10" fmla="*/ 2 w 6"/>
                <a:gd name="T11" fmla="*/ 7 h 8"/>
                <a:gd name="T12" fmla="*/ 0 w 6"/>
                <a:gd name="T13" fmla="*/ 5 h 8"/>
                <a:gd name="T14" fmla="*/ 0 w 6"/>
                <a:gd name="T15" fmla="*/ 4 h 8"/>
                <a:gd name="T16" fmla="*/ 0 w 6"/>
                <a:gd name="T17" fmla="*/ 4 h 8"/>
                <a:gd name="T18" fmla="*/ 3 w 6"/>
                <a:gd name="T19" fmla="*/ 2 h 8"/>
                <a:gd name="T20" fmla="*/ 6 w 6"/>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8">
                  <a:moveTo>
                    <a:pt x="6" y="0"/>
                  </a:moveTo>
                  <a:lnTo>
                    <a:pt x="6" y="0"/>
                  </a:lnTo>
                  <a:lnTo>
                    <a:pt x="2" y="8"/>
                  </a:lnTo>
                  <a:lnTo>
                    <a:pt x="2" y="8"/>
                  </a:lnTo>
                  <a:lnTo>
                    <a:pt x="2" y="7"/>
                  </a:lnTo>
                  <a:lnTo>
                    <a:pt x="2" y="7"/>
                  </a:lnTo>
                  <a:lnTo>
                    <a:pt x="0" y="5"/>
                  </a:lnTo>
                  <a:lnTo>
                    <a:pt x="0" y="4"/>
                  </a:lnTo>
                  <a:lnTo>
                    <a:pt x="0" y="4"/>
                  </a:lnTo>
                  <a:lnTo>
                    <a:pt x="3" y="2"/>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2" name="Freeform 804"/>
            <p:cNvSpPr/>
            <p:nvPr/>
          </p:nvSpPr>
          <p:spPr bwMode="auto">
            <a:xfrm>
              <a:off x="1899967" y="2399973"/>
              <a:ext cx="30720" cy="49148"/>
            </a:xfrm>
            <a:custGeom>
              <a:avLst/>
              <a:gdLst>
                <a:gd name="T0" fmla="*/ 7 w 10"/>
                <a:gd name="T1" fmla="*/ 10 h 17"/>
                <a:gd name="T2" fmla="*/ 7 w 10"/>
                <a:gd name="T3" fmla="*/ 10 h 17"/>
                <a:gd name="T4" fmla="*/ 5 w 10"/>
                <a:gd name="T5" fmla="*/ 13 h 17"/>
                <a:gd name="T6" fmla="*/ 5 w 10"/>
                <a:gd name="T7" fmla="*/ 13 h 17"/>
                <a:gd name="T8" fmla="*/ 0 w 10"/>
                <a:gd name="T9" fmla="*/ 17 h 17"/>
                <a:gd name="T10" fmla="*/ 0 w 10"/>
                <a:gd name="T11" fmla="*/ 17 h 17"/>
                <a:gd name="T12" fmla="*/ 3 w 10"/>
                <a:gd name="T13" fmla="*/ 11 h 17"/>
                <a:gd name="T14" fmla="*/ 3 w 10"/>
                <a:gd name="T15" fmla="*/ 11 h 17"/>
                <a:gd name="T16" fmla="*/ 5 w 10"/>
                <a:gd name="T17" fmla="*/ 5 h 17"/>
                <a:gd name="T18" fmla="*/ 5 w 10"/>
                <a:gd name="T19" fmla="*/ 5 h 17"/>
                <a:gd name="T20" fmla="*/ 7 w 10"/>
                <a:gd name="T21" fmla="*/ 3 h 17"/>
                <a:gd name="T22" fmla="*/ 10 w 10"/>
                <a:gd name="T23" fmla="*/ 0 h 17"/>
                <a:gd name="T24" fmla="*/ 10 w 10"/>
                <a:gd name="T25" fmla="*/ 0 h 17"/>
                <a:gd name="T26" fmla="*/ 7 w 10"/>
                <a:gd name="T27" fmla="*/ 5 h 17"/>
                <a:gd name="T28" fmla="*/ 7 w 10"/>
                <a:gd name="T29"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7">
                  <a:moveTo>
                    <a:pt x="7" y="10"/>
                  </a:moveTo>
                  <a:lnTo>
                    <a:pt x="7" y="10"/>
                  </a:lnTo>
                  <a:lnTo>
                    <a:pt x="5" y="13"/>
                  </a:lnTo>
                  <a:lnTo>
                    <a:pt x="5" y="13"/>
                  </a:lnTo>
                  <a:lnTo>
                    <a:pt x="0" y="17"/>
                  </a:lnTo>
                  <a:lnTo>
                    <a:pt x="0" y="17"/>
                  </a:lnTo>
                  <a:lnTo>
                    <a:pt x="3" y="11"/>
                  </a:lnTo>
                  <a:lnTo>
                    <a:pt x="3" y="11"/>
                  </a:lnTo>
                  <a:lnTo>
                    <a:pt x="5" y="5"/>
                  </a:lnTo>
                  <a:lnTo>
                    <a:pt x="5" y="5"/>
                  </a:lnTo>
                  <a:lnTo>
                    <a:pt x="7" y="3"/>
                  </a:lnTo>
                  <a:lnTo>
                    <a:pt x="10" y="0"/>
                  </a:lnTo>
                  <a:lnTo>
                    <a:pt x="10" y="0"/>
                  </a:lnTo>
                  <a:lnTo>
                    <a:pt x="7" y="5"/>
                  </a:lnTo>
                  <a:lnTo>
                    <a:pt x="7"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3" name="Freeform 805"/>
            <p:cNvSpPr/>
            <p:nvPr/>
          </p:nvSpPr>
          <p:spPr bwMode="auto">
            <a:xfrm>
              <a:off x="1942973" y="2375399"/>
              <a:ext cx="30720" cy="30720"/>
            </a:xfrm>
            <a:custGeom>
              <a:avLst/>
              <a:gdLst>
                <a:gd name="T0" fmla="*/ 6 w 10"/>
                <a:gd name="T1" fmla="*/ 3 h 10"/>
                <a:gd name="T2" fmla="*/ 6 w 10"/>
                <a:gd name="T3" fmla="*/ 3 h 10"/>
                <a:gd name="T4" fmla="*/ 3 w 10"/>
                <a:gd name="T5" fmla="*/ 7 h 10"/>
                <a:gd name="T6" fmla="*/ 2 w 10"/>
                <a:gd name="T7" fmla="*/ 10 h 10"/>
                <a:gd name="T8" fmla="*/ 0 w 10"/>
                <a:gd name="T9" fmla="*/ 10 h 10"/>
                <a:gd name="T10" fmla="*/ 0 w 10"/>
                <a:gd name="T11" fmla="*/ 10 h 10"/>
                <a:gd name="T12" fmla="*/ 0 w 10"/>
                <a:gd name="T13" fmla="*/ 10 h 10"/>
                <a:gd name="T14" fmla="*/ 4 w 10"/>
                <a:gd name="T15" fmla="*/ 4 h 10"/>
                <a:gd name="T16" fmla="*/ 9 w 10"/>
                <a:gd name="T17" fmla="*/ 0 h 10"/>
                <a:gd name="T18" fmla="*/ 9 w 10"/>
                <a:gd name="T19" fmla="*/ 0 h 10"/>
                <a:gd name="T20" fmla="*/ 9 w 10"/>
                <a:gd name="T21" fmla="*/ 2 h 10"/>
                <a:gd name="T22" fmla="*/ 10 w 10"/>
                <a:gd name="T23" fmla="*/ 0 h 10"/>
                <a:gd name="T24" fmla="*/ 10 w 10"/>
                <a:gd name="T25" fmla="*/ 0 h 10"/>
                <a:gd name="T26" fmla="*/ 7 w 10"/>
                <a:gd name="T27" fmla="*/ 6 h 10"/>
                <a:gd name="T28" fmla="*/ 4 w 10"/>
                <a:gd name="T29" fmla="*/ 10 h 10"/>
                <a:gd name="T30" fmla="*/ 4 w 10"/>
                <a:gd name="T31" fmla="*/ 10 h 10"/>
                <a:gd name="T32" fmla="*/ 6 w 10"/>
                <a:gd name="T33" fmla="*/ 6 h 10"/>
                <a:gd name="T34" fmla="*/ 7 w 10"/>
                <a:gd name="T35" fmla="*/ 3 h 10"/>
                <a:gd name="T36" fmla="*/ 6 w 10"/>
                <a:gd name="T37"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10">
                  <a:moveTo>
                    <a:pt x="6" y="3"/>
                  </a:moveTo>
                  <a:lnTo>
                    <a:pt x="6" y="3"/>
                  </a:lnTo>
                  <a:lnTo>
                    <a:pt x="3" y="7"/>
                  </a:lnTo>
                  <a:lnTo>
                    <a:pt x="2" y="10"/>
                  </a:lnTo>
                  <a:lnTo>
                    <a:pt x="0" y="10"/>
                  </a:lnTo>
                  <a:lnTo>
                    <a:pt x="0" y="10"/>
                  </a:lnTo>
                  <a:lnTo>
                    <a:pt x="0" y="10"/>
                  </a:lnTo>
                  <a:lnTo>
                    <a:pt x="4" y="4"/>
                  </a:lnTo>
                  <a:lnTo>
                    <a:pt x="9" y="0"/>
                  </a:lnTo>
                  <a:lnTo>
                    <a:pt x="9" y="0"/>
                  </a:lnTo>
                  <a:lnTo>
                    <a:pt x="9" y="2"/>
                  </a:lnTo>
                  <a:lnTo>
                    <a:pt x="10" y="0"/>
                  </a:lnTo>
                  <a:lnTo>
                    <a:pt x="10" y="0"/>
                  </a:lnTo>
                  <a:lnTo>
                    <a:pt x="7" y="6"/>
                  </a:lnTo>
                  <a:lnTo>
                    <a:pt x="4" y="10"/>
                  </a:lnTo>
                  <a:lnTo>
                    <a:pt x="4" y="10"/>
                  </a:lnTo>
                  <a:lnTo>
                    <a:pt x="6" y="6"/>
                  </a:lnTo>
                  <a:lnTo>
                    <a:pt x="7" y="3"/>
                  </a:lnTo>
                  <a:lnTo>
                    <a:pt x="6"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4" name="Freeform 806"/>
            <p:cNvSpPr/>
            <p:nvPr/>
          </p:nvSpPr>
          <p:spPr bwMode="auto">
            <a:xfrm>
              <a:off x="2133421" y="2227953"/>
              <a:ext cx="24574" cy="24574"/>
            </a:xfrm>
            <a:custGeom>
              <a:avLst/>
              <a:gdLst>
                <a:gd name="T0" fmla="*/ 7 w 7"/>
                <a:gd name="T1" fmla="*/ 0 h 7"/>
                <a:gd name="T2" fmla="*/ 7 w 7"/>
                <a:gd name="T3" fmla="*/ 0 h 7"/>
                <a:gd name="T4" fmla="*/ 3 w 7"/>
                <a:gd name="T5" fmla="*/ 4 h 7"/>
                <a:gd name="T6" fmla="*/ 0 w 7"/>
                <a:gd name="T7" fmla="*/ 7 h 7"/>
                <a:gd name="T8" fmla="*/ 0 w 7"/>
                <a:gd name="T9" fmla="*/ 7 h 7"/>
                <a:gd name="T10" fmla="*/ 4 w 7"/>
                <a:gd name="T11" fmla="*/ 1 h 7"/>
                <a:gd name="T12" fmla="*/ 6 w 7"/>
                <a:gd name="T13" fmla="*/ 0 h 7"/>
                <a:gd name="T14" fmla="*/ 7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0"/>
                  </a:moveTo>
                  <a:lnTo>
                    <a:pt x="7" y="0"/>
                  </a:lnTo>
                  <a:lnTo>
                    <a:pt x="3" y="4"/>
                  </a:lnTo>
                  <a:lnTo>
                    <a:pt x="0" y="7"/>
                  </a:lnTo>
                  <a:lnTo>
                    <a:pt x="0" y="7"/>
                  </a:lnTo>
                  <a:lnTo>
                    <a:pt x="4" y="1"/>
                  </a:lnTo>
                  <a:lnTo>
                    <a:pt x="6" y="0"/>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5" name="Freeform 807"/>
            <p:cNvSpPr/>
            <p:nvPr/>
          </p:nvSpPr>
          <p:spPr bwMode="auto">
            <a:xfrm>
              <a:off x="2121134" y="2252528"/>
              <a:ext cx="12287" cy="6145"/>
            </a:xfrm>
            <a:custGeom>
              <a:avLst/>
              <a:gdLst>
                <a:gd name="T0" fmla="*/ 1 w 4"/>
                <a:gd name="T1" fmla="*/ 3 h 3"/>
                <a:gd name="T2" fmla="*/ 1 w 4"/>
                <a:gd name="T3" fmla="*/ 3 h 3"/>
                <a:gd name="T4" fmla="*/ 1 w 4"/>
                <a:gd name="T5" fmla="*/ 3 h 3"/>
                <a:gd name="T6" fmla="*/ 1 w 4"/>
                <a:gd name="T7" fmla="*/ 3 h 3"/>
                <a:gd name="T8" fmla="*/ 0 w 4"/>
                <a:gd name="T9" fmla="*/ 3 h 3"/>
                <a:gd name="T10" fmla="*/ 1 w 4"/>
                <a:gd name="T11" fmla="*/ 2 h 3"/>
                <a:gd name="T12" fmla="*/ 1 w 4"/>
                <a:gd name="T13" fmla="*/ 2 h 3"/>
                <a:gd name="T14" fmla="*/ 2 w 4"/>
                <a:gd name="T15" fmla="*/ 0 h 3"/>
                <a:gd name="T16" fmla="*/ 4 w 4"/>
                <a:gd name="T17" fmla="*/ 0 h 3"/>
                <a:gd name="T18" fmla="*/ 4 w 4"/>
                <a:gd name="T19" fmla="*/ 0 h 3"/>
                <a:gd name="T20" fmla="*/ 2 w 4"/>
                <a:gd name="T21" fmla="*/ 2 h 3"/>
                <a:gd name="T22" fmla="*/ 1 w 4"/>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3">
                  <a:moveTo>
                    <a:pt x="1" y="3"/>
                  </a:moveTo>
                  <a:lnTo>
                    <a:pt x="1" y="3"/>
                  </a:lnTo>
                  <a:lnTo>
                    <a:pt x="1" y="3"/>
                  </a:lnTo>
                  <a:lnTo>
                    <a:pt x="1" y="3"/>
                  </a:lnTo>
                  <a:lnTo>
                    <a:pt x="0" y="3"/>
                  </a:lnTo>
                  <a:lnTo>
                    <a:pt x="1" y="2"/>
                  </a:lnTo>
                  <a:lnTo>
                    <a:pt x="1" y="2"/>
                  </a:lnTo>
                  <a:lnTo>
                    <a:pt x="2" y="0"/>
                  </a:lnTo>
                  <a:lnTo>
                    <a:pt x="4" y="0"/>
                  </a:lnTo>
                  <a:lnTo>
                    <a:pt x="4" y="0"/>
                  </a:lnTo>
                  <a:lnTo>
                    <a:pt x="2" y="2"/>
                  </a:lnTo>
                  <a:lnTo>
                    <a:pt x="1"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6" name="Freeform 809"/>
            <p:cNvSpPr/>
            <p:nvPr/>
          </p:nvSpPr>
          <p:spPr bwMode="auto">
            <a:xfrm>
              <a:off x="2188713" y="2172664"/>
              <a:ext cx="43007" cy="43007"/>
            </a:xfrm>
            <a:custGeom>
              <a:avLst/>
              <a:gdLst>
                <a:gd name="T0" fmla="*/ 0 w 13"/>
                <a:gd name="T1" fmla="*/ 13 h 13"/>
                <a:gd name="T2" fmla="*/ 0 w 13"/>
                <a:gd name="T3" fmla="*/ 13 h 13"/>
                <a:gd name="T4" fmla="*/ 3 w 13"/>
                <a:gd name="T5" fmla="*/ 8 h 13"/>
                <a:gd name="T6" fmla="*/ 6 w 13"/>
                <a:gd name="T7" fmla="*/ 6 h 13"/>
                <a:gd name="T8" fmla="*/ 6 w 13"/>
                <a:gd name="T9" fmla="*/ 6 h 13"/>
                <a:gd name="T10" fmla="*/ 10 w 13"/>
                <a:gd name="T11" fmla="*/ 3 h 13"/>
                <a:gd name="T12" fmla="*/ 13 w 13"/>
                <a:gd name="T13" fmla="*/ 0 h 13"/>
                <a:gd name="T14" fmla="*/ 13 w 13"/>
                <a:gd name="T15" fmla="*/ 0 h 13"/>
                <a:gd name="T16" fmla="*/ 12 w 13"/>
                <a:gd name="T17" fmla="*/ 3 h 13"/>
                <a:gd name="T18" fmla="*/ 10 w 13"/>
                <a:gd name="T19" fmla="*/ 7 h 13"/>
                <a:gd name="T20" fmla="*/ 10 w 13"/>
                <a:gd name="T21" fmla="*/ 7 h 13"/>
                <a:gd name="T22" fmla="*/ 8 w 13"/>
                <a:gd name="T23" fmla="*/ 7 h 13"/>
                <a:gd name="T24" fmla="*/ 8 w 13"/>
                <a:gd name="T25" fmla="*/ 7 h 13"/>
                <a:gd name="T26" fmla="*/ 5 w 13"/>
                <a:gd name="T27" fmla="*/ 11 h 13"/>
                <a:gd name="T28" fmla="*/ 5 w 13"/>
                <a:gd name="T29" fmla="*/ 11 h 13"/>
                <a:gd name="T30" fmla="*/ 0 w 13"/>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3">
                  <a:moveTo>
                    <a:pt x="0" y="13"/>
                  </a:moveTo>
                  <a:lnTo>
                    <a:pt x="0" y="13"/>
                  </a:lnTo>
                  <a:lnTo>
                    <a:pt x="3" y="8"/>
                  </a:lnTo>
                  <a:lnTo>
                    <a:pt x="6" y="6"/>
                  </a:lnTo>
                  <a:lnTo>
                    <a:pt x="6" y="6"/>
                  </a:lnTo>
                  <a:lnTo>
                    <a:pt x="10" y="3"/>
                  </a:lnTo>
                  <a:lnTo>
                    <a:pt x="13" y="0"/>
                  </a:lnTo>
                  <a:lnTo>
                    <a:pt x="13" y="0"/>
                  </a:lnTo>
                  <a:lnTo>
                    <a:pt x="12" y="3"/>
                  </a:lnTo>
                  <a:lnTo>
                    <a:pt x="10" y="7"/>
                  </a:lnTo>
                  <a:lnTo>
                    <a:pt x="10" y="7"/>
                  </a:lnTo>
                  <a:lnTo>
                    <a:pt x="8" y="7"/>
                  </a:lnTo>
                  <a:lnTo>
                    <a:pt x="8" y="7"/>
                  </a:lnTo>
                  <a:lnTo>
                    <a:pt x="5" y="11"/>
                  </a:lnTo>
                  <a:lnTo>
                    <a:pt x="5" y="11"/>
                  </a:lnTo>
                  <a:lnTo>
                    <a:pt x="0" y="1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7" name="Freeform 810"/>
            <p:cNvSpPr/>
            <p:nvPr/>
          </p:nvSpPr>
          <p:spPr bwMode="auto">
            <a:xfrm>
              <a:off x="2649477" y="2012932"/>
              <a:ext cx="24574" cy="24574"/>
            </a:xfrm>
            <a:custGeom>
              <a:avLst/>
              <a:gdLst>
                <a:gd name="T0" fmla="*/ 9 w 9"/>
                <a:gd name="T1" fmla="*/ 0 h 7"/>
                <a:gd name="T2" fmla="*/ 9 w 9"/>
                <a:gd name="T3" fmla="*/ 0 h 7"/>
                <a:gd name="T4" fmla="*/ 6 w 9"/>
                <a:gd name="T5" fmla="*/ 3 h 7"/>
                <a:gd name="T6" fmla="*/ 5 w 9"/>
                <a:gd name="T7" fmla="*/ 4 h 7"/>
                <a:gd name="T8" fmla="*/ 5 w 9"/>
                <a:gd name="T9" fmla="*/ 6 h 7"/>
                <a:gd name="T10" fmla="*/ 5 w 9"/>
                <a:gd name="T11" fmla="*/ 6 h 7"/>
                <a:gd name="T12" fmla="*/ 2 w 9"/>
                <a:gd name="T13" fmla="*/ 6 h 7"/>
                <a:gd name="T14" fmla="*/ 2 w 9"/>
                <a:gd name="T15" fmla="*/ 6 h 7"/>
                <a:gd name="T16" fmla="*/ 0 w 9"/>
                <a:gd name="T17" fmla="*/ 7 h 7"/>
                <a:gd name="T18" fmla="*/ 0 w 9"/>
                <a:gd name="T19" fmla="*/ 7 h 7"/>
                <a:gd name="T20" fmla="*/ 3 w 9"/>
                <a:gd name="T21" fmla="*/ 3 h 7"/>
                <a:gd name="T22" fmla="*/ 9 w 9"/>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7">
                  <a:moveTo>
                    <a:pt x="9" y="0"/>
                  </a:moveTo>
                  <a:lnTo>
                    <a:pt x="9" y="0"/>
                  </a:lnTo>
                  <a:lnTo>
                    <a:pt x="6" y="3"/>
                  </a:lnTo>
                  <a:lnTo>
                    <a:pt x="5" y="4"/>
                  </a:lnTo>
                  <a:lnTo>
                    <a:pt x="5" y="6"/>
                  </a:lnTo>
                  <a:lnTo>
                    <a:pt x="5" y="6"/>
                  </a:lnTo>
                  <a:lnTo>
                    <a:pt x="2" y="6"/>
                  </a:lnTo>
                  <a:lnTo>
                    <a:pt x="2" y="6"/>
                  </a:lnTo>
                  <a:lnTo>
                    <a:pt x="0" y="7"/>
                  </a:lnTo>
                  <a:lnTo>
                    <a:pt x="0" y="7"/>
                  </a:lnTo>
                  <a:lnTo>
                    <a:pt x="3" y="3"/>
                  </a:lnTo>
                  <a:lnTo>
                    <a:pt x="9"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8" name="Freeform 811"/>
            <p:cNvSpPr/>
            <p:nvPr/>
          </p:nvSpPr>
          <p:spPr bwMode="auto">
            <a:xfrm>
              <a:off x="3073381" y="1988359"/>
              <a:ext cx="18433" cy="0"/>
            </a:xfrm>
            <a:custGeom>
              <a:avLst/>
              <a:gdLst>
                <a:gd name="T0" fmla="*/ 1 w 5"/>
                <a:gd name="T1" fmla="*/ 2 h 2"/>
                <a:gd name="T2" fmla="*/ 1 w 5"/>
                <a:gd name="T3" fmla="*/ 2 h 2"/>
                <a:gd name="T4" fmla="*/ 4 w 5"/>
                <a:gd name="T5" fmla="*/ 0 h 2"/>
                <a:gd name="T6" fmla="*/ 5 w 5"/>
                <a:gd name="T7" fmla="*/ 0 h 2"/>
                <a:gd name="T8" fmla="*/ 5 w 5"/>
                <a:gd name="T9" fmla="*/ 0 h 2"/>
                <a:gd name="T10" fmla="*/ 5 w 5"/>
                <a:gd name="T11" fmla="*/ 0 h 2"/>
                <a:gd name="T12" fmla="*/ 1 w 5"/>
                <a:gd name="T13" fmla="*/ 2 h 2"/>
                <a:gd name="T14" fmla="*/ 0 w 5"/>
                <a:gd name="T15" fmla="*/ 2 h 2"/>
                <a:gd name="T16" fmla="*/ 1 w 5"/>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
                  <a:moveTo>
                    <a:pt x="1" y="2"/>
                  </a:moveTo>
                  <a:lnTo>
                    <a:pt x="1" y="2"/>
                  </a:lnTo>
                  <a:lnTo>
                    <a:pt x="4" y="0"/>
                  </a:lnTo>
                  <a:lnTo>
                    <a:pt x="5" y="0"/>
                  </a:lnTo>
                  <a:lnTo>
                    <a:pt x="5" y="0"/>
                  </a:lnTo>
                  <a:lnTo>
                    <a:pt x="5" y="0"/>
                  </a:lnTo>
                  <a:lnTo>
                    <a:pt x="1" y="2"/>
                  </a:lnTo>
                  <a:lnTo>
                    <a:pt x="0" y="2"/>
                  </a:lnTo>
                  <a:lnTo>
                    <a:pt x="1"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9" name="Freeform 812"/>
            <p:cNvSpPr/>
            <p:nvPr/>
          </p:nvSpPr>
          <p:spPr bwMode="auto">
            <a:xfrm>
              <a:off x="1955260" y="2350824"/>
              <a:ext cx="18433" cy="24574"/>
            </a:xfrm>
            <a:custGeom>
              <a:avLst/>
              <a:gdLst>
                <a:gd name="T0" fmla="*/ 8 w 8"/>
                <a:gd name="T1" fmla="*/ 0 h 9"/>
                <a:gd name="T2" fmla="*/ 8 w 8"/>
                <a:gd name="T3" fmla="*/ 0 h 9"/>
                <a:gd name="T4" fmla="*/ 0 w 8"/>
                <a:gd name="T5" fmla="*/ 9 h 9"/>
                <a:gd name="T6" fmla="*/ 0 w 8"/>
                <a:gd name="T7" fmla="*/ 9 h 9"/>
                <a:gd name="T8" fmla="*/ 2 w 8"/>
                <a:gd name="T9" fmla="*/ 6 h 9"/>
                <a:gd name="T10" fmla="*/ 5 w 8"/>
                <a:gd name="T11" fmla="*/ 3 h 9"/>
                <a:gd name="T12" fmla="*/ 5 w 8"/>
                <a:gd name="T13" fmla="*/ 3 h 9"/>
                <a:gd name="T14" fmla="*/ 8 w 8"/>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8" y="0"/>
                  </a:moveTo>
                  <a:lnTo>
                    <a:pt x="8" y="0"/>
                  </a:lnTo>
                  <a:lnTo>
                    <a:pt x="0" y="9"/>
                  </a:lnTo>
                  <a:lnTo>
                    <a:pt x="0" y="9"/>
                  </a:lnTo>
                  <a:lnTo>
                    <a:pt x="2" y="6"/>
                  </a:lnTo>
                  <a:lnTo>
                    <a:pt x="5" y="3"/>
                  </a:lnTo>
                  <a:lnTo>
                    <a:pt x="5" y="3"/>
                  </a:lnTo>
                  <a:lnTo>
                    <a:pt x="8"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0" name="Freeform 813"/>
            <p:cNvSpPr/>
            <p:nvPr/>
          </p:nvSpPr>
          <p:spPr bwMode="auto">
            <a:xfrm>
              <a:off x="2569613" y="2019073"/>
              <a:ext cx="36861" cy="18433"/>
            </a:xfrm>
            <a:custGeom>
              <a:avLst/>
              <a:gdLst>
                <a:gd name="T0" fmla="*/ 11 w 11"/>
                <a:gd name="T1" fmla="*/ 0 h 8"/>
                <a:gd name="T2" fmla="*/ 11 w 11"/>
                <a:gd name="T3" fmla="*/ 0 h 8"/>
                <a:gd name="T4" fmla="*/ 5 w 11"/>
                <a:gd name="T5" fmla="*/ 5 h 8"/>
                <a:gd name="T6" fmla="*/ 0 w 11"/>
                <a:gd name="T7" fmla="*/ 8 h 8"/>
                <a:gd name="T8" fmla="*/ 0 w 11"/>
                <a:gd name="T9" fmla="*/ 8 h 8"/>
                <a:gd name="T10" fmla="*/ 5 w 11"/>
                <a:gd name="T11" fmla="*/ 3 h 8"/>
                <a:gd name="T12" fmla="*/ 11 w 11"/>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11" y="0"/>
                  </a:moveTo>
                  <a:lnTo>
                    <a:pt x="11" y="0"/>
                  </a:lnTo>
                  <a:lnTo>
                    <a:pt x="5" y="5"/>
                  </a:lnTo>
                  <a:lnTo>
                    <a:pt x="0" y="8"/>
                  </a:lnTo>
                  <a:lnTo>
                    <a:pt x="0" y="8"/>
                  </a:lnTo>
                  <a:lnTo>
                    <a:pt x="5" y="3"/>
                  </a:lnTo>
                  <a:lnTo>
                    <a:pt x="1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1" name="Freeform 814"/>
            <p:cNvSpPr/>
            <p:nvPr/>
          </p:nvSpPr>
          <p:spPr bwMode="auto">
            <a:xfrm>
              <a:off x="2028983" y="2246387"/>
              <a:ext cx="36861" cy="49148"/>
            </a:xfrm>
            <a:custGeom>
              <a:avLst/>
              <a:gdLst>
                <a:gd name="T0" fmla="*/ 13 w 13"/>
                <a:gd name="T1" fmla="*/ 0 h 17"/>
                <a:gd name="T2" fmla="*/ 13 w 13"/>
                <a:gd name="T3" fmla="*/ 0 h 17"/>
                <a:gd name="T4" fmla="*/ 11 w 13"/>
                <a:gd name="T5" fmla="*/ 1 h 17"/>
                <a:gd name="T6" fmla="*/ 11 w 13"/>
                <a:gd name="T7" fmla="*/ 3 h 17"/>
                <a:gd name="T8" fmla="*/ 11 w 13"/>
                <a:gd name="T9" fmla="*/ 3 h 17"/>
                <a:gd name="T10" fmla="*/ 7 w 13"/>
                <a:gd name="T11" fmla="*/ 7 h 17"/>
                <a:gd name="T12" fmla="*/ 5 w 13"/>
                <a:gd name="T13" fmla="*/ 8 h 17"/>
                <a:gd name="T14" fmla="*/ 3 w 13"/>
                <a:gd name="T15" fmla="*/ 11 h 17"/>
                <a:gd name="T16" fmla="*/ 3 w 13"/>
                <a:gd name="T17" fmla="*/ 11 h 17"/>
                <a:gd name="T18" fmla="*/ 4 w 13"/>
                <a:gd name="T19" fmla="*/ 11 h 17"/>
                <a:gd name="T20" fmla="*/ 5 w 13"/>
                <a:gd name="T21" fmla="*/ 10 h 17"/>
                <a:gd name="T22" fmla="*/ 7 w 13"/>
                <a:gd name="T23" fmla="*/ 10 h 17"/>
                <a:gd name="T24" fmla="*/ 7 w 13"/>
                <a:gd name="T25" fmla="*/ 11 h 17"/>
                <a:gd name="T26" fmla="*/ 7 w 13"/>
                <a:gd name="T27" fmla="*/ 11 h 17"/>
                <a:gd name="T28" fmla="*/ 3 w 13"/>
                <a:gd name="T29" fmla="*/ 15 h 17"/>
                <a:gd name="T30" fmla="*/ 3 w 13"/>
                <a:gd name="T31" fmla="*/ 15 h 17"/>
                <a:gd name="T32" fmla="*/ 0 w 13"/>
                <a:gd name="T33" fmla="*/ 17 h 17"/>
                <a:gd name="T34" fmla="*/ 0 w 13"/>
                <a:gd name="T35" fmla="*/ 17 h 17"/>
                <a:gd name="T36" fmla="*/ 3 w 13"/>
                <a:gd name="T37" fmla="*/ 11 h 17"/>
                <a:gd name="T38" fmla="*/ 5 w 13"/>
                <a:gd name="T39" fmla="*/ 5 h 17"/>
                <a:gd name="T40" fmla="*/ 5 w 13"/>
                <a:gd name="T41" fmla="*/ 5 h 17"/>
                <a:gd name="T42" fmla="*/ 10 w 13"/>
                <a:gd name="T43" fmla="*/ 1 h 17"/>
                <a:gd name="T44" fmla="*/ 13 w 13"/>
                <a:gd name="T4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 h="17">
                  <a:moveTo>
                    <a:pt x="13" y="0"/>
                  </a:moveTo>
                  <a:lnTo>
                    <a:pt x="13" y="0"/>
                  </a:lnTo>
                  <a:lnTo>
                    <a:pt x="11" y="1"/>
                  </a:lnTo>
                  <a:lnTo>
                    <a:pt x="11" y="3"/>
                  </a:lnTo>
                  <a:lnTo>
                    <a:pt x="11" y="3"/>
                  </a:lnTo>
                  <a:lnTo>
                    <a:pt x="7" y="7"/>
                  </a:lnTo>
                  <a:lnTo>
                    <a:pt x="5" y="8"/>
                  </a:lnTo>
                  <a:lnTo>
                    <a:pt x="3" y="11"/>
                  </a:lnTo>
                  <a:lnTo>
                    <a:pt x="3" y="11"/>
                  </a:lnTo>
                  <a:lnTo>
                    <a:pt x="4" y="11"/>
                  </a:lnTo>
                  <a:lnTo>
                    <a:pt x="5" y="10"/>
                  </a:lnTo>
                  <a:lnTo>
                    <a:pt x="7" y="10"/>
                  </a:lnTo>
                  <a:lnTo>
                    <a:pt x="7" y="11"/>
                  </a:lnTo>
                  <a:lnTo>
                    <a:pt x="7" y="11"/>
                  </a:lnTo>
                  <a:lnTo>
                    <a:pt x="3" y="15"/>
                  </a:lnTo>
                  <a:lnTo>
                    <a:pt x="3" y="15"/>
                  </a:lnTo>
                  <a:lnTo>
                    <a:pt x="0" y="17"/>
                  </a:lnTo>
                  <a:lnTo>
                    <a:pt x="0" y="17"/>
                  </a:lnTo>
                  <a:lnTo>
                    <a:pt x="3" y="11"/>
                  </a:lnTo>
                  <a:lnTo>
                    <a:pt x="5" y="5"/>
                  </a:lnTo>
                  <a:lnTo>
                    <a:pt x="5" y="5"/>
                  </a:lnTo>
                  <a:lnTo>
                    <a:pt x="10" y="1"/>
                  </a:lnTo>
                  <a:lnTo>
                    <a:pt x="1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2" name="Freeform 815"/>
            <p:cNvSpPr/>
            <p:nvPr/>
          </p:nvSpPr>
          <p:spPr bwMode="auto">
            <a:xfrm>
              <a:off x="2508179" y="2019073"/>
              <a:ext cx="36861" cy="24574"/>
            </a:xfrm>
            <a:custGeom>
              <a:avLst/>
              <a:gdLst>
                <a:gd name="T0" fmla="*/ 0 w 13"/>
                <a:gd name="T1" fmla="*/ 8 h 9"/>
                <a:gd name="T2" fmla="*/ 0 w 13"/>
                <a:gd name="T3" fmla="*/ 8 h 9"/>
                <a:gd name="T4" fmla="*/ 6 w 13"/>
                <a:gd name="T5" fmla="*/ 3 h 9"/>
                <a:gd name="T6" fmla="*/ 9 w 13"/>
                <a:gd name="T7" fmla="*/ 0 h 9"/>
                <a:gd name="T8" fmla="*/ 13 w 13"/>
                <a:gd name="T9" fmla="*/ 0 h 9"/>
                <a:gd name="T10" fmla="*/ 13 w 13"/>
                <a:gd name="T11" fmla="*/ 0 h 9"/>
                <a:gd name="T12" fmla="*/ 3 w 13"/>
                <a:gd name="T13" fmla="*/ 8 h 9"/>
                <a:gd name="T14" fmla="*/ 3 w 13"/>
                <a:gd name="T15" fmla="*/ 8 h 9"/>
                <a:gd name="T16" fmla="*/ 0 w 13"/>
                <a:gd name="T17" fmla="*/ 9 h 9"/>
                <a:gd name="T18" fmla="*/ 0 w 13"/>
                <a:gd name="T19"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9">
                  <a:moveTo>
                    <a:pt x="0" y="8"/>
                  </a:moveTo>
                  <a:lnTo>
                    <a:pt x="0" y="8"/>
                  </a:lnTo>
                  <a:lnTo>
                    <a:pt x="6" y="3"/>
                  </a:lnTo>
                  <a:lnTo>
                    <a:pt x="9" y="0"/>
                  </a:lnTo>
                  <a:lnTo>
                    <a:pt x="13" y="0"/>
                  </a:lnTo>
                  <a:lnTo>
                    <a:pt x="13" y="0"/>
                  </a:lnTo>
                  <a:lnTo>
                    <a:pt x="3" y="8"/>
                  </a:lnTo>
                  <a:lnTo>
                    <a:pt x="3" y="8"/>
                  </a:lnTo>
                  <a:lnTo>
                    <a:pt x="0" y="9"/>
                  </a:lnTo>
                  <a:lnTo>
                    <a:pt x="0"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3" name="Freeform 816"/>
            <p:cNvSpPr/>
            <p:nvPr/>
          </p:nvSpPr>
          <p:spPr bwMode="auto">
            <a:xfrm>
              <a:off x="2256291" y="2123515"/>
              <a:ext cx="18433" cy="12287"/>
            </a:xfrm>
            <a:custGeom>
              <a:avLst/>
              <a:gdLst>
                <a:gd name="T0" fmla="*/ 0 w 6"/>
                <a:gd name="T1" fmla="*/ 4 h 4"/>
                <a:gd name="T2" fmla="*/ 0 w 6"/>
                <a:gd name="T3" fmla="*/ 4 h 4"/>
                <a:gd name="T4" fmla="*/ 6 w 6"/>
                <a:gd name="T5" fmla="*/ 0 h 4"/>
                <a:gd name="T6" fmla="*/ 6 w 6"/>
                <a:gd name="T7" fmla="*/ 0 h 4"/>
                <a:gd name="T8" fmla="*/ 3 w 6"/>
                <a:gd name="T9" fmla="*/ 3 h 4"/>
                <a:gd name="T10" fmla="*/ 1 w 6"/>
                <a:gd name="T11" fmla="*/ 4 h 4"/>
                <a:gd name="T12" fmla="*/ 1 w 6"/>
                <a:gd name="T13" fmla="*/ 4 h 4"/>
                <a:gd name="T14" fmla="*/ 0 w 6"/>
                <a:gd name="T15" fmla="*/ 4 h 4"/>
                <a:gd name="T16" fmla="*/ 0 w 6"/>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0" y="4"/>
                  </a:moveTo>
                  <a:lnTo>
                    <a:pt x="0" y="4"/>
                  </a:lnTo>
                  <a:lnTo>
                    <a:pt x="6" y="0"/>
                  </a:lnTo>
                  <a:lnTo>
                    <a:pt x="6" y="0"/>
                  </a:lnTo>
                  <a:lnTo>
                    <a:pt x="3" y="3"/>
                  </a:lnTo>
                  <a:lnTo>
                    <a:pt x="1" y="4"/>
                  </a:lnTo>
                  <a:lnTo>
                    <a:pt x="1" y="4"/>
                  </a:lnTo>
                  <a:lnTo>
                    <a:pt x="0" y="4"/>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4" name="Freeform 817"/>
            <p:cNvSpPr/>
            <p:nvPr/>
          </p:nvSpPr>
          <p:spPr bwMode="auto">
            <a:xfrm>
              <a:off x="2084273" y="2203380"/>
              <a:ext cx="18433" cy="24574"/>
            </a:xfrm>
            <a:custGeom>
              <a:avLst/>
              <a:gdLst>
                <a:gd name="T0" fmla="*/ 6 w 6"/>
                <a:gd name="T1" fmla="*/ 0 h 7"/>
                <a:gd name="T2" fmla="*/ 6 w 6"/>
                <a:gd name="T3" fmla="*/ 0 h 7"/>
                <a:gd name="T4" fmla="*/ 5 w 6"/>
                <a:gd name="T5" fmla="*/ 3 h 7"/>
                <a:gd name="T6" fmla="*/ 5 w 6"/>
                <a:gd name="T7" fmla="*/ 3 h 7"/>
                <a:gd name="T8" fmla="*/ 0 w 6"/>
                <a:gd name="T9" fmla="*/ 7 h 7"/>
                <a:gd name="T10" fmla="*/ 0 w 6"/>
                <a:gd name="T11" fmla="*/ 7 h 7"/>
                <a:gd name="T12" fmla="*/ 2 w 6"/>
                <a:gd name="T13" fmla="*/ 3 h 7"/>
                <a:gd name="T14" fmla="*/ 6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6" y="0"/>
                  </a:moveTo>
                  <a:lnTo>
                    <a:pt x="6" y="0"/>
                  </a:lnTo>
                  <a:lnTo>
                    <a:pt x="5" y="3"/>
                  </a:lnTo>
                  <a:lnTo>
                    <a:pt x="5" y="3"/>
                  </a:lnTo>
                  <a:lnTo>
                    <a:pt x="0" y="7"/>
                  </a:lnTo>
                  <a:lnTo>
                    <a:pt x="0" y="7"/>
                  </a:lnTo>
                  <a:lnTo>
                    <a:pt x="2" y="3"/>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5" name="Freeform 818"/>
            <p:cNvSpPr/>
            <p:nvPr/>
          </p:nvSpPr>
          <p:spPr bwMode="auto">
            <a:xfrm>
              <a:off x="2287011" y="2086654"/>
              <a:ext cx="18433" cy="24574"/>
            </a:xfrm>
            <a:custGeom>
              <a:avLst/>
              <a:gdLst>
                <a:gd name="T0" fmla="*/ 7 w 7"/>
                <a:gd name="T1" fmla="*/ 0 h 9"/>
                <a:gd name="T2" fmla="*/ 7 w 7"/>
                <a:gd name="T3" fmla="*/ 0 h 9"/>
                <a:gd name="T4" fmla="*/ 3 w 7"/>
                <a:gd name="T5" fmla="*/ 5 h 9"/>
                <a:gd name="T6" fmla="*/ 1 w 7"/>
                <a:gd name="T7" fmla="*/ 7 h 9"/>
                <a:gd name="T8" fmla="*/ 0 w 7"/>
                <a:gd name="T9" fmla="*/ 9 h 9"/>
                <a:gd name="T10" fmla="*/ 0 w 7"/>
                <a:gd name="T11" fmla="*/ 9 h 9"/>
                <a:gd name="T12" fmla="*/ 3 w 7"/>
                <a:gd name="T13" fmla="*/ 5 h 9"/>
                <a:gd name="T14" fmla="*/ 7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7" y="0"/>
                  </a:moveTo>
                  <a:lnTo>
                    <a:pt x="7" y="0"/>
                  </a:lnTo>
                  <a:lnTo>
                    <a:pt x="3" y="5"/>
                  </a:lnTo>
                  <a:lnTo>
                    <a:pt x="1" y="7"/>
                  </a:lnTo>
                  <a:lnTo>
                    <a:pt x="0" y="9"/>
                  </a:lnTo>
                  <a:lnTo>
                    <a:pt x="0" y="9"/>
                  </a:lnTo>
                  <a:lnTo>
                    <a:pt x="3" y="5"/>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6" name="Freeform 819"/>
            <p:cNvSpPr/>
            <p:nvPr/>
          </p:nvSpPr>
          <p:spPr bwMode="auto">
            <a:xfrm>
              <a:off x="2366875" y="2037507"/>
              <a:ext cx="24574" cy="24574"/>
            </a:xfrm>
            <a:custGeom>
              <a:avLst/>
              <a:gdLst>
                <a:gd name="T0" fmla="*/ 8 w 8"/>
                <a:gd name="T1" fmla="*/ 0 h 7"/>
                <a:gd name="T2" fmla="*/ 8 w 8"/>
                <a:gd name="T3" fmla="*/ 0 h 7"/>
                <a:gd name="T4" fmla="*/ 5 w 8"/>
                <a:gd name="T5" fmla="*/ 2 h 7"/>
                <a:gd name="T6" fmla="*/ 4 w 8"/>
                <a:gd name="T7" fmla="*/ 4 h 7"/>
                <a:gd name="T8" fmla="*/ 4 w 8"/>
                <a:gd name="T9" fmla="*/ 5 h 7"/>
                <a:gd name="T10" fmla="*/ 4 w 8"/>
                <a:gd name="T11" fmla="*/ 5 h 7"/>
                <a:gd name="T12" fmla="*/ 0 w 8"/>
                <a:gd name="T13" fmla="*/ 7 h 7"/>
                <a:gd name="T14" fmla="*/ 0 w 8"/>
                <a:gd name="T15" fmla="*/ 7 h 7"/>
                <a:gd name="T16" fmla="*/ 4 w 8"/>
                <a:gd name="T17" fmla="*/ 2 h 7"/>
                <a:gd name="T18" fmla="*/ 8 w 8"/>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8" y="0"/>
                  </a:moveTo>
                  <a:lnTo>
                    <a:pt x="8" y="0"/>
                  </a:lnTo>
                  <a:lnTo>
                    <a:pt x="5" y="2"/>
                  </a:lnTo>
                  <a:lnTo>
                    <a:pt x="4" y="4"/>
                  </a:lnTo>
                  <a:lnTo>
                    <a:pt x="4" y="5"/>
                  </a:lnTo>
                  <a:lnTo>
                    <a:pt x="4" y="5"/>
                  </a:lnTo>
                  <a:lnTo>
                    <a:pt x="0" y="7"/>
                  </a:lnTo>
                  <a:lnTo>
                    <a:pt x="0" y="7"/>
                  </a:lnTo>
                  <a:lnTo>
                    <a:pt x="4" y="2"/>
                  </a:lnTo>
                  <a:lnTo>
                    <a:pt x="8"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7" name="Freeform 820"/>
            <p:cNvSpPr/>
            <p:nvPr/>
          </p:nvSpPr>
          <p:spPr bwMode="auto">
            <a:xfrm>
              <a:off x="2336159" y="2062080"/>
              <a:ext cx="30720" cy="18433"/>
            </a:xfrm>
            <a:custGeom>
              <a:avLst/>
              <a:gdLst>
                <a:gd name="T0" fmla="*/ 0 w 10"/>
                <a:gd name="T1" fmla="*/ 7 h 7"/>
                <a:gd name="T2" fmla="*/ 0 w 10"/>
                <a:gd name="T3" fmla="*/ 7 h 7"/>
                <a:gd name="T4" fmla="*/ 4 w 10"/>
                <a:gd name="T5" fmla="*/ 3 h 7"/>
                <a:gd name="T6" fmla="*/ 7 w 10"/>
                <a:gd name="T7" fmla="*/ 1 h 7"/>
                <a:gd name="T8" fmla="*/ 10 w 10"/>
                <a:gd name="T9" fmla="*/ 0 h 7"/>
                <a:gd name="T10" fmla="*/ 10 w 10"/>
                <a:gd name="T11" fmla="*/ 0 h 7"/>
                <a:gd name="T12" fmla="*/ 8 w 10"/>
                <a:gd name="T13" fmla="*/ 3 h 7"/>
                <a:gd name="T14" fmla="*/ 4 w 10"/>
                <a:gd name="T15" fmla="*/ 5 h 7"/>
                <a:gd name="T16" fmla="*/ 4 w 10"/>
                <a:gd name="T17" fmla="*/ 5 h 7"/>
                <a:gd name="T18" fmla="*/ 1 w 10"/>
                <a:gd name="T19" fmla="*/ 7 h 7"/>
                <a:gd name="T20" fmla="*/ 0 w 10"/>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0" y="7"/>
                  </a:moveTo>
                  <a:lnTo>
                    <a:pt x="0" y="7"/>
                  </a:lnTo>
                  <a:lnTo>
                    <a:pt x="4" y="3"/>
                  </a:lnTo>
                  <a:lnTo>
                    <a:pt x="7" y="1"/>
                  </a:lnTo>
                  <a:lnTo>
                    <a:pt x="10" y="0"/>
                  </a:lnTo>
                  <a:lnTo>
                    <a:pt x="10" y="0"/>
                  </a:lnTo>
                  <a:lnTo>
                    <a:pt x="8" y="3"/>
                  </a:lnTo>
                  <a:lnTo>
                    <a:pt x="4" y="5"/>
                  </a:lnTo>
                  <a:lnTo>
                    <a:pt x="4" y="5"/>
                  </a:lnTo>
                  <a:lnTo>
                    <a:pt x="1" y="7"/>
                  </a:lnTo>
                  <a:lnTo>
                    <a:pt x="0"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8" name="Freeform 821"/>
            <p:cNvSpPr/>
            <p:nvPr/>
          </p:nvSpPr>
          <p:spPr bwMode="auto">
            <a:xfrm>
              <a:off x="2127279" y="2172664"/>
              <a:ext cx="12287" cy="24574"/>
            </a:xfrm>
            <a:custGeom>
              <a:avLst/>
              <a:gdLst>
                <a:gd name="T0" fmla="*/ 6 w 6"/>
                <a:gd name="T1" fmla="*/ 0 h 7"/>
                <a:gd name="T2" fmla="*/ 6 w 6"/>
                <a:gd name="T3" fmla="*/ 0 h 7"/>
                <a:gd name="T4" fmla="*/ 6 w 6"/>
                <a:gd name="T5" fmla="*/ 3 h 7"/>
                <a:gd name="T6" fmla="*/ 3 w 6"/>
                <a:gd name="T7" fmla="*/ 4 h 7"/>
                <a:gd name="T8" fmla="*/ 0 w 6"/>
                <a:gd name="T9" fmla="*/ 7 h 7"/>
                <a:gd name="T10" fmla="*/ 0 w 6"/>
                <a:gd name="T11" fmla="*/ 7 h 7"/>
                <a:gd name="T12" fmla="*/ 3 w 6"/>
                <a:gd name="T13" fmla="*/ 3 h 7"/>
                <a:gd name="T14" fmla="*/ 6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6" y="0"/>
                  </a:moveTo>
                  <a:lnTo>
                    <a:pt x="6" y="0"/>
                  </a:lnTo>
                  <a:lnTo>
                    <a:pt x="6" y="3"/>
                  </a:lnTo>
                  <a:lnTo>
                    <a:pt x="3" y="4"/>
                  </a:lnTo>
                  <a:lnTo>
                    <a:pt x="0" y="7"/>
                  </a:lnTo>
                  <a:lnTo>
                    <a:pt x="0" y="7"/>
                  </a:lnTo>
                  <a:lnTo>
                    <a:pt x="3" y="3"/>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9" name="Freeform 822"/>
            <p:cNvSpPr/>
            <p:nvPr/>
          </p:nvSpPr>
          <p:spPr bwMode="auto">
            <a:xfrm>
              <a:off x="2323871" y="2062080"/>
              <a:ext cx="24574" cy="18433"/>
            </a:xfrm>
            <a:custGeom>
              <a:avLst/>
              <a:gdLst>
                <a:gd name="T0" fmla="*/ 7 w 7"/>
                <a:gd name="T1" fmla="*/ 0 h 5"/>
                <a:gd name="T2" fmla="*/ 7 w 7"/>
                <a:gd name="T3" fmla="*/ 0 h 5"/>
                <a:gd name="T4" fmla="*/ 3 w 7"/>
                <a:gd name="T5" fmla="*/ 3 h 5"/>
                <a:gd name="T6" fmla="*/ 3 w 7"/>
                <a:gd name="T7" fmla="*/ 3 h 5"/>
                <a:gd name="T8" fmla="*/ 0 w 7"/>
                <a:gd name="T9" fmla="*/ 5 h 5"/>
                <a:gd name="T10" fmla="*/ 0 w 7"/>
                <a:gd name="T11" fmla="*/ 5 h 5"/>
                <a:gd name="T12" fmla="*/ 0 w 7"/>
                <a:gd name="T13" fmla="*/ 4 h 5"/>
                <a:gd name="T14" fmla="*/ 1 w 7"/>
                <a:gd name="T15" fmla="*/ 3 h 5"/>
                <a:gd name="T16" fmla="*/ 7 w 7"/>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7" y="0"/>
                  </a:moveTo>
                  <a:lnTo>
                    <a:pt x="7" y="0"/>
                  </a:lnTo>
                  <a:lnTo>
                    <a:pt x="3" y="3"/>
                  </a:lnTo>
                  <a:lnTo>
                    <a:pt x="3" y="3"/>
                  </a:lnTo>
                  <a:lnTo>
                    <a:pt x="0" y="5"/>
                  </a:lnTo>
                  <a:lnTo>
                    <a:pt x="0" y="5"/>
                  </a:lnTo>
                  <a:lnTo>
                    <a:pt x="0" y="4"/>
                  </a:lnTo>
                  <a:lnTo>
                    <a:pt x="1" y="3"/>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0" name="Freeform 823"/>
            <p:cNvSpPr/>
            <p:nvPr/>
          </p:nvSpPr>
          <p:spPr bwMode="auto">
            <a:xfrm>
              <a:off x="2342301" y="2019073"/>
              <a:ext cx="49148" cy="36861"/>
            </a:xfrm>
            <a:custGeom>
              <a:avLst/>
              <a:gdLst>
                <a:gd name="T0" fmla="*/ 10 w 16"/>
                <a:gd name="T1" fmla="*/ 3 h 13"/>
                <a:gd name="T2" fmla="*/ 10 w 16"/>
                <a:gd name="T3" fmla="*/ 3 h 13"/>
                <a:gd name="T4" fmla="*/ 6 w 16"/>
                <a:gd name="T5" fmla="*/ 9 h 13"/>
                <a:gd name="T6" fmla="*/ 5 w 16"/>
                <a:gd name="T7" fmla="*/ 12 h 13"/>
                <a:gd name="T8" fmla="*/ 5 w 16"/>
                <a:gd name="T9" fmla="*/ 12 h 13"/>
                <a:gd name="T10" fmla="*/ 2 w 16"/>
                <a:gd name="T11" fmla="*/ 13 h 13"/>
                <a:gd name="T12" fmla="*/ 0 w 16"/>
                <a:gd name="T13" fmla="*/ 13 h 13"/>
                <a:gd name="T14" fmla="*/ 0 w 16"/>
                <a:gd name="T15" fmla="*/ 13 h 13"/>
                <a:gd name="T16" fmla="*/ 3 w 16"/>
                <a:gd name="T17" fmla="*/ 9 h 13"/>
                <a:gd name="T18" fmla="*/ 8 w 16"/>
                <a:gd name="T19" fmla="*/ 6 h 13"/>
                <a:gd name="T20" fmla="*/ 8 w 16"/>
                <a:gd name="T21" fmla="*/ 6 h 13"/>
                <a:gd name="T22" fmla="*/ 5 w 16"/>
                <a:gd name="T23" fmla="*/ 8 h 13"/>
                <a:gd name="T24" fmla="*/ 5 w 16"/>
                <a:gd name="T25" fmla="*/ 8 h 13"/>
                <a:gd name="T26" fmla="*/ 3 w 16"/>
                <a:gd name="T27" fmla="*/ 8 h 13"/>
                <a:gd name="T28" fmla="*/ 3 w 16"/>
                <a:gd name="T29" fmla="*/ 8 h 13"/>
                <a:gd name="T30" fmla="*/ 10 w 16"/>
                <a:gd name="T31" fmla="*/ 3 h 13"/>
                <a:gd name="T32" fmla="*/ 16 w 16"/>
                <a:gd name="T33" fmla="*/ 0 h 13"/>
                <a:gd name="T34" fmla="*/ 16 w 16"/>
                <a:gd name="T35" fmla="*/ 0 h 13"/>
                <a:gd name="T36" fmla="*/ 16 w 16"/>
                <a:gd name="T37" fmla="*/ 2 h 13"/>
                <a:gd name="T38" fmla="*/ 15 w 16"/>
                <a:gd name="T39" fmla="*/ 3 h 13"/>
                <a:gd name="T40" fmla="*/ 15 w 16"/>
                <a:gd name="T41" fmla="*/ 3 h 13"/>
                <a:gd name="T42" fmla="*/ 12 w 16"/>
                <a:gd name="T43" fmla="*/ 5 h 13"/>
                <a:gd name="T44" fmla="*/ 12 w 16"/>
                <a:gd name="T45" fmla="*/ 3 h 13"/>
                <a:gd name="T46" fmla="*/ 10 w 16"/>
                <a:gd name="T47"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13">
                  <a:moveTo>
                    <a:pt x="10" y="3"/>
                  </a:moveTo>
                  <a:lnTo>
                    <a:pt x="10" y="3"/>
                  </a:lnTo>
                  <a:lnTo>
                    <a:pt x="6" y="9"/>
                  </a:lnTo>
                  <a:lnTo>
                    <a:pt x="5" y="12"/>
                  </a:lnTo>
                  <a:lnTo>
                    <a:pt x="5" y="12"/>
                  </a:lnTo>
                  <a:lnTo>
                    <a:pt x="2" y="13"/>
                  </a:lnTo>
                  <a:lnTo>
                    <a:pt x="0" y="13"/>
                  </a:lnTo>
                  <a:lnTo>
                    <a:pt x="0" y="13"/>
                  </a:lnTo>
                  <a:lnTo>
                    <a:pt x="3" y="9"/>
                  </a:lnTo>
                  <a:lnTo>
                    <a:pt x="8" y="6"/>
                  </a:lnTo>
                  <a:lnTo>
                    <a:pt x="8" y="6"/>
                  </a:lnTo>
                  <a:lnTo>
                    <a:pt x="5" y="8"/>
                  </a:lnTo>
                  <a:lnTo>
                    <a:pt x="5" y="8"/>
                  </a:lnTo>
                  <a:lnTo>
                    <a:pt x="3" y="8"/>
                  </a:lnTo>
                  <a:lnTo>
                    <a:pt x="3" y="8"/>
                  </a:lnTo>
                  <a:lnTo>
                    <a:pt x="10" y="3"/>
                  </a:lnTo>
                  <a:lnTo>
                    <a:pt x="16" y="0"/>
                  </a:lnTo>
                  <a:lnTo>
                    <a:pt x="16" y="0"/>
                  </a:lnTo>
                  <a:lnTo>
                    <a:pt x="16" y="2"/>
                  </a:lnTo>
                  <a:lnTo>
                    <a:pt x="15" y="3"/>
                  </a:lnTo>
                  <a:lnTo>
                    <a:pt x="15" y="3"/>
                  </a:lnTo>
                  <a:lnTo>
                    <a:pt x="12" y="5"/>
                  </a:lnTo>
                  <a:lnTo>
                    <a:pt x="12" y="3"/>
                  </a:lnTo>
                  <a:lnTo>
                    <a:pt x="1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1" name="Freeform 824"/>
            <p:cNvSpPr/>
            <p:nvPr/>
          </p:nvSpPr>
          <p:spPr bwMode="auto">
            <a:xfrm>
              <a:off x="2366875" y="2006787"/>
              <a:ext cx="55294" cy="43007"/>
            </a:xfrm>
            <a:custGeom>
              <a:avLst/>
              <a:gdLst>
                <a:gd name="T0" fmla="*/ 17 w 17"/>
                <a:gd name="T1" fmla="*/ 0 h 14"/>
                <a:gd name="T2" fmla="*/ 17 w 17"/>
                <a:gd name="T3" fmla="*/ 0 h 14"/>
                <a:gd name="T4" fmla="*/ 9 w 17"/>
                <a:gd name="T5" fmla="*/ 7 h 14"/>
                <a:gd name="T6" fmla="*/ 9 w 17"/>
                <a:gd name="T7" fmla="*/ 7 h 14"/>
                <a:gd name="T8" fmla="*/ 0 w 17"/>
                <a:gd name="T9" fmla="*/ 14 h 14"/>
                <a:gd name="T10" fmla="*/ 0 w 17"/>
                <a:gd name="T11" fmla="*/ 14 h 14"/>
                <a:gd name="T12" fmla="*/ 1 w 17"/>
                <a:gd name="T13" fmla="*/ 12 h 14"/>
                <a:gd name="T14" fmla="*/ 6 w 17"/>
                <a:gd name="T15" fmla="*/ 7 h 14"/>
                <a:gd name="T16" fmla="*/ 6 w 17"/>
                <a:gd name="T17" fmla="*/ 7 h 14"/>
                <a:gd name="T18" fmla="*/ 17 w 17"/>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4">
                  <a:moveTo>
                    <a:pt x="17" y="0"/>
                  </a:moveTo>
                  <a:lnTo>
                    <a:pt x="17" y="0"/>
                  </a:lnTo>
                  <a:lnTo>
                    <a:pt x="9" y="7"/>
                  </a:lnTo>
                  <a:lnTo>
                    <a:pt x="9" y="7"/>
                  </a:lnTo>
                  <a:lnTo>
                    <a:pt x="0" y="14"/>
                  </a:lnTo>
                  <a:lnTo>
                    <a:pt x="0" y="14"/>
                  </a:lnTo>
                  <a:lnTo>
                    <a:pt x="1" y="12"/>
                  </a:lnTo>
                  <a:lnTo>
                    <a:pt x="6" y="7"/>
                  </a:lnTo>
                  <a:lnTo>
                    <a:pt x="6" y="7"/>
                  </a:lnTo>
                  <a:lnTo>
                    <a:pt x="1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2" name="Freeform 825"/>
            <p:cNvSpPr/>
            <p:nvPr/>
          </p:nvSpPr>
          <p:spPr bwMode="auto">
            <a:xfrm>
              <a:off x="2078131" y="2160377"/>
              <a:ext cx="36861" cy="43007"/>
            </a:xfrm>
            <a:custGeom>
              <a:avLst/>
              <a:gdLst>
                <a:gd name="T0" fmla="*/ 11 w 11"/>
                <a:gd name="T1" fmla="*/ 0 h 12"/>
                <a:gd name="T2" fmla="*/ 11 w 11"/>
                <a:gd name="T3" fmla="*/ 0 h 12"/>
                <a:gd name="T4" fmla="*/ 6 w 11"/>
                <a:gd name="T5" fmla="*/ 5 h 12"/>
                <a:gd name="T6" fmla="*/ 0 w 11"/>
                <a:gd name="T7" fmla="*/ 12 h 12"/>
                <a:gd name="T8" fmla="*/ 0 w 11"/>
                <a:gd name="T9" fmla="*/ 12 h 12"/>
                <a:gd name="T10" fmla="*/ 6 w 11"/>
                <a:gd name="T11" fmla="*/ 5 h 12"/>
                <a:gd name="T12" fmla="*/ 11 w 11"/>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1" h="12">
                  <a:moveTo>
                    <a:pt x="11" y="0"/>
                  </a:moveTo>
                  <a:lnTo>
                    <a:pt x="11" y="0"/>
                  </a:lnTo>
                  <a:lnTo>
                    <a:pt x="6" y="5"/>
                  </a:lnTo>
                  <a:lnTo>
                    <a:pt x="0" y="12"/>
                  </a:lnTo>
                  <a:lnTo>
                    <a:pt x="0" y="12"/>
                  </a:lnTo>
                  <a:lnTo>
                    <a:pt x="6" y="5"/>
                  </a:lnTo>
                  <a:lnTo>
                    <a:pt x="1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3" name="Freeform 826"/>
            <p:cNvSpPr/>
            <p:nvPr/>
          </p:nvSpPr>
          <p:spPr bwMode="auto">
            <a:xfrm>
              <a:off x="2201001" y="2111228"/>
              <a:ext cx="12287" cy="12287"/>
            </a:xfrm>
            <a:custGeom>
              <a:avLst/>
              <a:gdLst>
                <a:gd name="T0" fmla="*/ 3 w 3"/>
                <a:gd name="T1" fmla="*/ 0 h 5"/>
                <a:gd name="T2" fmla="*/ 3 w 3"/>
                <a:gd name="T3" fmla="*/ 0 h 5"/>
                <a:gd name="T4" fmla="*/ 3 w 3"/>
                <a:gd name="T5" fmla="*/ 2 h 5"/>
                <a:gd name="T6" fmla="*/ 0 w 3"/>
                <a:gd name="T7" fmla="*/ 5 h 5"/>
                <a:gd name="T8" fmla="*/ 0 w 3"/>
                <a:gd name="T9" fmla="*/ 5 h 5"/>
                <a:gd name="T10" fmla="*/ 0 w 3"/>
                <a:gd name="T11" fmla="*/ 3 h 5"/>
                <a:gd name="T12" fmla="*/ 3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3" y="0"/>
                  </a:moveTo>
                  <a:lnTo>
                    <a:pt x="3" y="0"/>
                  </a:lnTo>
                  <a:lnTo>
                    <a:pt x="3" y="2"/>
                  </a:lnTo>
                  <a:lnTo>
                    <a:pt x="0" y="5"/>
                  </a:lnTo>
                  <a:lnTo>
                    <a:pt x="0" y="5"/>
                  </a:lnTo>
                  <a:lnTo>
                    <a:pt x="0" y="3"/>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4" name="Freeform 827"/>
            <p:cNvSpPr/>
            <p:nvPr/>
          </p:nvSpPr>
          <p:spPr bwMode="auto">
            <a:xfrm>
              <a:off x="2164140" y="2098941"/>
              <a:ext cx="36861" cy="36861"/>
            </a:xfrm>
            <a:custGeom>
              <a:avLst/>
              <a:gdLst>
                <a:gd name="T0" fmla="*/ 6 w 13"/>
                <a:gd name="T1" fmla="*/ 3 h 13"/>
                <a:gd name="T2" fmla="*/ 6 w 13"/>
                <a:gd name="T3" fmla="*/ 3 h 13"/>
                <a:gd name="T4" fmla="*/ 7 w 13"/>
                <a:gd name="T5" fmla="*/ 3 h 13"/>
                <a:gd name="T6" fmla="*/ 6 w 13"/>
                <a:gd name="T7" fmla="*/ 4 h 13"/>
                <a:gd name="T8" fmla="*/ 6 w 13"/>
                <a:gd name="T9" fmla="*/ 6 h 13"/>
                <a:gd name="T10" fmla="*/ 6 w 13"/>
                <a:gd name="T11" fmla="*/ 6 h 13"/>
                <a:gd name="T12" fmla="*/ 6 w 13"/>
                <a:gd name="T13" fmla="*/ 6 h 13"/>
                <a:gd name="T14" fmla="*/ 6 w 13"/>
                <a:gd name="T15" fmla="*/ 6 h 13"/>
                <a:gd name="T16" fmla="*/ 8 w 13"/>
                <a:gd name="T17" fmla="*/ 3 h 13"/>
                <a:gd name="T18" fmla="*/ 10 w 13"/>
                <a:gd name="T19" fmla="*/ 0 h 13"/>
                <a:gd name="T20" fmla="*/ 13 w 13"/>
                <a:gd name="T21" fmla="*/ 0 h 13"/>
                <a:gd name="T22" fmla="*/ 13 w 13"/>
                <a:gd name="T23" fmla="*/ 0 h 13"/>
                <a:gd name="T24" fmla="*/ 6 w 13"/>
                <a:gd name="T25" fmla="*/ 7 h 13"/>
                <a:gd name="T26" fmla="*/ 0 w 13"/>
                <a:gd name="T27" fmla="*/ 13 h 13"/>
                <a:gd name="T28" fmla="*/ 0 w 13"/>
                <a:gd name="T29" fmla="*/ 13 h 13"/>
                <a:gd name="T30" fmla="*/ 1 w 13"/>
                <a:gd name="T31" fmla="*/ 9 h 13"/>
                <a:gd name="T32" fmla="*/ 4 w 13"/>
                <a:gd name="T33" fmla="*/ 6 h 13"/>
                <a:gd name="T34" fmla="*/ 6 w 13"/>
                <a:gd name="T35"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13">
                  <a:moveTo>
                    <a:pt x="6" y="3"/>
                  </a:moveTo>
                  <a:lnTo>
                    <a:pt x="6" y="3"/>
                  </a:lnTo>
                  <a:lnTo>
                    <a:pt x="7" y="3"/>
                  </a:lnTo>
                  <a:lnTo>
                    <a:pt x="6" y="4"/>
                  </a:lnTo>
                  <a:lnTo>
                    <a:pt x="6" y="6"/>
                  </a:lnTo>
                  <a:lnTo>
                    <a:pt x="6" y="6"/>
                  </a:lnTo>
                  <a:lnTo>
                    <a:pt x="6" y="6"/>
                  </a:lnTo>
                  <a:lnTo>
                    <a:pt x="6" y="6"/>
                  </a:lnTo>
                  <a:lnTo>
                    <a:pt x="8" y="3"/>
                  </a:lnTo>
                  <a:lnTo>
                    <a:pt x="10" y="0"/>
                  </a:lnTo>
                  <a:lnTo>
                    <a:pt x="13" y="0"/>
                  </a:lnTo>
                  <a:lnTo>
                    <a:pt x="13" y="0"/>
                  </a:lnTo>
                  <a:lnTo>
                    <a:pt x="6" y="7"/>
                  </a:lnTo>
                  <a:lnTo>
                    <a:pt x="0" y="13"/>
                  </a:lnTo>
                  <a:lnTo>
                    <a:pt x="0" y="13"/>
                  </a:lnTo>
                  <a:lnTo>
                    <a:pt x="1" y="9"/>
                  </a:lnTo>
                  <a:lnTo>
                    <a:pt x="4" y="6"/>
                  </a:lnTo>
                  <a:lnTo>
                    <a:pt x="6"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5" name="Freeform 828"/>
            <p:cNvSpPr/>
            <p:nvPr/>
          </p:nvSpPr>
          <p:spPr bwMode="auto">
            <a:xfrm>
              <a:off x="2446742" y="1976072"/>
              <a:ext cx="36861" cy="24574"/>
            </a:xfrm>
            <a:custGeom>
              <a:avLst/>
              <a:gdLst>
                <a:gd name="T0" fmla="*/ 0 w 11"/>
                <a:gd name="T1" fmla="*/ 7 h 7"/>
                <a:gd name="T2" fmla="*/ 0 w 11"/>
                <a:gd name="T3" fmla="*/ 7 h 7"/>
                <a:gd name="T4" fmla="*/ 4 w 11"/>
                <a:gd name="T5" fmla="*/ 2 h 7"/>
                <a:gd name="T6" fmla="*/ 8 w 11"/>
                <a:gd name="T7" fmla="*/ 1 h 7"/>
                <a:gd name="T8" fmla="*/ 11 w 11"/>
                <a:gd name="T9" fmla="*/ 0 h 7"/>
                <a:gd name="T10" fmla="*/ 11 w 11"/>
                <a:gd name="T11" fmla="*/ 1 h 7"/>
                <a:gd name="T12" fmla="*/ 11 w 11"/>
                <a:gd name="T13" fmla="*/ 2 h 7"/>
                <a:gd name="T14" fmla="*/ 11 w 11"/>
                <a:gd name="T15" fmla="*/ 2 h 7"/>
                <a:gd name="T16" fmla="*/ 7 w 11"/>
                <a:gd name="T17" fmla="*/ 2 h 7"/>
                <a:gd name="T18" fmla="*/ 0 w 11"/>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
                  <a:moveTo>
                    <a:pt x="0" y="7"/>
                  </a:moveTo>
                  <a:lnTo>
                    <a:pt x="0" y="7"/>
                  </a:lnTo>
                  <a:lnTo>
                    <a:pt x="4" y="2"/>
                  </a:lnTo>
                  <a:lnTo>
                    <a:pt x="8" y="1"/>
                  </a:lnTo>
                  <a:lnTo>
                    <a:pt x="11" y="0"/>
                  </a:lnTo>
                  <a:lnTo>
                    <a:pt x="11" y="1"/>
                  </a:lnTo>
                  <a:lnTo>
                    <a:pt x="11" y="2"/>
                  </a:lnTo>
                  <a:lnTo>
                    <a:pt x="11" y="2"/>
                  </a:lnTo>
                  <a:lnTo>
                    <a:pt x="7" y="2"/>
                  </a:lnTo>
                  <a:lnTo>
                    <a:pt x="0"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6" name="Freeform 829"/>
            <p:cNvSpPr/>
            <p:nvPr/>
          </p:nvSpPr>
          <p:spPr bwMode="auto">
            <a:xfrm>
              <a:off x="2428311" y="1988359"/>
              <a:ext cx="18433" cy="12287"/>
            </a:xfrm>
            <a:custGeom>
              <a:avLst/>
              <a:gdLst>
                <a:gd name="T0" fmla="*/ 6 w 6"/>
                <a:gd name="T1" fmla="*/ 0 h 5"/>
                <a:gd name="T2" fmla="*/ 6 w 6"/>
                <a:gd name="T3" fmla="*/ 0 h 5"/>
                <a:gd name="T4" fmla="*/ 3 w 6"/>
                <a:gd name="T5" fmla="*/ 5 h 5"/>
                <a:gd name="T6" fmla="*/ 3 w 6"/>
                <a:gd name="T7" fmla="*/ 5 h 5"/>
                <a:gd name="T8" fmla="*/ 0 w 6"/>
                <a:gd name="T9" fmla="*/ 5 h 5"/>
                <a:gd name="T10" fmla="*/ 0 w 6"/>
                <a:gd name="T11" fmla="*/ 5 h 5"/>
                <a:gd name="T12" fmla="*/ 0 w 6"/>
                <a:gd name="T13" fmla="*/ 5 h 5"/>
                <a:gd name="T14" fmla="*/ 0 w 6"/>
                <a:gd name="T15" fmla="*/ 5 h 5"/>
                <a:gd name="T16" fmla="*/ 2 w 6"/>
                <a:gd name="T17" fmla="*/ 3 h 5"/>
                <a:gd name="T18" fmla="*/ 3 w 6"/>
                <a:gd name="T19" fmla="*/ 2 h 5"/>
                <a:gd name="T20" fmla="*/ 5 w 6"/>
                <a:gd name="T21" fmla="*/ 0 h 5"/>
                <a:gd name="T22" fmla="*/ 6 w 6"/>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0"/>
                  </a:moveTo>
                  <a:lnTo>
                    <a:pt x="6" y="0"/>
                  </a:lnTo>
                  <a:lnTo>
                    <a:pt x="3" y="5"/>
                  </a:lnTo>
                  <a:lnTo>
                    <a:pt x="3" y="5"/>
                  </a:lnTo>
                  <a:lnTo>
                    <a:pt x="0" y="5"/>
                  </a:lnTo>
                  <a:lnTo>
                    <a:pt x="0" y="5"/>
                  </a:lnTo>
                  <a:lnTo>
                    <a:pt x="0" y="5"/>
                  </a:lnTo>
                  <a:lnTo>
                    <a:pt x="0" y="5"/>
                  </a:lnTo>
                  <a:lnTo>
                    <a:pt x="2" y="3"/>
                  </a:lnTo>
                  <a:lnTo>
                    <a:pt x="3" y="2"/>
                  </a:lnTo>
                  <a:lnTo>
                    <a:pt x="5" y="0"/>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7" name="Freeform 830"/>
            <p:cNvSpPr/>
            <p:nvPr/>
          </p:nvSpPr>
          <p:spPr bwMode="auto">
            <a:xfrm>
              <a:off x="2299297" y="2025219"/>
              <a:ext cx="18433" cy="18433"/>
            </a:xfrm>
            <a:custGeom>
              <a:avLst/>
              <a:gdLst>
                <a:gd name="T0" fmla="*/ 4 w 6"/>
                <a:gd name="T1" fmla="*/ 2 h 6"/>
                <a:gd name="T2" fmla="*/ 4 w 6"/>
                <a:gd name="T3" fmla="*/ 2 h 6"/>
                <a:gd name="T4" fmla="*/ 6 w 6"/>
                <a:gd name="T5" fmla="*/ 0 h 6"/>
                <a:gd name="T6" fmla="*/ 6 w 6"/>
                <a:gd name="T7" fmla="*/ 2 h 6"/>
                <a:gd name="T8" fmla="*/ 4 w 6"/>
                <a:gd name="T9" fmla="*/ 5 h 6"/>
                <a:gd name="T10" fmla="*/ 4 w 6"/>
                <a:gd name="T11" fmla="*/ 5 h 6"/>
                <a:gd name="T12" fmla="*/ 0 w 6"/>
                <a:gd name="T13" fmla="*/ 6 h 6"/>
                <a:gd name="T14" fmla="*/ 0 w 6"/>
                <a:gd name="T15" fmla="*/ 6 h 6"/>
                <a:gd name="T16" fmla="*/ 4 w 6"/>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2"/>
                  </a:moveTo>
                  <a:lnTo>
                    <a:pt x="4" y="2"/>
                  </a:lnTo>
                  <a:lnTo>
                    <a:pt x="6" y="0"/>
                  </a:lnTo>
                  <a:lnTo>
                    <a:pt x="6" y="2"/>
                  </a:lnTo>
                  <a:lnTo>
                    <a:pt x="4" y="5"/>
                  </a:lnTo>
                  <a:lnTo>
                    <a:pt x="4" y="5"/>
                  </a:lnTo>
                  <a:lnTo>
                    <a:pt x="0" y="6"/>
                  </a:lnTo>
                  <a:lnTo>
                    <a:pt x="0" y="6"/>
                  </a:lnTo>
                  <a:lnTo>
                    <a:pt x="4"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8" name="Freeform 831"/>
            <p:cNvSpPr/>
            <p:nvPr/>
          </p:nvSpPr>
          <p:spPr bwMode="auto">
            <a:xfrm>
              <a:off x="2250150" y="2049793"/>
              <a:ext cx="12287" cy="18433"/>
            </a:xfrm>
            <a:custGeom>
              <a:avLst/>
              <a:gdLst>
                <a:gd name="T0" fmla="*/ 3 w 4"/>
                <a:gd name="T1" fmla="*/ 0 h 6"/>
                <a:gd name="T2" fmla="*/ 3 w 4"/>
                <a:gd name="T3" fmla="*/ 0 h 6"/>
                <a:gd name="T4" fmla="*/ 4 w 4"/>
                <a:gd name="T5" fmla="*/ 0 h 6"/>
                <a:gd name="T6" fmla="*/ 4 w 4"/>
                <a:gd name="T7" fmla="*/ 2 h 6"/>
                <a:gd name="T8" fmla="*/ 3 w 4"/>
                <a:gd name="T9" fmla="*/ 5 h 6"/>
                <a:gd name="T10" fmla="*/ 3 w 4"/>
                <a:gd name="T11" fmla="*/ 5 h 6"/>
                <a:gd name="T12" fmla="*/ 0 w 4"/>
                <a:gd name="T13" fmla="*/ 6 h 6"/>
                <a:gd name="T14" fmla="*/ 0 w 4"/>
                <a:gd name="T15" fmla="*/ 5 h 6"/>
                <a:gd name="T16" fmla="*/ 0 w 4"/>
                <a:gd name="T17" fmla="*/ 3 h 6"/>
                <a:gd name="T18" fmla="*/ 3 w 4"/>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3" y="0"/>
                  </a:moveTo>
                  <a:lnTo>
                    <a:pt x="3" y="0"/>
                  </a:lnTo>
                  <a:lnTo>
                    <a:pt x="4" y="0"/>
                  </a:lnTo>
                  <a:lnTo>
                    <a:pt x="4" y="2"/>
                  </a:lnTo>
                  <a:lnTo>
                    <a:pt x="3" y="5"/>
                  </a:lnTo>
                  <a:lnTo>
                    <a:pt x="3" y="5"/>
                  </a:lnTo>
                  <a:lnTo>
                    <a:pt x="0" y="6"/>
                  </a:lnTo>
                  <a:lnTo>
                    <a:pt x="0" y="5"/>
                  </a:lnTo>
                  <a:lnTo>
                    <a:pt x="0" y="3"/>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9" name="Freeform 832"/>
            <p:cNvSpPr/>
            <p:nvPr/>
          </p:nvSpPr>
          <p:spPr bwMode="auto">
            <a:xfrm>
              <a:off x="2428311" y="1976072"/>
              <a:ext cx="24574" cy="12287"/>
            </a:xfrm>
            <a:custGeom>
              <a:avLst/>
              <a:gdLst>
                <a:gd name="T0" fmla="*/ 0 w 9"/>
                <a:gd name="T1" fmla="*/ 4 h 4"/>
                <a:gd name="T2" fmla="*/ 0 w 9"/>
                <a:gd name="T3" fmla="*/ 4 h 4"/>
                <a:gd name="T4" fmla="*/ 2 w 9"/>
                <a:gd name="T5" fmla="*/ 2 h 4"/>
                <a:gd name="T6" fmla="*/ 5 w 9"/>
                <a:gd name="T7" fmla="*/ 0 h 4"/>
                <a:gd name="T8" fmla="*/ 9 w 9"/>
                <a:gd name="T9" fmla="*/ 0 h 4"/>
                <a:gd name="T10" fmla="*/ 9 w 9"/>
                <a:gd name="T11" fmla="*/ 0 h 4"/>
                <a:gd name="T12" fmla="*/ 6 w 9"/>
                <a:gd name="T13" fmla="*/ 2 h 4"/>
                <a:gd name="T14" fmla="*/ 5 w 9"/>
                <a:gd name="T15" fmla="*/ 3 h 4"/>
                <a:gd name="T16" fmla="*/ 0 w 9"/>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
                  <a:moveTo>
                    <a:pt x="0" y="4"/>
                  </a:moveTo>
                  <a:lnTo>
                    <a:pt x="0" y="4"/>
                  </a:lnTo>
                  <a:lnTo>
                    <a:pt x="2" y="2"/>
                  </a:lnTo>
                  <a:lnTo>
                    <a:pt x="5" y="0"/>
                  </a:lnTo>
                  <a:lnTo>
                    <a:pt x="9" y="0"/>
                  </a:lnTo>
                  <a:lnTo>
                    <a:pt x="9" y="0"/>
                  </a:lnTo>
                  <a:lnTo>
                    <a:pt x="6" y="2"/>
                  </a:lnTo>
                  <a:lnTo>
                    <a:pt x="5" y="3"/>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0" name="Freeform 833"/>
            <p:cNvSpPr/>
            <p:nvPr/>
          </p:nvSpPr>
          <p:spPr bwMode="auto">
            <a:xfrm>
              <a:off x="2262436" y="2000646"/>
              <a:ext cx="55294" cy="43007"/>
            </a:xfrm>
            <a:custGeom>
              <a:avLst/>
              <a:gdLst>
                <a:gd name="T0" fmla="*/ 11 w 17"/>
                <a:gd name="T1" fmla="*/ 3 h 14"/>
                <a:gd name="T2" fmla="*/ 11 w 17"/>
                <a:gd name="T3" fmla="*/ 3 h 14"/>
                <a:gd name="T4" fmla="*/ 17 w 17"/>
                <a:gd name="T5" fmla="*/ 0 h 14"/>
                <a:gd name="T6" fmla="*/ 17 w 17"/>
                <a:gd name="T7" fmla="*/ 0 h 14"/>
                <a:gd name="T8" fmla="*/ 11 w 17"/>
                <a:gd name="T9" fmla="*/ 4 h 14"/>
                <a:gd name="T10" fmla="*/ 8 w 17"/>
                <a:gd name="T11" fmla="*/ 8 h 14"/>
                <a:gd name="T12" fmla="*/ 8 w 17"/>
                <a:gd name="T13" fmla="*/ 8 h 14"/>
                <a:gd name="T14" fmla="*/ 7 w 17"/>
                <a:gd name="T15" fmla="*/ 8 h 14"/>
                <a:gd name="T16" fmla="*/ 5 w 17"/>
                <a:gd name="T17" fmla="*/ 10 h 14"/>
                <a:gd name="T18" fmla="*/ 0 w 17"/>
                <a:gd name="T19" fmla="*/ 14 h 14"/>
                <a:gd name="T20" fmla="*/ 0 w 17"/>
                <a:gd name="T21" fmla="*/ 14 h 14"/>
                <a:gd name="T22" fmla="*/ 5 w 17"/>
                <a:gd name="T23" fmla="*/ 8 h 14"/>
                <a:gd name="T24" fmla="*/ 5 w 17"/>
                <a:gd name="T25" fmla="*/ 8 h 14"/>
                <a:gd name="T26" fmla="*/ 8 w 17"/>
                <a:gd name="T27" fmla="*/ 5 h 14"/>
                <a:gd name="T28" fmla="*/ 8 w 17"/>
                <a:gd name="T29" fmla="*/ 5 h 14"/>
                <a:gd name="T30" fmla="*/ 11 w 17"/>
                <a:gd name="T3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4">
                  <a:moveTo>
                    <a:pt x="11" y="3"/>
                  </a:moveTo>
                  <a:lnTo>
                    <a:pt x="11" y="3"/>
                  </a:lnTo>
                  <a:lnTo>
                    <a:pt x="17" y="0"/>
                  </a:lnTo>
                  <a:lnTo>
                    <a:pt x="17" y="0"/>
                  </a:lnTo>
                  <a:lnTo>
                    <a:pt x="11" y="4"/>
                  </a:lnTo>
                  <a:lnTo>
                    <a:pt x="8" y="8"/>
                  </a:lnTo>
                  <a:lnTo>
                    <a:pt x="8" y="8"/>
                  </a:lnTo>
                  <a:lnTo>
                    <a:pt x="7" y="8"/>
                  </a:lnTo>
                  <a:lnTo>
                    <a:pt x="5" y="10"/>
                  </a:lnTo>
                  <a:lnTo>
                    <a:pt x="0" y="14"/>
                  </a:lnTo>
                  <a:lnTo>
                    <a:pt x="0" y="14"/>
                  </a:lnTo>
                  <a:lnTo>
                    <a:pt x="5" y="8"/>
                  </a:lnTo>
                  <a:lnTo>
                    <a:pt x="5" y="8"/>
                  </a:lnTo>
                  <a:lnTo>
                    <a:pt x="8" y="5"/>
                  </a:lnTo>
                  <a:lnTo>
                    <a:pt x="8" y="5"/>
                  </a:lnTo>
                  <a:lnTo>
                    <a:pt x="11"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1" name="Freeform 834"/>
            <p:cNvSpPr/>
            <p:nvPr/>
          </p:nvSpPr>
          <p:spPr bwMode="auto">
            <a:xfrm>
              <a:off x="2323871" y="1951498"/>
              <a:ext cx="61435" cy="43007"/>
            </a:xfrm>
            <a:custGeom>
              <a:avLst/>
              <a:gdLst>
                <a:gd name="T0" fmla="*/ 20 w 20"/>
                <a:gd name="T1" fmla="*/ 2 h 14"/>
                <a:gd name="T2" fmla="*/ 20 w 20"/>
                <a:gd name="T3" fmla="*/ 2 h 14"/>
                <a:gd name="T4" fmla="*/ 15 w 20"/>
                <a:gd name="T5" fmla="*/ 4 h 14"/>
                <a:gd name="T6" fmla="*/ 9 w 20"/>
                <a:gd name="T7" fmla="*/ 9 h 14"/>
                <a:gd name="T8" fmla="*/ 9 w 20"/>
                <a:gd name="T9" fmla="*/ 9 h 14"/>
                <a:gd name="T10" fmla="*/ 5 w 20"/>
                <a:gd name="T11" fmla="*/ 13 h 14"/>
                <a:gd name="T12" fmla="*/ 0 w 20"/>
                <a:gd name="T13" fmla="*/ 14 h 14"/>
                <a:gd name="T14" fmla="*/ 0 w 20"/>
                <a:gd name="T15" fmla="*/ 14 h 14"/>
                <a:gd name="T16" fmla="*/ 12 w 20"/>
                <a:gd name="T17" fmla="*/ 4 h 14"/>
                <a:gd name="T18" fmla="*/ 12 w 20"/>
                <a:gd name="T19" fmla="*/ 4 h 14"/>
                <a:gd name="T20" fmla="*/ 17 w 20"/>
                <a:gd name="T21" fmla="*/ 2 h 14"/>
                <a:gd name="T22" fmla="*/ 19 w 20"/>
                <a:gd name="T23" fmla="*/ 0 h 14"/>
                <a:gd name="T24" fmla="*/ 20 w 20"/>
                <a:gd name="T2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20" y="2"/>
                  </a:moveTo>
                  <a:lnTo>
                    <a:pt x="20" y="2"/>
                  </a:lnTo>
                  <a:lnTo>
                    <a:pt x="15" y="4"/>
                  </a:lnTo>
                  <a:lnTo>
                    <a:pt x="9" y="9"/>
                  </a:lnTo>
                  <a:lnTo>
                    <a:pt x="9" y="9"/>
                  </a:lnTo>
                  <a:lnTo>
                    <a:pt x="5" y="13"/>
                  </a:lnTo>
                  <a:lnTo>
                    <a:pt x="0" y="14"/>
                  </a:lnTo>
                  <a:lnTo>
                    <a:pt x="0" y="14"/>
                  </a:lnTo>
                  <a:lnTo>
                    <a:pt x="12" y="4"/>
                  </a:lnTo>
                  <a:lnTo>
                    <a:pt x="12" y="4"/>
                  </a:lnTo>
                  <a:lnTo>
                    <a:pt x="17" y="2"/>
                  </a:lnTo>
                  <a:lnTo>
                    <a:pt x="19" y="0"/>
                  </a:lnTo>
                  <a:lnTo>
                    <a:pt x="2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2" name="Freeform 835"/>
            <p:cNvSpPr/>
            <p:nvPr/>
          </p:nvSpPr>
          <p:spPr bwMode="auto">
            <a:xfrm>
              <a:off x="2348445" y="1969926"/>
              <a:ext cx="18433" cy="18433"/>
            </a:xfrm>
            <a:custGeom>
              <a:avLst/>
              <a:gdLst>
                <a:gd name="T0" fmla="*/ 6 w 6"/>
                <a:gd name="T1" fmla="*/ 0 h 5"/>
                <a:gd name="T2" fmla="*/ 6 w 6"/>
                <a:gd name="T3" fmla="*/ 0 h 5"/>
                <a:gd name="T4" fmla="*/ 6 w 6"/>
                <a:gd name="T5" fmla="*/ 0 h 5"/>
                <a:gd name="T6" fmla="*/ 6 w 6"/>
                <a:gd name="T7" fmla="*/ 1 h 5"/>
                <a:gd name="T8" fmla="*/ 6 w 6"/>
                <a:gd name="T9" fmla="*/ 1 h 5"/>
                <a:gd name="T10" fmla="*/ 6 w 6"/>
                <a:gd name="T11" fmla="*/ 3 h 5"/>
                <a:gd name="T12" fmla="*/ 6 w 6"/>
                <a:gd name="T13" fmla="*/ 3 h 5"/>
                <a:gd name="T14" fmla="*/ 0 w 6"/>
                <a:gd name="T15" fmla="*/ 5 h 5"/>
                <a:gd name="T16" fmla="*/ 0 w 6"/>
                <a:gd name="T17" fmla="*/ 5 h 5"/>
                <a:gd name="T18" fmla="*/ 3 w 6"/>
                <a:gd name="T19" fmla="*/ 3 h 5"/>
                <a:gd name="T20" fmla="*/ 6 w 6"/>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6" y="0"/>
                  </a:moveTo>
                  <a:lnTo>
                    <a:pt x="6" y="0"/>
                  </a:lnTo>
                  <a:lnTo>
                    <a:pt x="6" y="0"/>
                  </a:lnTo>
                  <a:lnTo>
                    <a:pt x="6" y="1"/>
                  </a:lnTo>
                  <a:lnTo>
                    <a:pt x="6" y="1"/>
                  </a:lnTo>
                  <a:lnTo>
                    <a:pt x="6" y="3"/>
                  </a:lnTo>
                  <a:lnTo>
                    <a:pt x="6" y="3"/>
                  </a:lnTo>
                  <a:lnTo>
                    <a:pt x="0" y="5"/>
                  </a:lnTo>
                  <a:lnTo>
                    <a:pt x="0" y="5"/>
                  </a:lnTo>
                  <a:lnTo>
                    <a:pt x="3" y="3"/>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3" name="Freeform 836"/>
            <p:cNvSpPr/>
            <p:nvPr/>
          </p:nvSpPr>
          <p:spPr bwMode="auto">
            <a:xfrm>
              <a:off x="2465171" y="1883916"/>
              <a:ext cx="24574" cy="12287"/>
            </a:xfrm>
            <a:custGeom>
              <a:avLst/>
              <a:gdLst>
                <a:gd name="T0" fmla="*/ 0 w 7"/>
                <a:gd name="T1" fmla="*/ 3 h 6"/>
                <a:gd name="T2" fmla="*/ 0 w 7"/>
                <a:gd name="T3" fmla="*/ 3 h 6"/>
                <a:gd name="T4" fmla="*/ 5 w 7"/>
                <a:gd name="T5" fmla="*/ 2 h 6"/>
                <a:gd name="T6" fmla="*/ 7 w 7"/>
                <a:gd name="T7" fmla="*/ 0 h 6"/>
                <a:gd name="T8" fmla="*/ 7 w 7"/>
                <a:gd name="T9" fmla="*/ 0 h 6"/>
                <a:gd name="T10" fmla="*/ 5 w 7"/>
                <a:gd name="T11" fmla="*/ 3 h 6"/>
                <a:gd name="T12" fmla="*/ 0 w 7"/>
                <a:gd name="T13" fmla="*/ 6 h 6"/>
                <a:gd name="T14" fmla="*/ 0 w 7"/>
                <a:gd name="T15" fmla="*/ 6 h 6"/>
                <a:gd name="T16" fmla="*/ 0 w 7"/>
                <a:gd name="T17" fmla="*/ 5 h 6"/>
                <a:gd name="T18" fmla="*/ 0 w 7"/>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0" y="3"/>
                  </a:moveTo>
                  <a:lnTo>
                    <a:pt x="0" y="3"/>
                  </a:lnTo>
                  <a:lnTo>
                    <a:pt x="5" y="2"/>
                  </a:lnTo>
                  <a:lnTo>
                    <a:pt x="7" y="0"/>
                  </a:lnTo>
                  <a:lnTo>
                    <a:pt x="7" y="0"/>
                  </a:lnTo>
                  <a:lnTo>
                    <a:pt x="5" y="3"/>
                  </a:lnTo>
                  <a:lnTo>
                    <a:pt x="0" y="6"/>
                  </a:lnTo>
                  <a:lnTo>
                    <a:pt x="0" y="6"/>
                  </a:lnTo>
                  <a:lnTo>
                    <a:pt x="0" y="5"/>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4" name="Freeform 837"/>
            <p:cNvSpPr/>
            <p:nvPr/>
          </p:nvSpPr>
          <p:spPr bwMode="auto">
            <a:xfrm>
              <a:off x="2729345" y="1797908"/>
              <a:ext cx="36861" cy="18433"/>
            </a:xfrm>
            <a:custGeom>
              <a:avLst/>
              <a:gdLst>
                <a:gd name="T0" fmla="*/ 11 w 11"/>
                <a:gd name="T1" fmla="*/ 0 h 6"/>
                <a:gd name="T2" fmla="*/ 11 w 11"/>
                <a:gd name="T3" fmla="*/ 0 h 6"/>
                <a:gd name="T4" fmla="*/ 4 w 11"/>
                <a:gd name="T5" fmla="*/ 4 h 6"/>
                <a:gd name="T6" fmla="*/ 1 w 11"/>
                <a:gd name="T7" fmla="*/ 6 h 6"/>
                <a:gd name="T8" fmla="*/ 0 w 11"/>
                <a:gd name="T9" fmla="*/ 6 h 6"/>
                <a:gd name="T10" fmla="*/ 0 w 11"/>
                <a:gd name="T11" fmla="*/ 4 h 6"/>
                <a:gd name="T12" fmla="*/ 0 w 11"/>
                <a:gd name="T13" fmla="*/ 4 h 6"/>
                <a:gd name="T14" fmla="*/ 3 w 11"/>
                <a:gd name="T15" fmla="*/ 4 h 6"/>
                <a:gd name="T16" fmla="*/ 7 w 11"/>
                <a:gd name="T17" fmla="*/ 2 h 6"/>
                <a:gd name="T18" fmla="*/ 10 w 11"/>
                <a:gd name="T19" fmla="*/ 0 h 6"/>
                <a:gd name="T20" fmla="*/ 11 w 11"/>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11" y="0"/>
                  </a:moveTo>
                  <a:lnTo>
                    <a:pt x="11" y="0"/>
                  </a:lnTo>
                  <a:lnTo>
                    <a:pt x="4" y="4"/>
                  </a:lnTo>
                  <a:lnTo>
                    <a:pt x="1" y="6"/>
                  </a:lnTo>
                  <a:lnTo>
                    <a:pt x="0" y="6"/>
                  </a:lnTo>
                  <a:lnTo>
                    <a:pt x="0" y="4"/>
                  </a:lnTo>
                  <a:lnTo>
                    <a:pt x="0" y="4"/>
                  </a:lnTo>
                  <a:lnTo>
                    <a:pt x="3" y="4"/>
                  </a:lnTo>
                  <a:lnTo>
                    <a:pt x="7" y="2"/>
                  </a:lnTo>
                  <a:lnTo>
                    <a:pt x="10" y="0"/>
                  </a:lnTo>
                  <a:lnTo>
                    <a:pt x="1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5" name="Freeform 838"/>
            <p:cNvSpPr/>
            <p:nvPr/>
          </p:nvSpPr>
          <p:spPr bwMode="auto">
            <a:xfrm>
              <a:off x="3097955" y="1791766"/>
              <a:ext cx="18433" cy="6145"/>
            </a:xfrm>
            <a:custGeom>
              <a:avLst/>
              <a:gdLst>
                <a:gd name="T0" fmla="*/ 3 w 5"/>
                <a:gd name="T1" fmla="*/ 0 h 3"/>
                <a:gd name="T2" fmla="*/ 3 w 5"/>
                <a:gd name="T3" fmla="*/ 0 h 3"/>
                <a:gd name="T4" fmla="*/ 5 w 5"/>
                <a:gd name="T5" fmla="*/ 0 h 3"/>
                <a:gd name="T6" fmla="*/ 4 w 5"/>
                <a:gd name="T7" fmla="*/ 2 h 3"/>
                <a:gd name="T8" fmla="*/ 0 w 5"/>
                <a:gd name="T9" fmla="*/ 3 h 3"/>
                <a:gd name="T10" fmla="*/ 0 w 5"/>
                <a:gd name="T11" fmla="*/ 3 h 3"/>
                <a:gd name="T12" fmla="*/ 1 w 5"/>
                <a:gd name="T13" fmla="*/ 2 h 3"/>
                <a:gd name="T14" fmla="*/ 3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3" y="0"/>
                  </a:moveTo>
                  <a:lnTo>
                    <a:pt x="3" y="0"/>
                  </a:lnTo>
                  <a:lnTo>
                    <a:pt x="5" y="0"/>
                  </a:lnTo>
                  <a:lnTo>
                    <a:pt x="4" y="2"/>
                  </a:lnTo>
                  <a:lnTo>
                    <a:pt x="0" y="3"/>
                  </a:lnTo>
                  <a:lnTo>
                    <a:pt x="0" y="3"/>
                  </a:lnTo>
                  <a:lnTo>
                    <a:pt x="1" y="2"/>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6" name="Freeform 839"/>
            <p:cNvSpPr/>
            <p:nvPr/>
          </p:nvSpPr>
          <p:spPr bwMode="auto">
            <a:xfrm>
              <a:off x="2735486" y="1791766"/>
              <a:ext cx="18433" cy="12287"/>
            </a:xfrm>
            <a:custGeom>
              <a:avLst/>
              <a:gdLst>
                <a:gd name="T0" fmla="*/ 7 w 7"/>
                <a:gd name="T1" fmla="*/ 1 h 4"/>
                <a:gd name="T2" fmla="*/ 7 w 7"/>
                <a:gd name="T3" fmla="*/ 1 h 4"/>
                <a:gd name="T4" fmla="*/ 3 w 7"/>
                <a:gd name="T5" fmla="*/ 4 h 4"/>
                <a:gd name="T6" fmla="*/ 0 w 7"/>
                <a:gd name="T7" fmla="*/ 4 h 4"/>
                <a:gd name="T8" fmla="*/ 0 w 7"/>
                <a:gd name="T9" fmla="*/ 4 h 4"/>
                <a:gd name="T10" fmla="*/ 2 w 7"/>
                <a:gd name="T11" fmla="*/ 1 h 4"/>
                <a:gd name="T12" fmla="*/ 3 w 7"/>
                <a:gd name="T13" fmla="*/ 1 h 4"/>
                <a:gd name="T14" fmla="*/ 5 w 7"/>
                <a:gd name="T15" fmla="*/ 0 h 4"/>
                <a:gd name="T16" fmla="*/ 5 w 7"/>
                <a:gd name="T17" fmla="*/ 0 h 4"/>
                <a:gd name="T18" fmla="*/ 5 w 7"/>
                <a:gd name="T19" fmla="*/ 1 h 4"/>
                <a:gd name="T20" fmla="*/ 6 w 7"/>
                <a:gd name="T21" fmla="*/ 1 h 4"/>
                <a:gd name="T22" fmla="*/ 7 w 7"/>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7" y="1"/>
                  </a:moveTo>
                  <a:lnTo>
                    <a:pt x="7" y="1"/>
                  </a:lnTo>
                  <a:lnTo>
                    <a:pt x="3" y="4"/>
                  </a:lnTo>
                  <a:lnTo>
                    <a:pt x="0" y="4"/>
                  </a:lnTo>
                  <a:lnTo>
                    <a:pt x="0" y="4"/>
                  </a:lnTo>
                  <a:lnTo>
                    <a:pt x="2" y="1"/>
                  </a:lnTo>
                  <a:lnTo>
                    <a:pt x="3" y="1"/>
                  </a:lnTo>
                  <a:lnTo>
                    <a:pt x="5" y="0"/>
                  </a:lnTo>
                  <a:lnTo>
                    <a:pt x="5" y="0"/>
                  </a:lnTo>
                  <a:lnTo>
                    <a:pt x="5" y="1"/>
                  </a:lnTo>
                  <a:lnTo>
                    <a:pt x="6" y="1"/>
                  </a:lnTo>
                  <a:lnTo>
                    <a:pt x="7"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7" name="Freeform 840"/>
            <p:cNvSpPr/>
            <p:nvPr/>
          </p:nvSpPr>
          <p:spPr bwMode="auto">
            <a:xfrm>
              <a:off x="2753919" y="1785620"/>
              <a:ext cx="12287" cy="12287"/>
            </a:xfrm>
            <a:custGeom>
              <a:avLst/>
              <a:gdLst>
                <a:gd name="T0" fmla="*/ 3 w 6"/>
                <a:gd name="T1" fmla="*/ 0 h 4"/>
                <a:gd name="T2" fmla="*/ 3 w 6"/>
                <a:gd name="T3" fmla="*/ 0 h 4"/>
                <a:gd name="T4" fmla="*/ 6 w 6"/>
                <a:gd name="T5" fmla="*/ 0 h 4"/>
                <a:gd name="T6" fmla="*/ 6 w 6"/>
                <a:gd name="T7" fmla="*/ 1 h 4"/>
                <a:gd name="T8" fmla="*/ 4 w 6"/>
                <a:gd name="T9" fmla="*/ 3 h 4"/>
                <a:gd name="T10" fmla="*/ 1 w 6"/>
                <a:gd name="T11" fmla="*/ 4 h 4"/>
                <a:gd name="T12" fmla="*/ 1 w 6"/>
                <a:gd name="T13" fmla="*/ 4 h 4"/>
                <a:gd name="T14" fmla="*/ 0 w 6"/>
                <a:gd name="T15" fmla="*/ 3 h 4"/>
                <a:gd name="T16" fmla="*/ 3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3" y="0"/>
                  </a:moveTo>
                  <a:lnTo>
                    <a:pt x="3" y="0"/>
                  </a:lnTo>
                  <a:lnTo>
                    <a:pt x="6" y="0"/>
                  </a:lnTo>
                  <a:lnTo>
                    <a:pt x="6" y="1"/>
                  </a:lnTo>
                  <a:lnTo>
                    <a:pt x="4" y="3"/>
                  </a:lnTo>
                  <a:lnTo>
                    <a:pt x="1" y="4"/>
                  </a:lnTo>
                  <a:lnTo>
                    <a:pt x="1" y="4"/>
                  </a:lnTo>
                  <a:lnTo>
                    <a:pt x="0" y="3"/>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8" name="Freeform 841"/>
            <p:cNvSpPr/>
            <p:nvPr/>
          </p:nvSpPr>
          <p:spPr bwMode="auto">
            <a:xfrm>
              <a:off x="2600329" y="1791766"/>
              <a:ext cx="43007" cy="30720"/>
            </a:xfrm>
            <a:custGeom>
              <a:avLst/>
              <a:gdLst>
                <a:gd name="T0" fmla="*/ 5 w 14"/>
                <a:gd name="T1" fmla="*/ 4 h 8"/>
                <a:gd name="T2" fmla="*/ 5 w 14"/>
                <a:gd name="T3" fmla="*/ 4 h 8"/>
                <a:gd name="T4" fmla="*/ 7 w 14"/>
                <a:gd name="T5" fmla="*/ 3 h 8"/>
                <a:gd name="T6" fmla="*/ 10 w 14"/>
                <a:gd name="T7" fmla="*/ 1 h 8"/>
                <a:gd name="T8" fmla="*/ 12 w 14"/>
                <a:gd name="T9" fmla="*/ 0 h 8"/>
                <a:gd name="T10" fmla="*/ 14 w 14"/>
                <a:gd name="T11" fmla="*/ 0 h 8"/>
                <a:gd name="T12" fmla="*/ 14 w 14"/>
                <a:gd name="T13" fmla="*/ 0 h 8"/>
                <a:gd name="T14" fmla="*/ 7 w 14"/>
                <a:gd name="T15" fmla="*/ 4 h 8"/>
                <a:gd name="T16" fmla="*/ 7 w 14"/>
                <a:gd name="T17" fmla="*/ 4 h 8"/>
                <a:gd name="T18" fmla="*/ 0 w 14"/>
                <a:gd name="T19" fmla="*/ 8 h 8"/>
                <a:gd name="T20" fmla="*/ 0 w 14"/>
                <a:gd name="T21" fmla="*/ 8 h 8"/>
                <a:gd name="T22" fmla="*/ 5 w 14"/>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8">
                  <a:moveTo>
                    <a:pt x="5" y="4"/>
                  </a:moveTo>
                  <a:lnTo>
                    <a:pt x="5" y="4"/>
                  </a:lnTo>
                  <a:lnTo>
                    <a:pt x="7" y="3"/>
                  </a:lnTo>
                  <a:lnTo>
                    <a:pt x="10" y="1"/>
                  </a:lnTo>
                  <a:lnTo>
                    <a:pt x="12" y="0"/>
                  </a:lnTo>
                  <a:lnTo>
                    <a:pt x="14" y="0"/>
                  </a:lnTo>
                  <a:lnTo>
                    <a:pt x="14" y="0"/>
                  </a:lnTo>
                  <a:lnTo>
                    <a:pt x="7" y="4"/>
                  </a:lnTo>
                  <a:lnTo>
                    <a:pt x="7" y="4"/>
                  </a:lnTo>
                  <a:lnTo>
                    <a:pt x="0" y="8"/>
                  </a:lnTo>
                  <a:lnTo>
                    <a:pt x="0" y="8"/>
                  </a:lnTo>
                  <a:lnTo>
                    <a:pt x="5"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9" name="Freeform 842"/>
            <p:cNvSpPr/>
            <p:nvPr/>
          </p:nvSpPr>
          <p:spPr bwMode="auto">
            <a:xfrm>
              <a:off x="2735486" y="1779479"/>
              <a:ext cx="24574" cy="12287"/>
            </a:xfrm>
            <a:custGeom>
              <a:avLst/>
              <a:gdLst>
                <a:gd name="T0" fmla="*/ 7 w 7"/>
                <a:gd name="T1" fmla="*/ 0 h 3"/>
                <a:gd name="T2" fmla="*/ 3 w 7"/>
                <a:gd name="T3" fmla="*/ 3 h 3"/>
                <a:gd name="T4" fmla="*/ 0 w 7"/>
                <a:gd name="T5" fmla="*/ 3 h 3"/>
                <a:gd name="T6" fmla="*/ 0 w 7"/>
                <a:gd name="T7" fmla="*/ 3 h 3"/>
                <a:gd name="T8" fmla="*/ 3 w 7"/>
                <a:gd name="T9" fmla="*/ 0 h 3"/>
                <a:gd name="T10" fmla="*/ 7 w 7"/>
                <a:gd name="T11" fmla="*/ 0 h 3"/>
              </a:gdLst>
              <a:ahLst/>
              <a:cxnLst>
                <a:cxn ang="0">
                  <a:pos x="T0" y="T1"/>
                </a:cxn>
                <a:cxn ang="0">
                  <a:pos x="T2" y="T3"/>
                </a:cxn>
                <a:cxn ang="0">
                  <a:pos x="T4" y="T5"/>
                </a:cxn>
                <a:cxn ang="0">
                  <a:pos x="T6" y="T7"/>
                </a:cxn>
                <a:cxn ang="0">
                  <a:pos x="T8" y="T9"/>
                </a:cxn>
                <a:cxn ang="0">
                  <a:pos x="T10" y="T11"/>
                </a:cxn>
              </a:cxnLst>
              <a:rect l="0" t="0" r="r" b="b"/>
              <a:pathLst>
                <a:path w="7" h="3">
                  <a:moveTo>
                    <a:pt x="7" y="0"/>
                  </a:moveTo>
                  <a:lnTo>
                    <a:pt x="3" y="3"/>
                  </a:lnTo>
                  <a:lnTo>
                    <a:pt x="0" y="3"/>
                  </a:lnTo>
                  <a:lnTo>
                    <a:pt x="0" y="3"/>
                  </a:lnTo>
                  <a:lnTo>
                    <a:pt x="3" y="0"/>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0" name="Freeform 843"/>
            <p:cNvSpPr/>
            <p:nvPr/>
          </p:nvSpPr>
          <p:spPr bwMode="auto">
            <a:xfrm>
              <a:off x="2821495" y="1761046"/>
              <a:ext cx="36861" cy="12287"/>
            </a:xfrm>
            <a:custGeom>
              <a:avLst/>
              <a:gdLst>
                <a:gd name="T0" fmla="*/ 0 w 11"/>
                <a:gd name="T1" fmla="*/ 3 h 3"/>
                <a:gd name="T2" fmla="*/ 0 w 11"/>
                <a:gd name="T3" fmla="*/ 3 h 3"/>
                <a:gd name="T4" fmla="*/ 3 w 11"/>
                <a:gd name="T5" fmla="*/ 1 h 3"/>
                <a:gd name="T6" fmla="*/ 6 w 11"/>
                <a:gd name="T7" fmla="*/ 1 h 3"/>
                <a:gd name="T8" fmla="*/ 7 w 11"/>
                <a:gd name="T9" fmla="*/ 1 h 3"/>
                <a:gd name="T10" fmla="*/ 11 w 11"/>
                <a:gd name="T11" fmla="*/ 0 h 3"/>
                <a:gd name="T12" fmla="*/ 11 w 11"/>
                <a:gd name="T13" fmla="*/ 0 h 3"/>
                <a:gd name="T14" fmla="*/ 4 w 11"/>
                <a:gd name="T15" fmla="*/ 3 h 3"/>
                <a:gd name="T16" fmla="*/ 1 w 11"/>
                <a:gd name="T17" fmla="*/ 3 h 3"/>
                <a:gd name="T18" fmla="*/ 0 w 11"/>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
                  <a:moveTo>
                    <a:pt x="0" y="3"/>
                  </a:moveTo>
                  <a:lnTo>
                    <a:pt x="0" y="3"/>
                  </a:lnTo>
                  <a:lnTo>
                    <a:pt x="3" y="1"/>
                  </a:lnTo>
                  <a:lnTo>
                    <a:pt x="6" y="1"/>
                  </a:lnTo>
                  <a:lnTo>
                    <a:pt x="7" y="1"/>
                  </a:lnTo>
                  <a:lnTo>
                    <a:pt x="11" y="0"/>
                  </a:lnTo>
                  <a:lnTo>
                    <a:pt x="11" y="0"/>
                  </a:lnTo>
                  <a:lnTo>
                    <a:pt x="4" y="3"/>
                  </a:lnTo>
                  <a:lnTo>
                    <a:pt x="1" y="3"/>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1" name="Freeform 844"/>
            <p:cNvSpPr/>
            <p:nvPr/>
          </p:nvSpPr>
          <p:spPr bwMode="auto">
            <a:xfrm>
              <a:off x="2852214" y="1761046"/>
              <a:ext cx="24574" cy="12287"/>
            </a:xfrm>
            <a:custGeom>
              <a:avLst/>
              <a:gdLst>
                <a:gd name="T0" fmla="*/ 4 w 8"/>
                <a:gd name="T1" fmla="*/ 2 h 5"/>
                <a:gd name="T2" fmla="*/ 8 w 8"/>
                <a:gd name="T3" fmla="*/ 0 h 5"/>
                <a:gd name="T4" fmla="*/ 8 w 8"/>
                <a:gd name="T5" fmla="*/ 0 h 5"/>
                <a:gd name="T6" fmla="*/ 3 w 8"/>
                <a:gd name="T7" fmla="*/ 5 h 5"/>
                <a:gd name="T8" fmla="*/ 1 w 8"/>
                <a:gd name="T9" fmla="*/ 5 h 5"/>
                <a:gd name="T10" fmla="*/ 0 w 8"/>
                <a:gd name="T11" fmla="*/ 5 h 5"/>
                <a:gd name="T12" fmla="*/ 0 w 8"/>
                <a:gd name="T13" fmla="*/ 5 h 5"/>
                <a:gd name="T14" fmla="*/ 3 w 8"/>
                <a:gd name="T15" fmla="*/ 3 h 5"/>
                <a:gd name="T16" fmla="*/ 4 w 8"/>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5">
                  <a:moveTo>
                    <a:pt x="4" y="2"/>
                  </a:moveTo>
                  <a:lnTo>
                    <a:pt x="8" y="0"/>
                  </a:lnTo>
                  <a:lnTo>
                    <a:pt x="8" y="0"/>
                  </a:lnTo>
                  <a:lnTo>
                    <a:pt x="3" y="5"/>
                  </a:lnTo>
                  <a:lnTo>
                    <a:pt x="1" y="5"/>
                  </a:lnTo>
                  <a:lnTo>
                    <a:pt x="0" y="5"/>
                  </a:lnTo>
                  <a:lnTo>
                    <a:pt x="0" y="5"/>
                  </a:lnTo>
                  <a:lnTo>
                    <a:pt x="3" y="3"/>
                  </a:lnTo>
                  <a:lnTo>
                    <a:pt x="4"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2" name="Freeform 845"/>
            <p:cNvSpPr/>
            <p:nvPr/>
          </p:nvSpPr>
          <p:spPr bwMode="auto">
            <a:xfrm>
              <a:off x="3183964" y="1742618"/>
              <a:ext cx="135158" cy="30720"/>
            </a:xfrm>
            <a:custGeom>
              <a:avLst/>
              <a:gdLst>
                <a:gd name="T0" fmla="*/ 7 w 44"/>
                <a:gd name="T1" fmla="*/ 6 h 10"/>
                <a:gd name="T2" fmla="*/ 7 w 44"/>
                <a:gd name="T3" fmla="*/ 6 h 10"/>
                <a:gd name="T4" fmla="*/ 0 w 44"/>
                <a:gd name="T5" fmla="*/ 7 h 10"/>
                <a:gd name="T6" fmla="*/ 0 w 44"/>
                <a:gd name="T7" fmla="*/ 7 h 10"/>
                <a:gd name="T8" fmla="*/ 23 w 44"/>
                <a:gd name="T9" fmla="*/ 3 h 10"/>
                <a:gd name="T10" fmla="*/ 23 w 44"/>
                <a:gd name="T11" fmla="*/ 3 h 10"/>
                <a:gd name="T12" fmla="*/ 44 w 44"/>
                <a:gd name="T13" fmla="*/ 0 h 10"/>
                <a:gd name="T14" fmla="*/ 44 w 44"/>
                <a:gd name="T15" fmla="*/ 0 h 10"/>
                <a:gd name="T16" fmla="*/ 42 w 44"/>
                <a:gd name="T17" fmla="*/ 1 h 10"/>
                <a:gd name="T18" fmla="*/ 39 w 44"/>
                <a:gd name="T19" fmla="*/ 1 h 10"/>
                <a:gd name="T20" fmla="*/ 36 w 44"/>
                <a:gd name="T21" fmla="*/ 1 h 10"/>
                <a:gd name="T22" fmla="*/ 32 w 44"/>
                <a:gd name="T23" fmla="*/ 3 h 10"/>
                <a:gd name="T24" fmla="*/ 32 w 44"/>
                <a:gd name="T25" fmla="*/ 3 h 10"/>
                <a:gd name="T26" fmla="*/ 36 w 44"/>
                <a:gd name="T27" fmla="*/ 3 h 10"/>
                <a:gd name="T28" fmla="*/ 36 w 44"/>
                <a:gd name="T29" fmla="*/ 3 h 10"/>
                <a:gd name="T30" fmla="*/ 36 w 44"/>
                <a:gd name="T31" fmla="*/ 4 h 10"/>
                <a:gd name="T32" fmla="*/ 36 w 44"/>
                <a:gd name="T33" fmla="*/ 4 h 10"/>
                <a:gd name="T34" fmla="*/ 32 w 44"/>
                <a:gd name="T35" fmla="*/ 4 h 10"/>
                <a:gd name="T36" fmla="*/ 27 w 44"/>
                <a:gd name="T37" fmla="*/ 3 h 10"/>
                <a:gd name="T38" fmla="*/ 27 w 44"/>
                <a:gd name="T39" fmla="*/ 3 h 10"/>
                <a:gd name="T40" fmla="*/ 22 w 44"/>
                <a:gd name="T41" fmla="*/ 4 h 10"/>
                <a:gd name="T42" fmla="*/ 22 w 44"/>
                <a:gd name="T43" fmla="*/ 4 h 10"/>
                <a:gd name="T44" fmla="*/ 17 w 44"/>
                <a:gd name="T45" fmla="*/ 4 h 10"/>
                <a:gd name="T46" fmla="*/ 15 w 44"/>
                <a:gd name="T47" fmla="*/ 6 h 10"/>
                <a:gd name="T48" fmla="*/ 15 w 44"/>
                <a:gd name="T49" fmla="*/ 6 h 10"/>
                <a:gd name="T50" fmla="*/ 19 w 44"/>
                <a:gd name="T51" fmla="*/ 6 h 10"/>
                <a:gd name="T52" fmla="*/ 23 w 44"/>
                <a:gd name="T53" fmla="*/ 6 h 10"/>
                <a:gd name="T54" fmla="*/ 23 w 44"/>
                <a:gd name="T55" fmla="*/ 6 h 10"/>
                <a:gd name="T56" fmla="*/ 20 w 44"/>
                <a:gd name="T57" fmla="*/ 7 h 10"/>
                <a:gd name="T58" fmla="*/ 16 w 44"/>
                <a:gd name="T59" fmla="*/ 9 h 10"/>
                <a:gd name="T60" fmla="*/ 16 w 44"/>
                <a:gd name="T61" fmla="*/ 9 h 10"/>
                <a:gd name="T62" fmla="*/ 15 w 44"/>
                <a:gd name="T63" fmla="*/ 7 h 10"/>
                <a:gd name="T64" fmla="*/ 15 w 44"/>
                <a:gd name="T65" fmla="*/ 7 h 10"/>
                <a:gd name="T66" fmla="*/ 15 w 44"/>
                <a:gd name="T67" fmla="*/ 7 h 10"/>
                <a:gd name="T68" fmla="*/ 12 w 44"/>
                <a:gd name="T69" fmla="*/ 7 h 10"/>
                <a:gd name="T70" fmla="*/ 12 w 44"/>
                <a:gd name="T71" fmla="*/ 7 h 10"/>
                <a:gd name="T72" fmla="*/ 12 w 44"/>
                <a:gd name="T73" fmla="*/ 7 h 10"/>
                <a:gd name="T74" fmla="*/ 12 w 44"/>
                <a:gd name="T75" fmla="*/ 9 h 10"/>
                <a:gd name="T76" fmla="*/ 13 w 44"/>
                <a:gd name="T77" fmla="*/ 9 h 10"/>
                <a:gd name="T78" fmla="*/ 12 w 44"/>
                <a:gd name="T79" fmla="*/ 10 h 10"/>
                <a:gd name="T80" fmla="*/ 12 w 44"/>
                <a:gd name="T81" fmla="*/ 10 h 10"/>
                <a:gd name="T82" fmla="*/ 5 w 44"/>
                <a:gd name="T83" fmla="*/ 10 h 10"/>
                <a:gd name="T84" fmla="*/ 5 w 44"/>
                <a:gd name="T85" fmla="*/ 10 h 10"/>
                <a:gd name="T86" fmla="*/ 7 w 44"/>
                <a:gd name="T87" fmla="*/ 9 h 10"/>
                <a:gd name="T88" fmla="*/ 9 w 44"/>
                <a:gd name="T89" fmla="*/ 7 h 10"/>
                <a:gd name="T90" fmla="*/ 7 w 44"/>
                <a:gd name="T9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
                  <a:moveTo>
                    <a:pt x="7" y="6"/>
                  </a:moveTo>
                  <a:lnTo>
                    <a:pt x="7" y="6"/>
                  </a:lnTo>
                  <a:lnTo>
                    <a:pt x="0" y="7"/>
                  </a:lnTo>
                  <a:lnTo>
                    <a:pt x="0" y="7"/>
                  </a:lnTo>
                  <a:lnTo>
                    <a:pt x="23" y="3"/>
                  </a:lnTo>
                  <a:lnTo>
                    <a:pt x="23" y="3"/>
                  </a:lnTo>
                  <a:lnTo>
                    <a:pt x="44" y="0"/>
                  </a:lnTo>
                  <a:lnTo>
                    <a:pt x="44" y="0"/>
                  </a:lnTo>
                  <a:lnTo>
                    <a:pt x="42" y="1"/>
                  </a:lnTo>
                  <a:lnTo>
                    <a:pt x="39" y="1"/>
                  </a:lnTo>
                  <a:lnTo>
                    <a:pt x="36" y="1"/>
                  </a:lnTo>
                  <a:lnTo>
                    <a:pt x="32" y="3"/>
                  </a:lnTo>
                  <a:lnTo>
                    <a:pt x="32" y="3"/>
                  </a:lnTo>
                  <a:lnTo>
                    <a:pt x="36" y="3"/>
                  </a:lnTo>
                  <a:lnTo>
                    <a:pt x="36" y="3"/>
                  </a:lnTo>
                  <a:lnTo>
                    <a:pt x="36" y="4"/>
                  </a:lnTo>
                  <a:lnTo>
                    <a:pt x="36" y="4"/>
                  </a:lnTo>
                  <a:lnTo>
                    <a:pt x="32" y="4"/>
                  </a:lnTo>
                  <a:lnTo>
                    <a:pt x="27" y="3"/>
                  </a:lnTo>
                  <a:lnTo>
                    <a:pt x="27" y="3"/>
                  </a:lnTo>
                  <a:lnTo>
                    <a:pt x="22" y="4"/>
                  </a:lnTo>
                  <a:lnTo>
                    <a:pt x="22" y="4"/>
                  </a:lnTo>
                  <a:lnTo>
                    <a:pt x="17" y="4"/>
                  </a:lnTo>
                  <a:lnTo>
                    <a:pt x="15" y="6"/>
                  </a:lnTo>
                  <a:lnTo>
                    <a:pt x="15" y="6"/>
                  </a:lnTo>
                  <a:lnTo>
                    <a:pt x="19" y="6"/>
                  </a:lnTo>
                  <a:lnTo>
                    <a:pt x="23" y="6"/>
                  </a:lnTo>
                  <a:lnTo>
                    <a:pt x="23" y="6"/>
                  </a:lnTo>
                  <a:lnTo>
                    <a:pt x="20" y="7"/>
                  </a:lnTo>
                  <a:lnTo>
                    <a:pt x="16" y="9"/>
                  </a:lnTo>
                  <a:lnTo>
                    <a:pt x="16" y="9"/>
                  </a:lnTo>
                  <a:lnTo>
                    <a:pt x="15" y="7"/>
                  </a:lnTo>
                  <a:lnTo>
                    <a:pt x="15" y="7"/>
                  </a:lnTo>
                  <a:lnTo>
                    <a:pt x="15" y="7"/>
                  </a:lnTo>
                  <a:lnTo>
                    <a:pt x="12" y="7"/>
                  </a:lnTo>
                  <a:lnTo>
                    <a:pt x="12" y="7"/>
                  </a:lnTo>
                  <a:lnTo>
                    <a:pt x="12" y="7"/>
                  </a:lnTo>
                  <a:lnTo>
                    <a:pt x="12" y="9"/>
                  </a:lnTo>
                  <a:lnTo>
                    <a:pt x="13" y="9"/>
                  </a:lnTo>
                  <a:lnTo>
                    <a:pt x="12" y="10"/>
                  </a:lnTo>
                  <a:lnTo>
                    <a:pt x="12" y="10"/>
                  </a:lnTo>
                  <a:lnTo>
                    <a:pt x="5" y="10"/>
                  </a:lnTo>
                  <a:lnTo>
                    <a:pt x="5" y="10"/>
                  </a:lnTo>
                  <a:lnTo>
                    <a:pt x="7" y="9"/>
                  </a:lnTo>
                  <a:lnTo>
                    <a:pt x="9" y="7"/>
                  </a:lnTo>
                  <a:lnTo>
                    <a:pt x="7"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3" name="Freeform 846"/>
            <p:cNvSpPr/>
            <p:nvPr/>
          </p:nvSpPr>
          <p:spPr bwMode="auto">
            <a:xfrm>
              <a:off x="2809208" y="1742618"/>
              <a:ext cx="55294" cy="30720"/>
            </a:xfrm>
            <a:custGeom>
              <a:avLst/>
              <a:gdLst>
                <a:gd name="T0" fmla="*/ 2 w 18"/>
                <a:gd name="T1" fmla="*/ 4 h 9"/>
                <a:gd name="T2" fmla="*/ 2 w 18"/>
                <a:gd name="T3" fmla="*/ 4 h 9"/>
                <a:gd name="T4" fmla="*/ 7 w 18"/>
                <a:gd name="T5" fmla="*/ 4 h 9"/>
                <a:gd name="T6" fmla="*/ 11 w 18"/>
                <a:gd name="T7" fmla="*/ 3 h 9"/>
                <a:gd name="T8" fmla="*/ 18 w 18"/>
                <a:gd name="T9" fmla="*/ 0 h 9"/>
                <a:gd name="T10" fmla="*/ 18 w 18"/>
                <a:gd name="T11" fmla="*/ 0 h 9"/>
                <a:gd name="T12" fmla="*/ 17 w 18"/>
                <a:gd name="T13" fmla="*/ 1 h 9"/>
                <a:gd name="T14" fmla="*/ 17 w 18"/>
                <a:gd name="T15" fmla="*/ 3 h 9"/>
                <a:gd name="T16" fmla="*/ 17 w 18"/>
                <a:gd name="T17" fmla="*/ 3 h 9"/>
                <a:gd name="T18" fmla="*/ 14 w 18"/>
                <a:gd name="T19" fmla="*/ 4 h 9"/>
                <a:gd name="T20" fmla="*/ 14 w 18"/>
                <a:gd name="T21" fmla="*/ 4 h 9"/>
                <a:gd name="T22" fmla="*/ 11 w 18"/>
                <a:gd name="T23" fmla="*/ 6 h 9"/>
                <a:gd name="T24" fmla="*/ 11 w 18"/>
                <a:gd name="T25" fmla="*/ 4 h 9"/>
                <a:gd name="T26" fmla="*/ 11 w 18"/>
                <a:gd name="T27" fmla="*/ 4 h 9"/>
                <a:gd name="T28" fmla="*/ 11 w 18"/>
                <a:gd name="T29" fmla="*/ 3 h 9"/>
                <a:gd name="T30" fmla="*/ 11 w 18"/>
                <a:gd name="T31" fmla="*/ 3 h 9"/>
                <a:gd name="T32" fmla="*/ 7 w 18"/>
                <a:gd name="T33" fmla="*/ 6 h 9"/>
                <a:gd name="T34" fmla="*/ 1 w 18"/>
                <a:gd name="T35" fmla="*/ 7 h 9"/>
                <a:gd name="T36" fmla="*/ 1 w 18"/>
                <a:gd name="T37" fmla="*/ 7 h 9"/>
                <a:gd name="T38" fmla="*/ 0 w 18"/>
                <a:gd name="T39" fmla="*/ 9 h 9"/>
                <a:gd name="T40" fmla="*/ 0 w 18"/>
                <a:gd name="T41" fmla="*/ 7 h 9"/>
                <a:gd name="T42" fmla="*/ 2 w 18"/>
                <a:gd name="T4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9">
                  <a:moveTo>
                    <a:pt x="2" y="4"/>
                  </a:moveTo>
                  <a:lnTo>
                    <a:pt x="2" y="4"/>
                  </a:lnTo>
                  <a:lnTo>
                    <a:pt x="7" y="4"/>
                  </a:lnTo>
                  <a:lnTo>
                    <a:pt x="11" y="3"/>
                  </a:lnTo>
                  <a:lnTo>
                    <a:pt x="18" y="0"/>
                  </a:lnTo>
                  <a:lnTo>
                    <a:pt x="18" y="0"/>
                  </a:lnTo>
                  <a:lnTo>
                    <a:pt x="17" y="1"/>
                  </a:lnTo>
                  <a:lnTo>
                    <a:pt x="17" y="3"/>
                  </a:lnTo>
                  <a:lnTo>
                    <a:pt x="17" y="3"/>
                  </a:lnTo>
                  <a:lnTo>
                    <a:pt x="14" y="4"/>
                  </a:lnTo>
                  <a:lnTo>
                    <a:pt x="14" y="4"/>
                  </a:lnTo>
                  <a:lnTo>
                    <a:pt x="11" y="6"/>
                  </a:lnTo>
                  <a:lnTo>
                    <a:pt x="11" y="4"/>
                  </a:lnTo>
                  <a:lnTo>
                    <a:pt x="11" y="4"/>
                  </a:lnTo>
                  <a:lnTo>
                    <a:pt x="11" y="3"/>
                  </a:lnTo>
                  <a:lnTo>
                    <a:pt x="11" y="3"/>
                  </a:lnTo>
                  <a:lnTo>
                    <a:pt x="7" y="6"/>
                  </a:lnTo>
                  <a:lnTo>
                    <a:pt x="1" y="7"/>
                  </a:lnTo>
                  <a:lnTo>
                    <a:pt x="1" y="7"/>
                  </a:lnTo>
                  <a:lnTo>
                    <a:pt x="0" y="9"/>
                  </a:lnTo>
                  <a:lnTo>
                    <a:pt x="0" y="7"/>
                  </a:lnTo>
                  <a:lnTo>
                    <a:pt x="2"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4" name="Freeform 847"/>
            <p:cNvSpPr/>
            <p:nvPr/>
          </p:nvSpPr>
          <p:spPr bwMode="auto">
            <a:xfrm>
              <a:off x="2661764" y="1773332"/>
              <a:ext cx="30720" cy="18433"/>
            </a:xfrm>
            <a:custGeom>
              <a:avLst/>
              <a:gdLst>
                <a:gd name="T0" fmla="*/ 9 w 9"/>
                <a:gd name="T1" fmla="*/ 0 h 5"/>
                <a:gd name="T2" fmla="*/ 9 w 9"/>
                <a:gd name="T3" fmla="*/ 0 h 5"/>
                <a:gd name="T4" fmla="*/ 4 w 9"/>
                <a:gd name="T5" fmla="*/ 4 h 5"/>
                <a:gd name="T6" fmla="*/ 0 w 9"/>
                <a:gd name="T7" fmla="*/ 5 h 5"/>
                <a:gd name="T8" fmla="*/ 0 w 9"/>
                <a:gd name="T9" fmla="*/ 5 h 5"/>
                <a:gd name="T10" fmla="*/ 4 w 9"/>
                <a:gd name="T11" fmla="*/ 2 h 5"/>
                <a:gd name="T12" fmla="*/ 9 w 9"/>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9" y="0"/>
                  </a:moveTo>
                  <a:lnTo>
                    <a:pt x="9" y="0"/>
                  </a:lnTo>
                  <a:lnTo>
                    <a:pt x="4" y="4"/>
                  </a:lnTo>
                  <a:lnTo>
                    <a:pt x="0" y="5"/>
                  </a:lnTo>
                  <a:lnTo>
                    <a:pt x="0" y="5"/>
                  </a:lnTo>
                  <a:lnTo>
                    <a:pt x="4" y="2"/>
                  </a:lnTo>
                  <a:lnTo>
                    <a:pt x="9"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5" name="Freeform 848"/>
            <p:cNvSpPr/>
            <p:nvPr/>
          </p:nvSpPr>
          <p:spPr bwMode="auto">
            <a:xfrm>
              <a:off x="2932079" y="1748759"/>
              <a:ext cx="18433" cy="12287"/>
            </a:xfrm>
            <a:custGeom>
              <a:avLst/>
              <a:gdLst>
                <a:gd name="T0" fmla="*/ 7 w 7"/>
                <a:gd name="T1" fmla="*/ 0 h 3"/>
                <a:gd name="T2" fmla="*/ 7 w 7"/>
                <a:gd name="T3" fmla="*/ 0 h 3"/>
                <a:gd name="T4" fmla="*/ 2 w 7"/>
                <a:gd name="T5" fmla="*/ 3 h 3"/>
                <a:gd name="T6" fmla="*/ 2 w 7"/>
                <a:gd name="T7" fmla="*/ 3 h 3"/>
                <a:gd name="T8" fmla="*/ 0 w 7"/>
                <a:gd name="T9" fmla="*/ 3 h 3"/>
                <a:gd name="T10" fmla="*/ 0 w 7"/>
                <a:gd name="T11" fmla="*/ 3 h 3"/>
                <a:gd name="T12" fmla="*/ 2 w 7"/>
                <a:gd name="T13" fmla="*/ 2 h 3"/>
                <a:gd name="T14" fmla="*/ 7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7" y="0"/>
                  </a:moveTo>
                  <a:lnTo>
                    <a:pt x="7" y="0"/>
                  </a:lnTo>
                  <a:lnTo>
                    <a:pt x="2" y="3"/>
                  </a:lnTo>
                  <a:lnTo>
                    <a:pt x="2" y="3"/>
                  </a:lnTo>
                  <a:lnTo>
                    <a:pt x="0" y="3"/>
                  </a:lnTo>
                  <a:lnTo>
                    <a:pt x="0" y="3"/>
                  </a:lnTo>
                  <a:lnTo>
                    <a:pt x="2" y="2"/>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6" name="Freeform 849"/>
            <p:cNvSpPr/>
            <p:nvPr/>
          </p:nvSpPr>
          <p:spPr bwMode="auto">
            <a:xfrm>
              <a:off x="2876789" y="1675037"/>
              <a:ext cx="208880" cy="79868"/>
            </a:xfrm>
            <a:custGeom>
              <a:avLst/>
              <a:gdLst>
                <a:gd name="T0" fmla="*/ 56 w 69"/>
                <a:gd name="T1" fmla="*/ 7 h 26"/>
                <a:gd name="T2" fmla="*/ 56 w 69"/>
                <a:gd name="T3" fmla="*/ 7 h 26"/>
                <a:gd name="T4" fmla="*/ 62 w 69"/>
                <a:gd name="T5" fmla="*/ 6 h 26"/>
                <a:gd name="T6" fmla="*/ 62 w 69"/>
                <a:gd name="T7" fmla="*/ 6 h 26"/>
                <a:gd name="T8" fmla="*/ 56 w 69"/>
                <a:gd name="T9" fmla="*/ 7 h 26"/>
                <a:gd name="T10" fmla="*/ 52 w 69"/>
                <a:gd name="T11" fmla="*/ 9 h 26"/>
                <a:gd name="T12" fmla="*/ 45 w 69"/>
                <a:gd name="T13" fmla="*/ 7 h 26"/>
                <a:gd name="T14" fmla="*/ 45 w 69"/>
                <a:gd name="T15" fmla="*/ 7 h 26"/>
                <a:gd name="T16" fmla="*/ 39 w 69"/>
                <a:gd name="T17" fmla="*/ 10 h 26"/>
                <a:gd name="T18" fmla="*/ 39 w 69"/>
                <a:gd name="T19" fmla="*/ 10 h 26"/>
                <a:gd name="T20" fmla="*/ 33 w 69"/>
                <a:gd name="T21" fmla="*/ 12 h 26"/>
                <a:gd name="T22" fmla="*/ 33 w 69"/>
                <a:gd name="T23" fmla="*/ 12 h 26"/>
                <a:gd name="T24" fmla="*/ 26 w 69"/>
                <a:gd name="T25" fmla="*/ 13 h 26"/>
                <a:gd name="T26" fmla="*/ 26 w 69"/>
                <a:gd name="T27" fmla="*/ 13 h 26"/>
                <a:gd name="T28" fmla="*/ 15 w 69"/>
                <a:gd name="T29" fmla="*/ 17 h 26"/>
                <a:gd name="T30" fmla="*/ 15 w 69"/>
                <a:gd name="T31" fmla="*/ 17 h 26"/>
                <a:gd name="T32" fmla="*/ 12 w 69"/>
                <a:gd name="T33" fmla="*/ 20 h 26"/>
                <a:gd name="T34" fmla="*/ 9 w 69"/>
                <a:gd name="T35" fmla="*/ 23 h 26"/>
                <a:gd name="T36" fmla="*/ 9 w 69"/>
                <a:gd name="T37" fmla="*/ 23 h 26"/>
                <a:gd name="T38" fmla="*/ 8 w 69"/>
                <a:gd name="T39" fmla="*/ 23 h 26"/>
                <a:gd name="T40" fmla="*/ 6 w 69"/>
                <a:gd name="T41" fmla="*/ 23 h 26"/>
                <a:gd name="T42" fmla="*/ 3 w 69"/>
                <a:gd name="T43" fmla="*/ 24 h 26"/>
                <a:gd name="T44" fmla="*/ 0 w 69"/>
                <a:gd name="T45" fmla="*/ 26 h 26"/>
                <a:gd name="T46" fmla="*/ 0 w 69"/>
                <a:gd name="T47" fmla="*/ 26 h 26"/>
                <a:gd name="T48" fmla="*/ 9 w 69"/>
                <a:gd name="T49" fmla="*/ 20 h 26"/>
                <a:gd name="T50" fmla="*/ 15 w 69"/>
                <a:gd name="T51" fmla="*/ 16 h 26"/>
                <a:gd name="T52" fmla="*/ 15 w 69"/>
                <a:gd name="T53" fmla="*/ 16 h 26"/>
                <a:gd name="T54" fmla="*/ 22 w 69"/>
                <a:gd name="T55" fmla="*/ 14 h 26"/>
                <a:gd name="T56" fmla="*/ 29 w 69"/>
                <a:gd name="T57" fmla="*/ 12 h 26"/>
                <a:gd name="T58" fmla="*/ 43 w 69"/>
                <a:gd name="T59" fmla="*/ 6 h 26"/>
                <a:gd name="T60" fmla="*/ 43 w 69"/>
                <a:gd name="T61" fmla="*/ 6 h 26"/>
                <a:gd name="T62" fmla="*/ 40 w 69"/>
                <a:gd name="T63" fmla="*/ 7 h 26"/>
                <a:gd name="T64" fmla="*/ 39 w 69"/>
                <a:gd name="T65" fmla="*/ 9 h 26"/>
                <a:gd name="T66" fmla="*/ 39 w 69"/>
                <a:gd name="T67" fmla="*/ 9 h 26"/>
                <a:gd name="T68" fmla="*/ 39 w 69"/>
                <a:gd name="T69" fmla="*/ 9 h 26"/>
                <a:gd name="T70" fmla="*/ 50 w 69"/>
                <a:gd name="T71" fmla="*/ 4 h 26"/>
                <a:gd name="T72" fmla="*/ 50 w 69"/>
                <a:gd name="T73" fmla="*/ 4 h 26"/>
                <a:gd name="T74" fmla="*/ 47 w 69"/>
                <a:gd name="T75" fmla="*/ 4 h 26"/>
                <a:gd name="T76" fmla="*/ 47 w 69"/>
                <a:gd name="T77" fmla="*/ 4 h 26"/>
                <a:gd name="T78" fmla="*/ 47 w 69"/>
                <a:gd name="T79" fmla="*/ 4 h 26"/>
                <a:gd name="T80" fmla="*/ 47 w 69"/>
                <a:gd name="T81" fmla="*/ 4 h 26"/>
                <a:gd name="T82" fmla="*/ 56 w 69"/>
                <a:gd name="T83" fmla="*/ 2 h 26"/>
                <a:gd name="T84" fmla="*/ 60 w 69"/>
                <a:gd name="T85" fmla="*/ 0 h 26"/>
                <a:gd name="T86" fmla="*/ 62 w 69"/>
                <a:gd name="T87" fmla="*/ 0 h 26"/>
                <a:gd name="T88" fmla="*/ 62 w 69"/>
                <a:gd name="T89" fmla="*/ 0 h 26"/>
                <a:gd name="T90" fmla="*/ 57 w 69"/>
                <a:gd name="T91" fmla="*/ 2 h 26"/>
                <a:gd name="T92" fmla="*/ 53 w 69"/>
                <a:gd name="T93" fmla="*/ 4 h 26"/>
                <a:gd name="T94" fmla="*/ 52 w 69"/>
                <a:gd name="T95" fmla="*/ 6 h 26"/>
                <a:gd name="T96" fmla="*/ 53 w 69"/>
                <a:gd name="T97" fmla="*/ 6 h 26"/>
                <a:gd name="T98" fmla="*/ 53 w 69"/>
                <a:gd name="T99" fmla="*/ 6 h 26"/>
                <a:gd name="T100" fmla="*/ 56 w 69"/>
                <a:gd name="T101" fmla="*/ 4 h 26"/>
                <a:gd name="T102" fmla="*/ 60 w 69"/>
                <a:gd name="T103" fmla="*/ 3 h 26"/>
                <a:gd name="T104" fmla="*/ 60 w 69"/>
                <a:gd name="T105" fmla="*/ 3 h 26"/>
                <a:gd name="T106" fmla="*/ 69 w 69"/>
                <a:gd name="T107" fmla="*/ 3 h 26"/>
                <a:gd name="T108" fmla="*/ 69 w 69"/>
                <a:gd name="T109" fmla="*/ 3 h 26"/>
                <a:gd name="T110" fmla="*/ 59 w 69"/>
                <a:gd name="T111" fmla="*/ 4 h 26"/>
                <a:gd name="T112" fmla="*/ 56 w 69"/>
                <a:gd name="T113" fmla="*/ 6 h 26"/>
                <a:gd name="T114" fmla="*/ 55 w 69"/>
                <a:gd name="T115" fmla="*/ 7 h 26"/>
                <a:gd name="T116" fmla="*/ 56 w 69"/>
                <a:gd name="T11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 h="26">
                  <a:moveTo>
                    <a:pt x="56" y="7"/>
                  </a:moveTo>
                  <a:lnTo>
                    <a:pt x="56" y="7"/>
                  </a:lnTo>
                  <a:lnTo>
                    <a:pt x="62" y="6"/>
                  </a:lnTo>
                  <a:lnTo>
                    <a:pt x="62" y="6"/>
                  </a:lnTo>
                  <a:lnTo>
                    <a:pt x="56" y="7"/>
                  </a:lnTo>
                  <a:lnTo>
                    <a:pt x="52" y="9"/>
                  </a:lnTo>
                  <a:lnTo>
                    <a:pt x="45" y="7"/>
                  </a:lnTo>
                  <a:lnTo>
                    <a:pt x="45" y="7"/>
                  </a:lnTo>
                  <a:lnTo>
                    <a:pt x="39" y="10"/>
                  </a:lnTo>
                  <a:lnTo>
                    <a:pt x="39" y="10"/>
                  </a:lnTo>
                  <a:lnTo>
                    <a:pt x="33" y="12"/>
                  </a:lnTo>
                  <a:lnTo>
                    <a:pt x="33" y="12"/>
                  </a:lnTo>
                  <a:lnTo>
                    <a:pt x="26" y="13"/>
                  </a:lnTo>
                  <a:lnTo>
                    <a:pt x="26" y="13"/>
                  </a:lnTo>
                  <a:lnTo>
                    <a:pt x="15" y="17"/>
                  </a:lnTo>
                  <a:lnTo>
                    <a:pt x="15" y="17"/>
                  </a:lnTo>
                  <a:lnTo>
                    <a:pt x="12" y="20"/>
                  </a:lnTo>
                  <a:lnTo>
                    <a:pt x="9" y="23"/>
                  </a:lnTo>
                  <a:lnTo>
                    <a:pt x="9" y="23"/>
                  </a:lnTo>
                  <a:lnTo>
                    <a:pt x="8" y="23"/>
                  </a:lnTo>
                  <a:lnTo>
                    <a:pt x="6" y="23"/>
                  </a:lnTo>
                  <a:lnTo>
                    <a:pt x="3" y="24"/>
                  </a:lnTo>
                  <a:lnTo>
                    <a:pt x="0" y="26"/>
                  </a:lnTo>
                  <a:lnTo>
                    <a:pt x="0" y="26"/>
                  </a:lnTo>
                  <a:lnTo>
                    <a:pt x="9" y="20"/>
                  </a:lnTo>
                  <a:lnTo>
                    <a:pt x="15" y="16"/>
                  </a:lnTo>
                  <a:lnTo>
                    <a:pt x="15" y="16"/>
                  </a:lnTo>
                  <a:lnTo>
                    <a:pt x="22" y="14"/>
                  </a:lnTo>
                  <a:lnTo>
                    <a:pt x="29" y="12"/>
                  </a:lnTo>
                  <a:lnTo>
                    <a:pt x="43" y="6"/>
                  </a:lnTo>
                  <a:lnTo>
                    <a:pt x="43" y="6"/>
                  </a:lnTo>
                  <a:lnTo>
                    <a:pt x="40" y="7"/>
                  </a:lnTo>
                  <a:lnTo>
                    <a:pt x="39" y="9"/>
                  </a:lnTo>
                  <a:lnTo>
                    <a:pt x="39" y="9"/>
                  </a:lnTo>
                  <a:lnTo>
                    <a:pt x="39" y="9"/>
                  </a:lnTo>
                  <a:lnTo>
                    <a:pt x="50" y="4"/>
                  </a:lnTo>
                  <a:lnTo>
                    <a:pt x="50" y="4"/>
                  </a:lnTo>
                  <a:lnTo>
                    <a:pt x="47" y="4"/>
                  </a:lnTo>
                  <a:lnTo>
                    <a:pt x="47" y="4"/>
                  </a:lnTo>
                  <a:lnTo>
                    <a:pt x="47" y="4"/>
                  </a:lnTo>
                  <a:lnTo>
                    <a:pt x="47" y="4"/>
                  </a:lnTo>
                  <a:lnTo>
                    <a:pt x="56" y="2"/>
                  </a:lnTo>
                  <a:lnTo>
                    <a:pt x="60" y="0"/>
                  </a:lnTo>
                  <a:lnTo>
                    <a:pt x="62" y="0"/>
                  </a:lnTo>
                  <a:lnTo>
                    <a:pt x="62" y="0"/>
                  </a:lnTo>
                  <a:lnTo>
                    <a:pt x="57" y="2"/>
                  </a:lnTo>
                  <a:lnTo>
                    <a:pt x="53" y="4"/>
                  </a:lnTo>
                  <a:lnTo>
                    <a:pt x="52" y="6"/>
                  </a:lnTo>
                  <a:lnTo>
                    <a:pt x="53" y="6"/>
                  </a:lnTo>
                  <a:lnTo>
                    <a:pt x="53" y="6"/>
                  </a:lnTo>
                  <a:lnTo>
                    <a:pt x="56" y="4"/>
                  </a:lnTo>
                  <a:lnTo>
                    <a:pt x="60" y="3"/>
                  </a:lnTo>
                  <a:lnTo>
                    <a:pt x="60" y="3"/>
                  </a:lnTo>
                  <a:lnTo>
                    <a:pt x="69" y="3"/>
                  </a:lnTo>
                  <a:lnTo>
                    <a:pt x="69" y="3"/>
                  </a:lnTo>
                  <a:lnTo>
                    <a:pt x="59" y="4"/>
                  </a:lnTo>
                  <a:lnTo>
                    <a:pt x="56" y="6"/>
                  </a:lnTo>
                  <a:lnTo>
                    <a:pt x="55" y="7"/>
                  </a:lnTo>
                  <a:lnTo>
                    <a:pt x="56"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7" name="Freeform 850"/>
            <p:cNvSpPr/>
            <p:nvPr/>
          </p:nvSpPr>
          <p:spPr bwMode="auto">
            <a:xfrm>
              <a:off x="3061094" y="1668895"/>
              <a:ext cx="43007" cy="18433"/>
            </a:xfrm>
            <a:custGeom>
              <a:avLst/>
              <a:gdLst>
                <a:gd name="T0" fmla="*/ 0 w 13"/>
                <a:gd name="T1" fmla="*/ 4 h 4"/>
                <a:gd name="T2" fmla="*/ 0 w 13"/>
                <a:gd name="T3" fmla="*/ 4 h 4"/>
                <a:gd name="T4" fmla="*/ 2 w 13"/>
                <a:gd name="T5" fmla="*/ 3 h 4"/>
                <a:gd name="T6" fmla="*/ 2 w 13"/>
                <a:gd name="T7" fmla="*/ 3 h 4"/>
                <a:gd name="T8" fmla="*/ 7 w 13"/>
                <a:gd name="T9" fmla="*/ 0 h 4"/>
                <a:gd name="T10" fmla="*/ 7 w 13"/>
                <a:gd name="T11" fmla="*/ 0 h 4"/>
                <a:gd name="T12" fmla="*/ 7 w 13"/>
                <a:gd name="T13" fmla="*/ 1 h 4"/>
                <a:gd name="T14" fmla="*/ 9 w 13"/>
                <a:gd name="T15" fmla="*/ 1 h 4"/>
                <a:gd name="T16" fmla="*/ 13 w 13"/>
                <a:gd name="T17" fmla="*/ 0 h 4"/>
                <a:gd name="T18" fmla="*/ 13 w 13"/>
                <a:gd name="T19" fmla="*/ 0 h 4"/>
                <a:gd name="T20" fmla="*/ 7 w 13"/>
                <a:gd name="T21" fmla="*/ 3 h 4"/>
                <a:gd name="T22" fmla="*/ 7 w 13"/>
                <a:gd name="T23" fmla="*/ 3 h 4"/>
                <a:gd name="T24" fmla="*/ 0 w 13"/>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4">
                  <a:moveTo>
                    <a:pt x="0" y="4"/>
                  </a:moveTo>
                  <a:lnTo>
                    <a:pt x="0" y="4"/>
                  </a:lnTo>
                  <a:lnTo>
                    <a:pt x="2" y="3"/>
                  </a:lnTo>
                  <a:lnTo>
                    <a:pt x="2" y="3"/>
                  </a:lnTo>
                  <a:lnTo>
                    <a:pt x="7" y="0"/>
                  </a:lnTo>
                  <a:lnTo>
                    <a:pt x="7" y="0"/>
                  </a:lnTo>
                  <a:lnTo>
                    <a:pt x="7" y="1"/>
                  </a:lnTo>
                  <a:lnTo>
                    <a:pt x="9" y="1"/>
                  </a:lnTo>
                  <a:lnTo>
                    <a:pt x="13" y="0"/>
                  </a:lnTo>
                  <a:lnTo>
                    <a:pt x="13" y="0"/>
                  </a:lnTo>
                  <a:lnTo>
                    <a:pt x="7" y="3"/>
                  </a:lnTo>
                  <a:lnTo>
                    <a:pt x="7" y="3"/>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8" name="Freeform 851"/>
            <p:cNvSpPr/>
            <p:nvPr/>
          </p:nvSpPr>
          <p:spPr bwMode="auto">
            <a:xfrm>
              <a:off x="2692483" y="1748759"/>
              <a:ext cx="49148" cy="24574"/>
            </a:xfrm>
            <a:custGeom>
              <a:avLst/>
              <a:gdLst>
                <a:gd name="T0" fmla="*/ 0 w 16"/>
                <a:gd name="T1" fmla="*/ 8 h 8"/>
                <a:gd name="T2" fmla="*/ 0 w 16"/>
                <a:gd name="T3" fmla="*/ 8 h 8"/>
                <a:gd name="T4" fmla="*/ 3 w 16"/>
                <a:gd name="T5" fmla="*/ 6 h 8"/>
                <a:gd name="T6" fmla="*/ 3 w 16"/>
                <a:gd name="T7" fmla="*/ 6 h 8"/>
                <a:gd name="T8" fmla="*/ 8 w 16"/>
                <a:gd name="T9" fmla="*/ 3 h 8"/>
                <a:gd name="T10" fmla="*/ 8 w 16"/>
                <a:gd name="T11" fmla="*/ 3 h 8"/>
                <a:gd name="T12" fmla="*/ 16 w 16"/>
                <a:gd name="T13" fmla="*/ 0 h 8"/>
                <a:gd name="T14" fmla="*/ 16 w 16"/>
                <a:gd name="T15" fmla="*/ 0 h 8"/>
                <a:gd name="T16" fmla="*/ 6 w 16"/>
                <a:gd name="T17" fmla="*/ 6 h 8"/>
                <a:gd name="T18" fmla="*/ 6 w 16"/>
                <a:gd name="T19" fmla="*/ 6 h 8"/>
                <a:gd name="T20" fmla="*/ 3 w 16"/>
                <a:gd name="T21" fmla="*/ 8 h 8"/>
                <a:gd name="T22" fmla="*/ 0 w 16"/>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8">
                  <a:moveTo>
                    <a:pt x="0" y="8"/>
                  </a:moveTo>
                  <a:lnTo>
                    <a:pt x="0" y="8"/>
                  </a:lnTo>
                  <a:lnTo>
                    <a:pt x="3" y="6"/>
                  </a:lnTo>
                  <a:lnTo>
                    <a:pt x="3" y="6"/>
                  </a:lnTo>
                  <a:lnTo>
                    <a:pt x="8" y="3"/>
                  </a:lnTo>
                  <a:lnTo>
                    <a:pt x="8" y="3"/>
                  </a:lnTo>
                  <a:lnTo>
                    <a:pt x="16" y="0"/>
                  </a:lnTo>
                  <a:lnTo>
                    <a:pt x="16" y="0"/>
                  </a:lnTo>
                  <a:lnTo>
                    <a:pt x="6" y="6"/>
                  </a:lnTo>
                  <a:lnTo>
                    <a:pt x="6" y="6"/>
                  </a:lnTo>
                  <a:lnTo>
                    <a:pt x="3" y="8"/>
                  </a:lnTo>
                  <a:lnTo>
                    <a:pt x="0"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9" name="Freeform 852"/>
            <p:cNvSpPr/>
            <p:nvPr/>
          </p:nvSpPr>
          <p:spPr bwMode="auto">
            <a:xfrm>
              <a:off x="2815354" y="1742618"/>
              <a:ext cx="18433" cy="12287"/>
            </a:xfrm>
            <a:custGeom>
              <a:avLst/>
              <a:gdLst>
                <a:gd name="T0" fmla="*/ 7 w 7"/>
                <a:gd name="T1" fmla="*/ 1 h 3"/>
                <a:gd name="T2" fmla="*/ 7 w 7"/>
                <a:gd name="T3" fmla="*/ 1 h 3"/>
                <a:gd name="T4" fmla="*/ 4 w 7"/>
                <a:gd name="T5" fmla="*/ 1 h 3"/>
                <a:gd name="T6" fmla="*/ 0 w 7"/>
                <a:gd name="T7" fmla="*/ 3 h 3"/>
                <a:gd name="T8" fmla="*/ 0 w 7"/>
                <a:gd name="T9" fmla="*/ 3 h 3"/>
                <a:gd name="T10" fmla="*/ 3 w 7"/>
                <a:gd name="T11" fmla="*/ 1 h 3"/>
                <a:gd name="T12" fmla="*/ 4 w 7"/>
                <a:gd name="T13" fmla="*/ 0 h 3"/>
                <a:gd name="T14" fmla="*/ 7 w 7"/>
                <a:gd name="T15" fmla="*/ 0 h 3"/>
                <a:gd name="T16" fmla="*/ 7 w 7"/>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7" y="1"/>
                  </a:moveTo>
                  <a:lnTo>
                    <a:pt x="7" y="1"/>
                  </a:lnTo>
                  <a:lnTo>
                    <a:pt x="4" y="1"/>
                  </a:lnTo>
                  <a:lnTo>
                    <a:pt x="0" y="3"/>
                  </a:lnTo>
                  <a:lnTo>
                    <a:pt x="0" y="3"/>
                  </a:lnTo>
                  <a:lnTo>
                    <a:pt x="3" y="1"/>
                  </a:lnTo>
                  <a:lnTo>
                    <a:pt x="4" y="0"/>
                  </a:lnTo>
                  <a:lnTo>
                    <a:pt x="7" y="0"/>
                  </a:lnTo>
                  <a:lnTo>
                    <a:pt x="7"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0" name="Freeform 853"/>
            <p:cNvSpPr/>
            <p:nvPr/>
          </p:nvSpPr>
          <p:spPr bwMode="auto">
            <a:xfrm>
              <a:off x="2864502" y="1730331"/>
              <a:ext cx="30720" cy="12287"/>
            </a:xfrm>
            <a:custGeom>
              <a:avLst/>
              <a:gdLst>
                <a:gd name="T0" fmla="*/ 10 w 10"/>
                <a:gd name="T1" fmla="*/ 0 h 5"/>
                <a:gd name="T2" fmla="*/ 10 w 10"/>
                <a:gd name="T3" fmla="*/ 0 h 5"/>
                <a:gd name="T4" fmla="*/ 4 w 10"/>
                <a:gd name="T5" fmla="*/ 3 h 5"/>
                <a:gd name="T6" fmla="*/ 2 w 10"/>
                <a:gd name="T7" fmla="*/ 5 h 5"/>
                <a:gd name="T8" fmla="*/ 0 w 10"/>
                <a:gd name="T9" fmla="*/ 3 h 5"/>
                <a:gd name="T10" fmla="*/ 0 w 10"/>
                <a:gd name="T11" fmla="*/ 3 h 5"/>
                <a:gd name="T12" fmla="*/ 10 w 10"/>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10" y="0"/>
                  </a:moveTo>
                  <a:lnTo>
                    <a:pt x="10" y="0"/>
                  </a:lnTo>
                  <a:lnTo>
                    <a:pt x="4" y="3"/>
                  </a:lnTo>
                  <a:lnTo>
                    <a:pt x="2" y="5"/>
                  </a:lnTo>
                  <a:lnTo>
                    <a:pt x="0" y="3"/>
                  </a:lnTo>
                  <a:lnTo>
                    <a:pt x="0" y="3"/>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1" name="Freeform 854"/>
            <p:cNvSpPr/>
            <p:nvPr/>
          </p:nvSpPr>
          <p:spPr bwMode="auto">
            <a:xfrm>
              <a:off x="2747773" y="1736472"/>
              <a:ext cx="18433" cy="12287"/>
            </a:xfrm>
            <a:custGeom>
              <a:avLst/>
              <a:gdLst>
                <a:gd name="T0" fmla="*/ 7 w 7"/>
                <a:gd name="T1" fmla="*/ 0 h 4"/>
                <a:gd name="T2" fmla="*/ 7 w 7"/>
                <a:gd name="T3" fmla="*/ 0 h 4"/>
                <a:gd name="T4" fmla="*/ 4 w 7"/>
                <a:gd name="T5" fmla="*/ 3 h 4"/>
                <a:gd name="T6" fmla="*/ 0 w 7"/>
                <a:gd name="T7" fmla="*/ 4 h 4"/>
                <a:gd name="T8" fmla="*/ 0 w 7"/>
                <a:gd name="T9" fmla="*/ 4 h 4"/>
                <a:gd name="T10" fmla="*/ 2 w 7"/>
                <a:gd name="T11" fmla="*/ 2 h 4"/>
                <a:gd name="T12" fmla="*/ 7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7" y="0"/>
                  </a:moveTo>
                  <a:lnTo>
                    <a:pt x="7" y="0"/>
                  </a:lnTo>
                  <a:lnTo>
                    <a:pt x="4" y="3"/>
                  </a:lnTo>
                  <a:lnTo>
                    <a:pt x="0" y="4"/>
                  </a:lnTo>
                  <a:lnTo>
                    <a:pt x="0" y="4"/>
                  </a:lnTo>
                  <a:lnTo>
                    <a:pt x="2" y="2"/>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2" name="Freeform 855"/>
            <p:cNvSpPr/>
            <p:nvPr/>
          </p:nvSpPr>
          <p:spPr bwMode="auto">
            <a:xfrm>
              <a:off x="3331410" y="1742618"/>
              <a:ext cx="24574" cy="12287"/>
            </a:xfrm>
            <a:custGeom>
              <a:avLst/>
              <a:gdLst>
                <a:gd name="T0" fmla="*/ 7 w 7"/>
                <a:gd name="T1" fmla="*/ 0 h 3"/>
                <a:gd name="T2" fmla="*/ 7 w 7"/>
                <a:gd name="T3" fmla="*/ 0 h 3"/>
                <a:gd name="T4" fmla="*/ 4 w 7"/>
                <a:gd name="T5" fmla="*/ 1 h 3"/>
                <a:gd name="T6" fmla="*/ 4 w 7"/>
                <a:gd name="T7" fmla="*/ 1 h 3"/>
                <a:gd name="T8" fmla="*/ 3 w 7"/>
                <a:gd name="T9" fmla="*/ 1 h 3"/>
                <a:gd name="T10" fmla="*/ 1 w 7"/>
                <a:gd name="T11" fmla="*/ 3 h 3"/>
                <a:gd name="T12" fmla="*/ 1 w 7"/>
                <a:gd name="T13" fmla="*/ 3 h 3"/>
                <a:gd name="T14" fmla="*/ 0 w 7"/>
                <a:gd name="T15" fmla="*/ 3 h 3"/>
                <a:gd name="T16" fmla="*/ 1 w 7"/>
                <a:gd name="T17" fmla="*/ 1 h 3"/>
                <a:gd name="T18" fmla="*/ 4 w 7"/>
                <a:gd name="T19" fmla="*/ 0 h 3"/>
                <a:gd name="T20" fmla="*/ 7 w 7"/>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7" y="0"/>
                  </a:moveTo>
                  <a:lnTo>
                    <a:pt x="7" y="0"/>
                  </a:lnTo>
                  <a:lnTo>
                    <a:pt x="4" y="1"/>
                  </a:lnTo>
                  <a:lnTo>
                    <a:pt x="4" y="1"/>
                  </a:lnTo>
                  <a:lnTo>
                    <a:pt x="3" y="1"/>
                  </a:lnTo>
                  <a:lnTo>
                    <a:pt x="1" y="3"/>
                  </a:lnTo>
                  <a:lnTo>
                    <a:pt x="1" y="3"/>
                  </a:lnTo>
                  <a:lnTo>
                    <a:pt x="0" y="3"/>
                  </a:lnTo>
                  <a:lnTo>
                    <a:pt x="1" y="1"/>
                  </a:lnTo>
                  <a:lnTo>
                    <a:pt x="4" y="0"/>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3" name="Freeform 856"/>
            <p:cNvSpPr/>
            <p:nvPr/>
          </p:nvSpPr>
          <p:spPr bwMode="auto">
            <a:xfrm>
              <a:off x="3355984" y="1742618"/>
              <a:ext cx="36861" cy="12287"/>
            </a:xfrm>
            <a:custGeom>
              <a:avLst/>
              <a:gdLst>
                <a:gd name="T0" fmla="*/ 11 w 11"/>
                <a:gd name="T1" fmla="*/ 0 h 4"/>
                <a:gd name="T2" fmla="*/ 11 w 11"/>
                <a:gd name="T3" fmla="*/ 0 h 4"/>
                <a:gd name="T4" fmla="*/ 11 w 11"/>
                <a:gd name="T5" fmla="*/ 1 h 4"/>
                <a:gd name="T6" fmla="*/ 8 w 11"/>
                <a:gd name="T7" fmla="*/ 1 h 4"/>
                <a:gd name="T8" fmla="*/ 3 w 11"/>
                <a:gd name="T9" fmla="*/ 4 h 4"/>
                <a:gd name="T10" fmla="*/ 3 w 11"/>
                <a:gd name="T11" fmla="*/ 4 h 4"/>
                <a:gd name="T12" fmla="*/ 0 w 11"/>
                <a:gd name="T13" fmla="*/ 2 h 4"/>
                <a:gd name="T14" fmla="*/ 0 w 11"/>
                <a:gd name="T15" fmla="*/ 2 h 4"/>
                <a:gd name="T16" fmla="*/ 6 w 11"/>
                <a:gd name="T17" fmla="*/ 1 h 4"/>
                <a:gd name="T18" fmla="*/ 11 w 11"/>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4">
                  <a:moveTo>
                    <a:pt x="11" y="0"/>
                  </a:moveTo>
                  <a:lnTo>
                    <a:pt x="11" y="0"/>
                  </a:lnTo>
                  <a:lnTo>
                    <a:pt x="11" y="1"/>
                  </a:lnTo>
                  <a:lnTo>
                    <a:pt x="8" y="1"/>
                  </a:lnTo>
                  <a:lnTo>
                    <a:pt x="3" y="4"/>
                  </a:lnTo>
                  <a:lnTo>
                    <a:pt x="3" y="4"/>
                  </a:lnTo>
                  <a:lnTo>
                    <a:pt x="0" y="2"/>
                  </a:lnTo>
                  <a:lnTo>
                    <a:pt x="0" y="2"/>
                  </a:lnTo>
                  <a:lnTo>
                    <a:pt x="6" y="1"/>
                  </a:lnTo>
                  <a:lnTo>
                    <a:pt x="1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4" name="Freeform 857"/>
            <p:cNvSpPr/>
            <p:nvPr/>
          </p:nvSpPr>
          <p:spPr bwMode="auto">
            <a:xfrm>
              <a:off x="2956653" y="1699611"/>
              <a:ext cx="30720" cy="12287"/>
            </a:xfrm>
            <a:custGeom>
              <a:avLst/>
              <a:gdLst>
                <a:gd name="T0" fmla="*/ 10 w 10"/>
                <a:gd name="T1" fmla="*/ 0 h 5"/>
                <a:gd name="T2" fmla="*/ 10 w 10"/>
                <a:gd name="T3" fmla="*/ 0 h 5"/>
                <a:gd name="T4" fmla="*/ 3 w 10"/>
                <a:gd name="T5" fmla="*/ 3 h 5"/>
                <a:gd name="T6" fmla="*/ 0 w 10"/>
                <a:gd name="T7" fmla="*/ 5 h 5"/>
                <a:gd name="T8" fmla="*/ 0 w 10"/>
                <a:gd name="T9" fmla="*/ 3 h 5"/>
                <a:gd name="T10" fmla="*/ 0 w 10"/>
                <a:gd name="T11" fmla="*/ 3 h 5"/>
                <a:gd name="T12" fmla="*/ 4 w 10"/>
                <a:gd name="T13" fmla="*/ 2 h 5"/>
                <a:gd name="T14" fmla="*/ 10 w 10"/>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5">
                  <a:moveTo>
                    <a:pt x="10" y="0"/>
                  </a:moveTo>
                  <a:lnTo>
                    <a:pt x="10" y="0"/>
                  </a:lnTo>
                  <a:lnTo>
                    <a:pt x="3" y="3"/>
                  </a:lnTo>
                  <a:lnTo>
                    <a:pt x="0" y="5"/>
                  </a:lnTo>
                  <a:lnTo>
                    <a:pt x="0" y="3"/>
                  </a:lnTo>
                  <a:lnTo>
                    <a:pt x="0" y="3"/>
                  </a:lnTo>
                  <a:lnTo>
                    <a:pt x="4" y="2"/>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5" name="Freeform 858"/>
            <p:cNvSpPr/>
            <p:nvPr/>
          </p:nvSpPr>
          <p:spPr bwMode="auto">
            <a:xfrm>
              <a:off x="2895218" y="1687324"/>
              <a:ext cx="24574" cy="12287"/>
            </a:xfrm>
            <a:custGeom>
              <a:avLst/>
              <a:gdLst>
                <a:gd name="T0" fmla="*/ 7 w 7"/>
                <a:gd name="T1" fmla="*/ 0 h 3"/>
                <a:gd name="T2" fmla="*/ 7 w 7"/>
                <a:gd name="T3" fmla="*/ 0 h 3"/>
                <a:gd name="T4" fmla="*/ 3 w 7"/>
                <a:gd name="T5" fmla="*/ 2 h 3"/>
                <a:gd name="T6" fmla="*/ 0 w 7"/>
                <a:gd name="T7" fmla="*/ 3 h 3"/>
                <a:gd name="T8" fmla="*/ 0 w 7"/>
                <a:gd name="T9" fmla="*/ 3 h 3"/>
                <a:gd name="T10" fmla="*/ 3 w 7"/>
                <a:gd name="T11" fmla="*/ 0 h 3"/>
                <a:gd name="T12" fmla="*/ 7 w 7"/>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7" y="0"/>
                  </a:moveTo>
                  <a:lnTo>
                    <a:pt x="7" y="0"/>
                  </a:lnTo>
                  <a:lnTo>
                    <a:pt x="3" y="2"/>
                  </a:lnTo>
                  <a:lnTo>
                    <a:pt x="0" y="3"/>
                  </a:lnTo>
                  <a:lnTo>
                    <a:pt x="0" y="3"/>
                  </a:lnTo>
                  <a:lnTo>
                    <a:pt x="3" y="0"/>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6" name="Freeform 859"/>
            <p:cNvSpPr/>
            <p:nvPr/>
          </p:nvSpPr>
          <p:spPr bwMode="auto">
            <a:xfrm>
              <a:off x="3122530" y="1668895"/>
              <a:ext cx="24574" cy="12287"/>
            </a:xfrm>
            <a:custGeom>
              <a:avLst/>
              <a:gdLst>
                <a:gd name="T0" fmla="*/ 0 w 9"/>
                <a:gd name="T1" fmla="*/ 3 h 5"/>
                <a:gd name="T2" fmla="*/ 0 w 9"/>
                <a:gd name="T3" fmla="*/ 3 h 5"/>
                <a:gd name="T4" fmla="*/ 9 w 9"/>
                <a:gd name="T5" fmla="*/ 0 h 5"/>
                <a:gd name="T6" fmla="*/ 9 w 9"/>
                <a:gd name="T7" fmla="*/ 0 h 5"/>
                <a:gd name="T8" fmla="*/ 6 w 9"/>
                <a:gd name="T9" fmla="*/ 3 h 5"/>
                <a:gd name="T10" fmla="*/ 0 w 9"/>
                <a:gd name="T11" fmla="*/ 5 h 5"/>
                <a:gd name="T12" fmla="*/ 0 w 9"/>
                <a:gd name="T13" fmla="*/ 5 h 5"/>
                <a:gd name="T14" fmla="*/ 2 w 9"/>
                <a:gd name="T15" fmla="*/ 3 h 5"/>
                <a:gd name="T16" fmla="*/ 0 w 9"/>
                <a:gd name="T17" fmla="*/ 3 h 5"/>
                <a:gd name="T18" fmla="*/ 0 w 9"/>
                <a:gd name="T19" fmla="*/ 3 h 5"/>
                <a:gd name="T20" fmla="*/ 0 w 9"/>
                <a:gd name="T2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5">
                  <a:moveTo>
                    <a:pt x="0" y="3"/>
                  </a:moveTo>
                  <a:lnTo>
                    <a:pt x="0" y="3"/>
                  </a:lnTo>
                  <a:lnTo>
                    <a:pt x="9" y="0"/>
                  </a:lnTo>
                  <a:lnTo>
                    <a:pt x="9" y="0"/>
                  </a:lnTo>
                  <a:lnTo>
                    <a:pt x="6" y="3"/>
                  </a:lnTo>
                  <a:lnTo>
                    <a:pt x="0" y="5"/>
                  </a:lnTo>
                  <a:lnTo>
                    <a:pt x="0" y="5"/>
                  </a:lnTo>
                  <a:lnTo>
                    <a:pt x="2" y="3"/>
                  </a:lnTo>
                  <a:lnTo>
                    <a:pt x="0" y="3"/>
                  </a:lnTo>
                  <a:lnTo>
                    <a:pt x="0" y="3"/>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7" name="Freeform 860"/>
            <p:cNvSpPr/>
            <p:nvPr/>
          </p:nvSpPr>
          <p:spPr bwMode="auto">
            <a:xfrm>
              <a:off x="3165532" y="1668895"/>
              <a:ext cx="43007" cy="18433"/>
            </a:xfrm>
            <a:custGeom>
              <a:avLst/>
              <a:gdLst>
                <a:gd name="T0" fmla="*/ 10 w 14"/>
                <a:gd name="T1" fmla="*/ 0 h 6"/>
                <a:gd name="T2" fmla="*/ 10 w 14"/>
                <a:gd name="T3" fmla="*/ 0 h 6"/>
                <a:gd name="T4" fmla="*/ 14 w 14"/>
                <a:gd name="T5" fmla="*/ 0 h 6"/>
                <a:gd name="T6" fmla="*/ 14 w 14"/>
                <a:gd name="T7" fmla="*/ 0 h 6"/>
                <a:gd name="T8" fmla="*/ 12 w 14"/>
                <a:gd name="T9" fmla="*/ 2 h 6"/>
                <a:gd name="T10" fmla="*/ 12 w 14"/>
                <a:gd name="T11" fmla="*/ 2 h 6"/>
                <a:gd name="T12" fmla="*/ 12 w 14"/>
                <a:gd name="T13" fmla="*/ 2 h 6"/>
                <a:gd name="T14" fmla="*/ 12 w 14"/>
                <a:gd name="T15" fmla="*/ 3 h 6"/>
                <a:gd name="T16" fmla="*/ 12 w 14"/>
                <a:gd name="T17" fmla="*/ 3 h 6"/>
                <a:gd name="T18" fmla="*/ 10 w 14"/>
                <a:gd name="T19" fmla="*/ 3 h 6"/>
                <a:gd name="T20" fmla="*/ 8 w 14"/>
                <a:gd name="T21" fmla="*/ 3 h 6"/>
                <a:gd name="T22" fmla="*/ 10 w 14"/>
                <a:gd name="T23" fmla="*/ 5 h 6"/>
                <a:gd name="T24" fmla="*/ 8 w 14"/>
                <a:gd name="T25" fmla="*/ 5 h 6"/>
                <a:gd name="T26" fmla="*/ 8 w 14"/>
                <a:gd name="T27" fmla="*/ 5 h 6"/>
                <a:gd name="T28" fmla="*/ 4 w 14"/>
                <a:gd name="T29" fmla="*/ 6 h 6"/>
                <a:gd name="T30" fmla="*/ 0 w 14"/>
                <a:gd name="T31" fmla="*/ 6 h 6"/>
                <a:gd name="T32" fmla="*/ 0 w 14"/>
                <a:gd name="T33" fmla="*/ 6 h 6"/>
                <a:gd name="T34" fmla="*/ 5 w 14"/>
                <a:gd name="T35" fmla="*/ 3 h 6"/>
                <a:gd name="T36" fmla="*/ 10 w 14"/>
                <a:gd name="T3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6">
                  <a:moveTo>
                    <a:pt x="10" y="0"/>
                  </a:moveTo>
                  <a:lnTo>
                    <a:pt x="10" y="0"/>
                  </a:lnTo>
                  <a:lnTo>
                    <a:pt x="14" y="0"/>
                  </a:lnTo>
                  <a:lnTo>
                    <a:pt x="14" y="0"/>
                  </a:lnTo>
                  <a:lnTo>
                    <a:pt x="12" y="2"/>
                  </a:lnTo>
                  <a:lnTo>
                    <a:pt x="12" y="2"/>
                  </a:lnTo>
                  <a:lnTo>
                    <a:pt x="12" y="2"/>
                  </a:lnTo>
                  <a:lnTo>
                    <a:pt x="12" y="3"/>
                  </a:lnTo>
                  <a:lnTo>
                    <a:pt x="12" y="3"/>
                  </a:lnTo>
                  <a:lnTo>
                    <a:pt x="10" y="3"/>
                  </a:lnTo>
                  <a:lnTo>
                    <a:pt x="8" y="3"/>
                  </a:lnTo>
                  <a:lnTo>
                    <a:pt x="10" y="5"/>
                  </a:lnTo>
                  <a:lnTo>
                    <a:pt x="8" y="5"/>
                  </a:lnTo>
                  <a:lnTo>
                    <a:pt x="8" y="5"/>
                  </a:lnTo>
                  <a:lnTo>
                    <a:pt x="4" y="6"/>
                  </a:lnTo>
                  <a:lnTo>
                    <a:pt x="0" y="6"/>
                  </a:lnTo>
                  <a:lnTo>
                    <a:pt x="0" y="6"/>
                  </a:lnTo>
                  <a:lnTo>
                    <a:pt x="5" y="3"/>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8" name="Freeform 861"/>
            <p:cNvSpPr/>
            <p:nvPr/>
          </p:nvSpPr>
          <p:spPr bwMode="auto">
            <a:xfrm>
              <a:off x="3116384" y="1656607"/>
              <a:ext cx="49148" cy="12287"/>
            </a:xfrm>
            <a:custGeom>
              <a:avLst/>
              <a:gdLst>
                <a:gd name="T0" fmla="*/ 11 w 16"/>
                <a:gd name="T1" fmla="*/ 0 h 5"/>
                <a:gd name="T2" fmla="*/ 11 w 16"/>
                <a:gd name="T3" fmla="*/ 0 h 5"/>
                <a:gd name="T4" fmla="*/ 14 w 16"/>
                <a:gd name="T5" fmla="*/ 0 h 5"/>
                <a:gd name="T6" fmla="*/ 16 w 16"/>
                <a:gd name="T7" fmla="*/ 0 h 5"/>
                <a:gd name="T8" fmla="*/ 14 w 16"/>
                <a:gd name="T9" fmla="*/ 2 h 5"/>
                <a:gd name="T10" fmla="*/ 14 w 16"/>
                <a:gd name="T11" fmla="*/ 2 h 5"/>
                <a:gd name="T12" fmla="*/ 7 w 16"/>
                <a:gd name="T13" fmla="*/ 3 h 5"/>
                <a:gd name="T14" fmla="*/ 7 w 16"/>
                <a:gd name="T15" fmla="*/ 3 h 5"/>
                <a:gd name="T16" fmla="*/ 3 w 16"/>
                <a:gd name="T17" fmla="*/ 3 h 5"/>
                <a:gd name="T18" fmla="*/ 0 w 16"/>
                <a:gd name="T19" fmla="*/ 5 h 5"/>
                <a:gd name="T20" fmla="*/ 0 w 16"/>
                <a:gd name="T21" fmla="*/ 5 h 5"/>
                <a:gd name="T22" fmla="*/ 6 w 16"/>
                <a:gd name="T23" fmla="*/ 2 h 5"/>
                <a:gd name="T24" fmla="*/ 11 w 16"/>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5">
                  <a:moveTo>
                    <a:pt x="11" y="0"/>
                  </a:moveTo>
                  <a:lnTo>
                    <a:pt x="11" y="0"/>
                  </a:lnTo>
                  <a:lnTo>
                    <a:pt x="14" y="0"/>
                  </a:lnTo>
                  <a:lnTo>
                    <a:pt x="16" y="0"/>
                  </a:lnTo>
                  <a:lnTo>
                    <a:pt x="14" y="2"/>
                  </a:lnTo>
                  <a:lnTo>
                    <a:pt x="14" y="2"/>
                  </a:lnTo>
                  <a:lnTo>
                    <a:pt x="7" y="3"/>
                  </a:lnTo>
                  <a:lnTo>
                    <a:pt x="7" y="3"/>
                  </a:lnTo>
                  <a:lnTo>
                    <a:pt x="3" y="3"/>
                  </a:lnTo>
                  <a:lnTo>
                    <a:pt x="0" y="5"/>
                  </a:lnTo>
                  <a:lnTo>
                    <a:pt x="0" y="5"/>
                  </a:lnTo>
                  <a:lnTo>
                    <a:pt x="6" y="2"/>
                  </a:lnTo>
                  <a:lnTo>
                    <a:pt x="1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9" name="Freeform 862"/>
            <p:cNvSpPr/>
            <p:nvPr/>
          </p:nvSpPr>
          <p:spPr bwMode="auto">
            <a:xfrm>
              <a:off x="4013338" y="2006787"/>
              <a:ext cx="18433" cy="0"/>
            </a:xfrm>
            <a:custGeom>
              <a:avLst/>
              <a:gdLst>
                <a:gd name="T0" fmla="*/ 6 w 7"/>
                <a:gd name="T1" fmla="*/ 0 h 2"/>
                <a:gd name="T2" fmla="*/ 6 w 7"/>
                <a:gd name="T3" fmla="*/ 0 h 2"/>
                <a:gd name="T4" fmla="*/ 7 w 7"/>
                <a:gd name="T5" fmla="*/ 2 h 2"/>
                <a:gd name="T6" fmla="*/ 7 w 7"/>
                <a:gd name="T7" fmla="*/ 2 h 2"/>
                <a:gd name="T8" fmla="*/ 3 w 7"/>
                <a:gd name="T9" fmla="*/ 2 h 2"/>
                <a:gd name="T10" fmla="*/ 3 w 7"/>
                <a:gd name="T11" fmla="*/ 2 h 2"/>
                <a:gd name="T12" fmla="*/ 0 w 7"/>
                <a:gd name="T13" fmla="*/ 0 h 2"/>
                <a:gd name="T14" fmla="*/ 0 w 7"/>
                <a:gd name="T15" fmla="*/ 0 h 2"/>
                <a:gd name="T16" fmla="*/ 1 w 7"/>
                <a:gd name="T17" fmla="*/ 0 h 2"/>
                <a:gd name="T18" fmla="*/ 1 w 7"/>
                <a:gd name="T19" fmla="*/ 0 h 2"/>
                <a:gd name="T20" fmla="*/ 6 w 7"/>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2">
                  <a:moveTo>
                    <a:pt x="6" y="0"/>
                  </a:moveTo>
                  <a:lnTo>
                    <a:pt x="6" y="0"/>
                  </a:lnTo>
                  <a:lnTo>
                    <a:pt x="7" y="2"/>
                  </a:lnTo>
                  <a:lnTo>
                    <a:pt x="7" y="2"/>
                  </a:lnTo>
                  <a:lnTo>
                    <a:pt x="3" y="2"/>
                  </a:lnTo>
                  <a:lnTo>
                    <a:pt x="3" y="2"/>
                  </a:lnTo>
                  <a:lnTo>
                    <a:pt x="0" y="0"/>
                  </a:lnTo>
                  <a:lnTo>
                    <a:pt x="0" y="0"/>
                  </a:lnTo>
                  <a:lnTo>
                    <a:pt x="1" y="0"/>
                  </a:lnTo>
                  <a:lnTo>
                    <a:pt x="1" y="0"/>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0" name="Freeform 863"/>
            <p:cNvSpPr/>
            <p:nvPr/>
          </p:nvSpPr>
          <p:spPr bwMode="auto">
            <a:xfrm>
              <a:off x="3540290" y="1730331"/>
              <a:ext cx="30720" cy="12287"/>
            </a:xfrm>
            <a:custGeom>
              <a:avLst/>
              <a:gdLst>
                <a:gd name="T0" fmla="*/ 0 w 10"/>
                <a:gd name="T1" fmla="*/ 1 h 4"/>
                <a:gd name="T2" fmla="*/ 0 w 10"/>
                <a:gd name="T3" fmla="*/ 1 h 4"/>
                <a:gd name="T4" fmla="*/ 5 w 10"/>
                <a:gd name="T5" fmla="*/ 0 h 4"/>
                <a:gd name="T6" fmla="*/ 10 w 10"/>
                <a:gd name="T7" fmla="*/ 1 h 4"/>
                <a:gd name="T8" fmla="*/ 10 w 10"/>
                <a:gd name="T9" fmla="*/ 1 h 4"/>
                <a:gd name="T10" fmla="*/ 5 w 10"/>
                <a:gd name="T11" fmla="*/ 4 h 4"/>
                <a:gd name="T12" fmla="*/ 4 w 10"/>
                <a:gd name="T13" fmla="*/ 4 h 4"/>
                <a:gd name="T14" fmla="*/ 0 w 10"/>
                <a:gd name="T15" fmla="*/ 4 h 4"/>
                <a:gd name="T16" fmla="*/ 0 w 10"/>
                <a:gd name="T17" fmla="*/ 4 h 4"/>
                <a:gd name="T18" fmla="*/ 3 w 10"/>
                <a:gd name="T19" fmla="*/ 3 h 4"/>
                <a:gd name="T20" fmla="*/ 3 w 10"/>
                <a:gd name="T21" fmla="*/ 1 h 4"/>
                <a:gd name="T22" fmla="*/ 0 w 10"/>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4">
                  <a:moveTo>
                    <a:pt x="0" y="1"/>
                  </a:moveTo>
                  <a:lnTo>
                    <a:pt x="0" y="1"/>
                  </a:lnTo>
                  <a:lnTo>
                    <a:pt x="5" y="0"/>
                  </a:lnTo>
                  <a:lnTo>
                    <a:pt x="10" y="1"/>
                  </a:lnTo>
                  <a:lnTo>
                    <a:pt x="10" y="1"/>
                  </a:lnTo>
                  <a:lnTo>
                    <a:pt x="5" y="4"/>
                  </a:lnTo>
                  <a:lnTo>
                    <a:pt x="4" y="4"/>
                  </a:lnTo>
                  <a:lnTo>
                    <a:pt x="0" y="4"/>
                  </a:lnTo>
                  <a:lnTo>
                    <a:pt x="0" y="4"/>
                  </a:lnTo>
                  <a:lnTo>
                    <a:pt x="3" y="3"/>
                  </a:lnTo>
                  <a:lnTo>
                    <a:pt x="3" y="1"/>
                  </a:lnTo>
                  <a:lnTo>
                    <a:pt x="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1" name="Freeform 864"/>
            <p:cNvSpPr/>
            <p:nvPr/>
          </p:nvSpPr>
          <p:spPr bwMode="auto">
            <a:xfrm>
              <a:off x="3177820" y="1638176"/>
              <a:ext cx="153590" cy="30720"/>
            </a:xfrm>
            <a:custGeom>
              <a:avLst/>
              <a:gdLst>
                <a:gd name="T0" fmla="*/ 30 w 50"/>
                <a:gd name="T1" fmla="*/ 5 h 8"/>
                <a:gd name="T2" fmla="*/ 30 w 50"/>
                <a:gd name="T3" fmla="*/ 5 h 8"/>
                <a:gd name="T4" fmla="*/ 25 w 50"/>
                <a:gd name="T5" fmla="*/ 5 h 8"/>
                <a:gd name="T6" fmla="*/ 25 w 50"/>
                <a:gd name="T7" fmla="*/ 5 h 8"/>
                <a:gd name="T8" fmla="*/ 25 w 50"/>
                <a:gd name="T9" fmla="*/ 4 h 8"/>
                <a:gd name="T10" fmla="*/ 25 w 50"/>
                <a:gd name="T11" fmla="*/ 4 h 8"/>
                <a:gd name="T12" fmla="*/ 11 w 50"/>
                <a:gd name="T13" fmla="*/ 7 h 8"/>
                <a:gd name="T14" fmla="*/ 11 w 50"/>
                <a:gd name="T15" fmla="*/ 7 h 8"/>
                <a:gd name="T16" fmla="*/ 6 w 50"/>
                <a:gd name="T17" fmla="*/ 8 h 8"/>
                <a:gd name="T18" fmla="*/ 0 w 50"/>
                <a:gd name="T19" fmla="*/ 7 h 8"/>
                <a:gd name="T20" fmla="*/ 0 w 50"/>
                <a:gd name="T21" fmla="*/ 7 h 8"/>
                <a:gd name="T22" fmla="*/ 14 w 50"/>
                <a:gd name="T23" fmla="*/ 5 h 8"/>
                <a:gd name="T24" fmla="*/ 14 w 50"/>
                <a:gd name="T25" fmla="*/ 5 h 8"/>
                <a:gd name="T26" fmla="*/ 21 w 50"/>
                <a:gd name="T27" fmla="*/ 4 h 8"/>
                <a:gd name="T28" fmla="*/ 21 w 50"/>
                <a:gd name="T29" fmla="*/ 4 h 8"/>
                <a:gd name="T30" fmla="*/ 27 w 50"/>
                <a:gd name="T31" fmla="*/ 3 h 8"/>
                <a:gd name="T32" fmla="*/ 27 w 50"/>
                <a:gd name="T33" fmla="*/ 3 h 8"/>
                <a:gd name="T34" fmla="*/ 27 w 50"/>
                <a:gd name="T35" fmla="*/ 3 h 8"/>
                <a:gd name="T36" fmla="*/ 27 w 50"/>
                <a:gd name="T37" fmla="*/ 3 h 8"/>
                <a:gd name="T38" fmla="*/ 30 w 50"/>
                <a:gd name="T39" fmla="*/ 4 h 8"/>
                <a:gd name="T40" fmla="*/ 30 w 50"/>
                <a:gd name="T41" fmla="*/ 4 h 8"/>
                <a:gd name="T42" fmla="*/ 30 w 50"/>
                <a:gd name="T43" fmla="*/ 3 h 8"/>
                <a:gd name="T44" fmla="*/ 35 w 50"/>
                <a:gd name="T45" fmla="*/ 3 h 8"/>
                <a:gd name="T46" fmla="*/ 35 w 50"/>
                <a:gd name="T47" fmla="*/ 3 h 8"/>
                <a:gd name="T48" fmla="*/ 35 w 50"/>
                <a:gd name="T49" fmla="*/ 3 h 8"/>
                <a:gd name="T50" fmla="*/ 35 w 50"/>
                <a:gd name="T51" fmla="*/ 4 h 8"/>
                <a:gd name="T52" fmla="*/ 35 w 50"/>
                <a:gd name="T53" fmla="*/ 4 h 8"/>
                <a:gd name="T54" fmla="*/ 38 w 50"/>
                <a:gd name="T55" fmla="*/ 3 h 8"/>
                <a:gd name="T56" fmla="*/ 43 w 50"/>
                <a:gd name="T57" fmla="*/ 1 h 8"/>
                <a:gd name="T58" fmla="*/ 43 w 50"/>
                <a:gd name="T59" fmla="*/ 1 h 8"/>
                <a:gd name="T60" fmla="*/ 41 w 50"/>
                <a:gd name="T61" fmla="*/ 1 h 8"/>
                <a:gd name="T62" fmla="*/ 44 w 50"/>
                <a:gd name="T63" fmla="*/ 1 h 8"/>
                <a:gd name="T64" fmla="*/ 50 w 50"/>
                <a:gd name="T65" fmla="*/ 0 h 8"/>
                <a:gd name="T66" fmla="*/ 50 w 50"/>
                <a:gd name="T67" fmla="*/ 0 h 8"/>
                <a:gd name="T68" fmla="*/ 47 w 50"/>
                <a:gd name="T69" fmla="*/ 1 h 8"/>
                <a:gd name="T70" fmla="*/ 41 w 50"/>
                <a:gd name="T71" fmla="*/ 4 h 8"/>
                <a:gd name="T72" fmla="*/ 41 w 50"/>
                <a:gd name="T73" fmla="*/ 4 h 8"/>
                <a:gd name="T74" fmla="*/ 34 w 50"/>
                <a:gd name="T75" fmla="*/ 4 h 8"/>
                <a:gd name="T76" fmla="*/ 30 w 50"/>
                <a:gd name="T7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0" h="8">
                  <a:moveTo>
                    <a:pt x="30" y="5"/>
                  </a:moveTo>
                  <a:lnTo>
                    <a:pt x="30" y="5"/>
                  </a:lnTo>
                  <a:lnTo>
                    <a:pt x="25" y="5"/>
                  </a:lnTo>
                  <a:lnTo>
                    <a:pt x="25" y="5"/>
                  </a:lnTo>
                  <a:lnTo>
                    <a:pt x="25" y="4"/>
                  </a:lnTo>
                  <a:lnTo>
                    <a:pt x="25" y="4"/>
                  </a:lnTo>
                  <a:lnTo>
                    <a:pt x="11" y="7"/>
                  </a:lnTo>
                  <a:lnTo>
                    <a:pt x="11" y="7"/>
                  </a:lnTo>
                  <a:lnTo>
                    <a:pt x="6" y="8"/>
                  </a:lnTo>
                  <a:lnTo>
                    <a:pt x="0" y="7"/>
                  </a:lnTo>
                  <a:lnTo>
                    <a:pt x="0" y="7"/>
                  </a:lnTo>
                  <a:lnTo>
                    <a:pt x="14" y="5"/>
                  </a:lnTo>
                  <a:lnTo>
                    <a:pt x="14" y="5"/>
                  </a:lnTo>
                  <a:lnTo>
                    <a:pt x="21" y="4"/>
                  </a:lnTo>
                  <a:lnTo>
                    <a:pt x="21" y="4"/>
                  </a:lnTo>
                  <a:lnTo>
                    <a:pt x="27" y="3"/>
                  </a:lnTo>
                  <a:lnTo>
                    <a:pt x="27" y="3"/>
                  </a:lnTo>
                  <a:lnTo>
                    <a:pt x="27" y="3"/>
                  </a:lnTo>
                  <a:lnTo>
                    <a:pt x="27" y="3"/>
                  </a:lnTo>
                  <a:lnTo>
                    <a:pt x="30" y="4"/>
                  </a:lnTo>
                  <a:lnTo>
                    <a:pt x="30" y="4"/>
                  </a:lnTo>
                  <a:lnTo>
                    <a:pt x="30" y="3"/>
                  </a:lnTo>
                  <a:lnTo>
                    <a:pt x="35" y="3"/>
                  </a:lnTo>
                  <a:lnTo>
                    <a:pt x="35" y="3"/>
                  </a:lnTo>
                  <a:lnTo>
                    <a:pt x="35" y="3"/>
                  </a:lnTo>
                  <a:lnTo>
                    <a:pt x="35" y="4"/>
                  </a:lnTo>
                  <a:lnTo>
                    <a:pt x="35" y="4"/>
                  </a:lnTo>
                  <a:lnTo>
                    <a:pt x="38" y="3"/>
                  </a:lnTo>
                  <a:lnTo>
                    <a:pt x="43" y="1"/>
                  </a:lnTo>
                  <a:lnTo>
                    <a:pt x="43" y="1"/>
                  </a:lnTo>
                  <a:lnTo>
                    <a:pt x="41" y="1"/>
                  </a:lnTo>
                  <a:lnTo>
                    <a:pt x="44" y="1"/>
                  </a:lnTo>
                  <a:lnTo>
                    <a:pt x="50" y="0"/>
                  </a:lnTo>
                  <a:lnTo>
                    <a:pt x="50" y="0"/>
                  </a:lnTo>
                  <a:lnTo>
                    <a:pt x="47" y="1"/>
                  </a:lnTo>
                  <a:lnTo>
                    <a:pt x="41" y="4"/>
                  </a:lnTo>
                  <a:lnTo>
                    <a:pt x="41" y="4"/>
                  </a:lnTo>
                  <a:lnTo>
                    <a:pt x="34" y="4"/>
                  </a:lnTo>
                  <a:lnTo>
                    <a:pt x="30"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2" name="Freeform 865"/>
            <p:cNvSpPr/>
            <p:nvPr/>
          </p:nvSpPr>
          <p:spPr bwMode="auto">
            <a:xfrm>
              <a:off x="3005801" y="1607459"/>
              <a:ext cx="49148" cy="24574"/>
            </a:xfrm>
            <a:custGeom>
              <a:avLst/>
              <a:gdLst>
                <a:gd name="T0" fmla="*/ 1 w 15"/>
                <a:gd name="T1" fmla="*/ 5 h 7"/>
                <a:gd name="T2" fmla="*/ 1 w 15"/>
                <a:gd name="T3" fmla="*/ 5 h 7"/>
                <a:gd name="T4" fmla="*/ 5 w 15"/>
                <a:gd name="T5" fmla="*/ 4 h 7"/>
                <a:gd name="T6" fmla="*/ 8 w 15"/>
                <a:gd name="T7" fmla="*/ 3 h 7"/>
                <a:gd name="T8" fmla="*/ 14 w 15"/>
                <a:gd name="T9" fmla="*/ 0 h 7"/>
                <a:gd name="T10" fmla="*/ 14 w 15"/>
                <a:gd name="T11" fmla="*/ 0 h 7"/>
                <a:gd name="T12" fmla="*/ 15 w 15"/>
                <a:gd name="T13" fmla="*/ 0 h 7"/>
                <a:gd name="T14" fmla="*/ 15 w 15"/>
                <a:gd name="T15" fmla="*/ 1 h 7"/>
                <a:gd name="T16" fmla="*/ 15 w 15"/>
                <a:gd name="T17" fmla="*/ 1 h 7"/>
                <a:gd name="T18" fmla="*/ 10 w 15"/>
                <a:gd name="T19" fmla="*/ 4 h 7"/>
                <a:gd name="T20" fmla="*/ 10 w 15"/>
                <a:gd name="T21" fmla="*/ 4 h 7"/>
                <a:gd name="T22" fmla="*/ 7 w 15"/>
                <a:gd name="T23" fmla="*/ 5 h 7"/>
                <a:gd name="T24" fmla="*/ 3 w 15"/>
                <a:gd name="T25" fmla="*/ 7 h 7"/>
                <a:gd name="T26" fmla="*/ 3 w 15"/>
                <a:gd name="T27" fmla="*/ 7 h 7"/>
                <a:gd name="T28" fmla="*/ 0 w 15"/>
                <a:gd name="T29" fmla="*/ 7 h 7"/>
                <a:gd name="T30" fmla="*/ 1 w 15"/>
                <a:gd name="T3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7">
                  <a:moveTo>
                    <a:pt x="1" y="5"/>
                  </a:moveTo>
                  <a:lnTo>
                    <a:pt x="1" y="5"/>
                  </a:lnTo>
                  <a:lnTo>
                    <a:pt x="5" y="4"/>
                  </a:lnTo>
                  <a:lnTo>
                    <a:pt x="8" y="3"/>
                  </a:lnTo>
                  <a:lnTo>
                    <a:pt x="14" y="0"/>
                  </a:lnTo>
                  <a:lnTo>
                    <a:pt x="14" y="0"/>
                  </a:lnTo>
                  <a:lnTo>
                    <a:pt x="15" y="0"/>
                  </a:lnTo>
                  <a:lnTo>
                    <a:pt x="15" y="1"/>
                  </a:lnTo>
                  <a:lnTo>
                    <a:pt x="15" y="1"/>
                  </a:lnTo>
                  <a:lnTo>
                    <a:pt x="10" y="4"/>
                  </a:lnTo>
                  <a:lnTo>
                    <a:pt x="10" y="4"/>
                  </a:lnTo>
                  <a:lnTo>
                    <a:pt x="7" y="5"/>
                  </a:lnTo>
                  <a:lnTo>
                    <a:pt x="3" y="7"/>
                  </a:lnTo>
                  <a:lnTo>
                    <a:pt x="3" y="7"/>
                  </a:lnTo>
                  <a:lnTo>
                    <a:pt x="0" y="7"/>
                  </a:lnTo>
                  <a:lnTo>
                    <a:pt x="1"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3" name="Freeform 866"/>
            <p:cNvSpPr/>
            <p:nvPr/>
          </p:nvSpPr>
          <p:spPr bwMode="auto">
            <a:xfrm>
              <a:off x="3263829" y="1638176"/>
              <a:ext cx="49148" cy="6145"/>
            </a:xfrm>
            <a:custGeom>
              <a:avLst/>
              <a:gdLst>
                <a:gd name="T0" fmla="*/ 1 w 16"/>
                <a:gd name="T1" fmla="*/ 0 h 1"/>
                <a:gd name="T2" fmla="*/ 1 w 16"/>
                <a:gd name="T3" fmla="*/ 0 h 1"/>
                <a:gd name="T4" fmla="*/ 16 w 16"/>
                <a:gd name="T5" fmla="*/ 0 h 1"/>
                <a:gd name="T6" fmla="*/ 16 w 16"/>
                <a:gd name="T7" fmla="*/ 0 h 1"/>
                <a:gd name="T8" fmla="*/ 6 w 16"/>
                <a:gd name="T9" fmla="*/ 1 h 1"/>
                <a:gd name="T10" fmla="*/ 6 w 16"/>
                <a:gd name="T11" fmla="*/ 1 h 1"/>
                <a:gd name="T12" fmla="*/ 3 w 16"/>
                <a:gd name="T13" fmla="*/ 1 h 1"/>
                <a:gd name="T14" fmla="*/ 0 w 16"/>
                <a:gd name="T15" fmla="*/ 1 h 1"/>
                <a:gd name="T16" fmla="*/ 1 w 16"/>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
                  <a:moveTo>
                    <a:pt x="1" y="0"/>
                  </a:moveTo>
                  <a:lnTo>
                    <a:pt x="1" y="0"/>
                  </a:lnTo>
                  <a:lnTo>
                    <a:pt x="16" y="0"/>
                  </a:lnTo>
                  <a:lnTo>
                    <a:pt x="16" y="0"/>
                  </a:lnTo>
                  <a:lnTo>
                    <a:pt x="6" y="1"/>
                  </a:lnTo>
                  <a:lnTo>
                    <a:pt x="6" y="1"/>
                  </a:lnTo>
                  <a:lnTo>
                    <a:pt x="3" y="1"/>
                  </a:lnTo>
                  <a:lnTo>
                    <a:pt x="0" y="1"/>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4" name="Freeform 867"/>
            <p:cNvSpPr/>
            <p:nvPr/>
          </p:nvSpPr>
          <p:spPr bwMode="auto">
            <a:xfrm>
              <a:off x="3110242" y="1613601"/>
              <a:ext cx="24574" cy="12287"/>
            </a:xfrm>
            <a:custGeom>
              <a:avLst/>
              <a:gdLst>
                <a:gd name="T0" fmla="*/ 9 w 9"/>
                <a:gd name="T1" fmla="*/ 0 h 3"/>
                <a:gd name="T2" fmla="*/ 9 w 9"/>
                <a:gd name="T3" fmla="*/ 0 h 3"/>
                <a:gd name="T4" fmla="*/ 6 w 9"/>
                <a:gd name="T5" fmla="*/ 2 h 3"/>
                <a:gd name="T6" fmla="*/ 0 w 9"/>
                <a:gd name="T7" fmla="*/ 3 h 3"/>
                <a:gd name="T8" fmla="*/ 0 w 9"/>
                <a:gd name="T9" fmla="*/ 3 h 3"/>
                <a:gd name="T10" fmla="*/ 4 w 9"/>
                <a:gd name="T11" fmla="*/ 0 h 3"/>
                <a:gd name="T12" fmla="*/ 9 w 9"/>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9" h="3">
                  <a:moveTo>
                    <a:pt x="9" y="0"/>
                  </a:moveTo>
                  <a:lnTo>
                    <a:pt x="9" y="0"/>
                  </a:lnTo>
                  <a:lnTo>
                    <a:pt x="6" y="2"/>
                  </a:lnTo>
                  <a:lnTo>
                    <a:pt x="0" y="3"/>
                  </a:lnTo>
                  <a:lnTo>
                    <a:pt x="0" y="3"/>
                  </a:lnTo>
                  <a:lnTo>
                    <a:pt x="4" y="0"/>
                  </a:lnTo>
                  <a:lnTo>
                    <a:pt x="9"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5" name="Freeform 868"/>
            <p:cNvSpPr/>
            <p:nvPr/>
          </p:nvSpPr>
          <p:spPr bwMode="auto">
            <a:xfrm>
              <a:off x="3061094" y="1595172"/>
              <a:ext cx="55294" cy="18433"/>
            </a:xfrm>
            <a:custGeom>
              <a:avLst/>
              <a:gdLst>
                <a:gd name="T0" fmla="*/ 17 w 17"/>
                <a:gd name="T1" fmla="*/ 0 h 6"/>
                <a:gd name="T2" fmla="*/ 17 w 17"/>
                <a:gd name="T3" fmla="*/ 0 h 6"/>
                <a:gd name="T4" fmla="*/ 13 w 17"/>
                <a:gd name="T5" fmla="*/ 2 h 6"/>
                <a:gd name="T6" fmla="*/ 9 w 17"/>
                <a:gd name="T7" fmla="*/ 5 h 6"/>
                <a:gd name="T8" fmla="*/ 9 w 17"/>
                <a:gd name="T9" fmla="*/ 5 h 6"/>
                <a:gd name="T10" fmla="*/ 13 w 17"/>
                <a:gd name="T11" fmla="*/ 3 h 6"/>
                <a:gd name="T12" fmla="*/ 13 w 17"/>
                <a:gd name="T13" fmla="*/ 5 h 6"/>
                <a:gd name="T14" fmla="*/ 13 w 17"/>
                <a:gd name="T15" fmla="*/ 5 h 6"/>
                <a:gd name="T16" fmla="*/ 13 w 17"/>
                <a:gd name="T17" fmla="*/ 5 h 6"/>
                <a:gd name="T18" fmla="*/ 5 w 17"/>
                <a:gd name="T19" fmla="*/ 6 h 6"/>
                <a:gd name="T20" fmla="*/ 2 w 17"/>
                <a:gd name="T21" fmla="*/ 6 h 6"/>
                <a:gd name="T22" fmla="*/ 0 w 17"/>
                <a:gd name="T23" fmla="*/ 6 h 6"/>
                <a:gd name="T24" fmla="*/ 0 w 17"/>
                <a:gd name="T25" fmla="*/ 6 h 6"/>
                <a:gd name="T26" fmla="*/ 7 w 17"/>
                <a:gd name="T27" fmla="*/ 3 h 6"/>
                <a:gd name="T28" fmla="*/ 17 w 17"/>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6">
                  <a:moveTo>
                    <a:pt x="17" y="0"/>
                  </a:moveTo>
                  <a:lnTo>
                    <a:pt x="17" y="0"/>
                  </a:lnTo>
                  <a:lnTo>
                    <a:pt x="13" y="2"/>
                  </a:lnTo>
                  <a:lnTo>
                    <a:pt x="9" y="5"/>
                  </a:lnTo>
                  <a:lnTo>
                    <a:pt x="9" y="5"/>
                  </a:lnTo>
                  <a:lnTo>
                    <a:pt x="13" y="3"/>
                  </a:lnTo>
                  <a:lnTo>
                    <a:pt x="13" y="5"/>
                  </a:lnTo>
                  <a:lnTo>
                    <a:pt x="13" y="5"/>
                  </a:lnTo>
                  <a:lnTo>
                    <a:pt x="13" y="5"/>
                  </a:lnTo>
                  <a:lnTo>
                    <a:pt x="5" y="6"/>
                  </a:lnTo>
                  <a:lnTo>
                    <a:pt x="2" y="6"/>
                  </a:lnTo>
                  <a:lnTo>
                    <a:pt x="0" y="6"/>
                  </a:lnTo>
                  <a:lnTo>
                    <a:pt x="0" y="6"/>
                  </a:lnTo>
                  <a:lnTo>
                    <a:pt x="7" y="3"/>
                  </a:lnTo>
                  <a:lnTo>
                    <a:pt x="1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6" name="Freeform 869"/>
            <p:cNvSpPr/>
            <p:nvPr/>
          </p:nvSpPr>
          <p:spPr bwMode="auto">
            <a:xfrm>
              <a:off x="3349839" y="1638176"/>
              <a:ext cx="24574" cy="6145"/>
            </a:xfrm>
            <a:custGeom>
              <a:avLst/>
              <a:gdLst>
                <a:gd name="T0" fmla="*/ 1 w 9"/>
                <a:gd name="T1" fmla="*/ 0 h 1"/>
                <a:gd name="T2" fmla="*/ 1 w 9"/>
                <a:gd name="T3" fmla="*/ 0 h 1"/>
                <a:gd name="T4" fmla="*/ 3 w 9"/>
                <a:gd name="T5" fmla="*/ 1 h 1"/>
                <a:gd name="T6" fmla="*/ 6 w 9"/>
                <a:gd name="T7" fmla="*/ 0 h 1"/>
                <a:gd name="T8" fmla="*/ 9 w 9"/>
                <a:gd name="T9" fmla="*/ 0 h 1"/>
                <a:gd name="T10" fmla="*/ 9 w 9"/>
                <a:gd name="T11" fmla="*/ 1 h 1"/>
                <a:gd name="T12" fmla="*/ 9 w 9"/>
                <a:gd name="T13" fmla="*/ 1 h 1"/>
                <a:gd name="T14" fmla="*/ 3 w 9"/>
                <a:gd name="T15" fmla="*/ 1 h 1"/>
                <a:gd name="T16" fmla="*/ 0 w 9"/>
                <a:gd name="T17" fmla="*/ 1 h 1"/>
                <a:gd name="T18" fmla="*/ 1 w 9"/>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
                  <a:moveTo>
                    <a:pt x="1" y="0"/>
                  </a:moveTo>
                  <a:lnTo>
                    <a:pt x="1" y="0"/>
                  </a:lnTo>
                  <a:lnTo>
                    <a:pt x="3" y="1"/>
                  </a:lnTo>
                  <a:lnTo>
                    <a:pt x="6" y="0"/>
                  </a:lnTo>
                  <a:lnTo>
                    <a:pt x="9" y="0"/>
                  </a:lnTo>
                  <a:lnTo>
                    <a:pt x="9" y="1"/>
                  </a:lnTo>
                  <a:lnTo>
                    <a:pt x="9" y="1"/>
                  </a:lnTo>
                  <a:lnTo>
                    <a:pt x="3" y="1"/>
                  </a:lnTo>
                  <a:lnTo>
                    <a:pt x="0" y="1"/>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7" name="Freeform 870"/>
            <p:cNvSpPr/>
            <p:nvPr/>
          </p:nvSpPr>
          <p:spPr bwMode="auto">
            <a:xfrm>
              <a:off x="3239255" y="1613601"/>
              <a:ext cx="36861" cy="12287"/>
            </a:xfrm>
            <a:custGeom>
              <a:avLst/>
              <a:gdLst>
                <a:gd name="T0" fmla="*/ 13 w 13"/>
                <a:gd name="T1" fmla="*/ 0 h 3"/>
                <a:gd name="T2" fmla="*/ 13 w 13"/>
                <a:gd name="T3" fmla="*/ 0 h 3"/>
                <a:gd name="T4" fmla="*/ 0 w 13"/>
                <a:gd name="T5" fmla="*/ 3 h 3"/>
                <a:gd name="T6" fmla="*/ 0 w 13"/>
                <a:gd name="T7" fmla="*/ 3 h 3"/>
                <a:gd name="T8" fmla="*/ 7 w 13"/>
                <a:gd name="T9" fmla="*/ 0 h 3"/>
                <a:gd name="T10" fmla="*/ 12 w 13"/>
                <a:gd name="T11" fmla="*/ 0 h 3"/>
                <a:gd name="T12" fmla="*/ 13 w 1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3" h="3">
                  <a:moveTo>
                    <a:pt x="13" y="0"/>
                  </a:moveTo>
                  <a:lnTo>
                    <a:pt x="13" y="0"/>
                  </a:lnTo>
                  <a:lnTo>
                    <a:pt x="0" y="3"/>
                  </a:lnTo>
                  <a:lnTo>
                    <a:pt x="0" y="3"/>
                  </a:lnTo>
                  <a:lnTo>
                    <a:pt x="7" y="0"/>
                  </a:lnTo>
                  <a:lnTo>
                    <a:pt x="12" y="0"/>
                  </a:lnTo>
                  <a:lnTo>
                    <a:pt x="1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8" name="Freeform 871"/>
            <p:cNvSpPr/>
            <p:nvPr/>
          </p:nvSpPr>
          <p:spPr bwMode="auto">
            <a:xfrm>
              <a:off x="3110242" y="1595172"/>
              <a:ext cx="36861" cy="12287"/>
            </a:xfrm>
            <a:custGeom>
              <a:avLst/>
              <a:gdLst>
                <a:gd name="T0" fmla="*/ 13 w 13"/>
                <a:gd name="T1" fmla="*/ 0 h 3"/>
                <a:gd name="T2" fmla="*/ 13 w 13"/>
                <a:gd name="T3" fmla="*/ 0 h 3"/>
                <a:gd name="T4" fmla="*/ 10 w 13"/>
                <a:gd name="T5" fmla="*/ 2 h 3"/>
                <a:gd name="T6" fmla="*/ 10 w 13"/>
                <a:gd name="T7" fmla="*/ 2 h 3"/>
                <a:gd name="T8" fmla="*/ 4 w 13"/>
                <a:gd name="T9" fmla="*/ 3 h 3"/>
                <a:gd name="T10" fmla="*/ 0 w 13"/>
                <a:gd name="T11" fmla="*/ 3 h 3"/>
                <a:gd name="T12" fmla="*/ 0 w 13"/>
                <a:gd name="T13" fmla="*/ 3 h 3"/>
                <a:gd name="T14" fmla="*/ 0 w 13"/>
                <a:gd name="T15" fmla="*/ 3 h 3"/>
                <a:gd name="T16" fmla="*/ 6 w 13"/>
                <a:gd name="T17" fmla="*/ 2 h 3"/>
                <a:gd name="T18" fmla="*/ 9 w 13"/>
                <a:gd name="T19" fmla="*/ 0 h 3"/>
                <a:gd name="T20" fmla="*/ 13 w 13"/>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
                  <a:moveTo>
                    <a:pt x="13" y="0"/>
                  </a:moveTo>
                  <a:lnTo>
                    <a:pt x="13" y="0"/>
                  </a:lnTo>
                  <a:lnTo>
                    <a:pt x="10" y="2"/>
                  </a:lnTo>
                  <a:lnTo>
                    <a:pt x="10" y="2"/>
                  </a:lnTo>
                  <a:lnTo>
                    <a:pt x="4" y="3"/>
                  </a:lnTo>
                  <a:lnTo>
                    <a:pt x="0" y="3"/>
                  </a:lnTo>
                  <a:lnTo>
                    <a:pt x="0" y="3"/>
                  </a:lnTo>
                  <a:lnTo>
                    <a:pt x="0" y="3"/>
                  </a:lnTo>
                  <a:lnTo>
                    <a:pt x="6" y="2"/>
                  </a:lnTo>
                  <a:lnTo>
                    <a:pt x="9" y="0"/>
                  </a:lnTo>
                  <a:lnTo>
                    <a:pt x="1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9" name="Freeform 872"/>
            <p:cNvSpPr/>
            <p:nvPr/>
          </p:nvSpPr>
          <p:spPr bwMode="auto">
            <a:xfrm>
              <a:off x="3380558" y="1632033"/>
              <a:ext cx="116729" cy="12287"/>
            </a:xfrm>
            <a:custGeom>
              <a:avLst/>
              <a:gdLst>
                <a:gd name="T0" fmla="*/ 38 w 38"/>
                <a:gd name="T1" fmla="*/ 0 h 4"/>
                <a:gd name="T2" fmla="*/ 38 w 38"/>
                <a:gd name="T3" fmla="*/ 0 h 4"/>
                <a:gd name="T4" fmla="*/ 25 w 38"/>
                <a:gd name="T5" fmla="*/ 1 h 4"/>
                <a:gd name="T6" fmla="*/ 25 w 38"/>
                <a:gd name="T7" fmla="*/ 1 h 4"/>
                <a:gd name="T8" fmla="*/ 16 w 38"/>
                <a:gd name="T9" fmla="*/ 1 h 4"/>
                <a:gd name="T10" fmla="*/ 16 w 38"/>
                <a:gd name="T11" fmla="*/ 1 h 4"/>
                <a:gd name="T12" fmla="*/ 10 w 38"/>
                <a:gd name="T13" fmla="*/ 3 h 4"/>
                <a:gd name="T14" fmla="*/ 10 w 38"/>
                <a:gd name="T15" fmla="*/ 3 h 4"/>
                <a:gd name="T16" fmla="*/ 12 w 38"/>
                <a:gd name="T17" fmla="*/ 3 h 4"/>
                <a:gd name="T18" fmla="*/ 12 w 38"/>
                <a:gd name="T19" fmla="*/ 4 h 4"/>
                <a:gd name="T20" fmla="*/ 10 w 38"/>
                <a:gd name="T21" fmla="*/ 4 h 4"/>
                <a:gd name="T22" fmla="*/ 10 w 38"/>
                <a:gd name="T23" fmla="*/ 4 h 4"/>
                <a:gd name="T24" fmla="*/ 9 w 38"/>
                <a:gd name="T25" fmla="*/ 3 h 4"/>
                <a:gd name="T26" fmla="*/ 8 w 38"/>
                <a:gd name="T27" fmla="*/ 3 h 4"/>
                <a:gd name="T28" fmla="*/ 0 w 38"/>
                <a:gd name="T29" fmla="*/ 3 h 4"/>
                <a:gd name="T30" fmla="*/ 0 w 38"/>
                <a:gd name="T31" fmla="*/ 3 h 4"/>
                <a:gd name="T32" fmla="*/ 5 w 38"/>
                <a:gd name="T33" fmla="*/ 1 h 4"/>
                <a:gd name="T34" fmla="*/ 6 w 38"/>
                <a:gd name="T35" fmla="*/ 1 h 4"/>
                <a:gd name="T36" fmla="*/ 6 w 38"/>
                <a:gd name="T37" fmla="*/ 0 h 4"/>
                <a:gd name="T38" fmla="*/ 6 w 38"/>
                <a:gd name="T39" fmla="*/ 0 h 4"/>
                <a:gd name="T40" fmla="*/ 12 w 38"/>
                <a:gd name="T41" fmla="*/ 0 h 4"/>
                <a:gd name="T42" fmla="*/ 12 w 38"/>
                <a:gd name="T43" fmla="*/ 0 h 4"/>
                <a:gd name="T44" fmla="*/ 20 w 38"/>
                <a:gd name="T45" fmla="*/ 0 h 4"/>
                <a:gd name="T46" fmla="*/ 20 w 38"/>
                <a:gd name="T47" fmla="*/ 0 h 4"/>
                <a:gd name="T48" fmla="*/ 29 w 38"/>
                <a:gd name="T49" fmla="*/ 0 h 4"/>
                <a:gd name="T50" fmla="*/ 38 w 38"/>
                <a:gd name="T5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4">
                  <a:moveTo>
                    <a:pt x="38" y="0"/>
                  </a:moveTo>
                  <a:lnTo>
                    <a:pt x="38" y="0"/>
                  </a:lnTo>
                  <a:lnTo>
                    <a:pt x="25" y="1"/>
                  </a:lnTo>
                  <a:lnTo>
                    <a:pt x="25" y="1"/>
                  </a:lnTo>
                  <a:lnTo>
                    <a:pt x="16" y="1"/>
                  </a:lnTo>
                  <a:lnTo>
                    <a:pt x="16" y="1"/>
                  </a:lnTo>
                  <a:lnTo>
                    <a:pt x="10" y="3"/>
                  </a:lnTo>
                  <a:lnTo>
                    <a:pt x="10" y="3"/>
                  </a:lnTo>
                  <a:lnTo>
                    <a:pt x="12" y="3"/>
                  </a:lnTo>
                  <a:lnTo>
                    <a:pt x="12" y="4"/>
                  </a:lnTo>
                  <a:lnTo>
                    <a:pt x="10" y="4"/>
                  </a:lnTo>
                  <a:lnTo>
                    <a:pt x="10" y="4"/>
                  </a:lnTo>
                  <a:lnTo>
                    <a:pt x="9" y="3"/>
                  </a:lnTo>
                  <a:lnTo>
                    <a:pt x="8" y="3"/>
                  </a:lnTo>
                  <a:lnTo>
                    <a:pt x="0" y="3"/>
                  </a:lnTo>
                  <a:lnTo>
                    <a:pt x="0" y="3"/>
                  </a:lnTo>
                  <a:lnTo>
                    <a:pt x="5" y="1"/>
                  </a:lnTo>
                  <a:lnTo>
                    <a:pt x="6" y="1"/>
                  </a:lnTo>
                  <a:lnTo>
                    <a:pt x="6" y="0"/>
                  </a:lnTo>
                  <a:lnTo>
                    <a:pt x="6" y="0"/>
                  </a:lnTo>
                  <a:lnTo>
                    <a:pt x="12" y="0"/>
                  </a:lnTo>
                  <a:lnTo>
                    <a:pt x="12" y="0"/>
                  </a:lnTo>
                  <a:lnTo>
                    <a:pt x="20" y="0"/>
                  </a:lnTo>
                  <a:lnTo>
                    <a:pt x="20" y="0"/>
                  </a:lnTo>
                  <a:lnTo>
                    <a:pt x="29" y="0"/>
                  </a:lnTo>
                  <a:lnTo>
                    <a:pt x="38"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0" name="Freeform 873"/>
            <p:cNvSpPr/>
            <p:nvPr/>
          </p:nvSpPr>
          <p:spPr bwMode="auto">
            <a:xfrm>
              <a:off x="4179216" y="2068222"/>
              <a:ext cx="24574" cy="12287"/>
            </a:xfrm>
            <a:custGeom>
              <a:avLst/>
              <a:gdLst>
                <a:gd name="T0" fmla="*/ 9 w 9"/>
                <a:gd name="T1" fmla="*/ 4 h 4"/>
                <a:gd name="T2" fmla="*/ 9 w 9"/>
                <a:gd name="T3" fmla="*/ 4 h 4"/>
                <a:gd name="T4" fmla="*/ 3 w 9"/>
                <a:gd name="T5" fmla="*/ 3 h 4"/>
                <a:gd name="T6" fmla="*/ 1 w 9"/>
                <a:gd name="T7" fmla="*/ 2 h 4"/>
                <a:gd name="T8" fmla="*/ 0 w 9"/>
                <a:gd name="T9" fmla="*/ 0 h 4"/>
                <a:gd name="T10" fmla="*/ 0 w 9"/>
                <a:gd name="T11" fmla="*/ 0 h 4"/>
                <a:gd name="T12" fmla="*/ 6 w 9"/>
                <a:gd name="T13" fmla="*/ 2 h 4"/>
                <a:gd name="T14" fmla="*/ 7 w 9"/>
                <a:gd name="T15" fmla="*/ 3 h 4"/>
                <a:gd name="T16" fmla="*/ 9 w 9"/>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
                  <a:moveTo>
                    <a:pt x="9" y="4"/>
                  </a:moveTo>
                  <a:lnTo>
                    <a:pt x="9" y="4"/>
                  </a:lnTo>
                  <a:lnTo>
                    <a:pt x="3" y="3"/>
                  </a:lnTo>
                  <a:lnTo>
                    <a:pt x="1" y="2"/>
                  </a:lnTo>
                  <a:lnTo>
                    <a:pt x="0" y="0"/>
                  </a:lnTo>
                  <a:lnTo>
                    <a:pt x="0" y="0"/>
                  </a:lnTo>
                  <a:lnTo>
                    <a:pt x="6" y="2"/>
                  </a:lnTo>
                  <a:lnTo>
                    <a:pt x="7" y="3"/>
                  </a:lnTo>
                  <a:lnTo>
                    <a:pt x="9"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1" name="Freeform 874"/>
            <p:cNvSpPr/>
            <p:nvPr/>
          </p:nvSpPr>
          <p:spPr bwMode="auto">
            <a:xfrm>
              <a:off x="3743023" y="1754904"/>
              <a:ext cx="49148" cy="6145"/>
            </a:xfrm>
            <a:custGeom>
              <a:avLst/>
              <a:gdLst>
                <a:gd name="T0" fmla="*/ 7 w 14"/>
                <a:gd name="T1" fmla="*/ 0 h 3"/>
                <a:gd name="T2" fmla="*/ 7 w 14"/>
                <a:gd name="T3" fmla="*/ 0 h 3"/>
                <a:gd name="T4" fmla="*/ 10 w 14"/>
                <a:gd name="T5" fmla="*/ 0 h 3"/>
                <a:gd name="T6" fmla="*/ 14 w 14"/>
                <a:gd name="T7" fmla="*/ 0 h 3"/>
                <a:gd name="T8" fmla="*/ 14 w 14"/>
                <a:gd name="T9" fmla="*/ 0 h 3"/>
                <a:gd name="T10" fmla="*/ 14 w 14"/>
                <a:gd name="T11" fmla="*/ 1 h 3"/>
                <a:gd name="T12" fmla="*/ 14 w 14"/>
                <a:gd name="T13" fmla="*/ 1 h 3"/>
                <a:gd name="T14" fmla="*/ 10 w 14"/>
                <a:gd name="T15" fmla="*/ 3 h 3"/>
                <a:gd name="T16" fmla="*/ 10 w 14"/>
                <a:gd name="T17" fmla="*/ 3 h 3"/>
                <a:gd name="T18" fmla="*/ 0 w 14"/>
                <a:gd name="T19" fmla="*/ 1 h 3"/>
                <a:gd name="T20" fmla="*/ 0 w 14"/>
                <a:gd name="T21" fmla="*/ 1 h 3"/>
                <a:gd name="T22" fmla="*/ 6 w 14"/>
                <a:gd name="T23" fmla="*/ 1 h 3"/>
                <a:gd name="T24" fmla="*/ 6 w 14"/>
                <a:gd name="T25" fmla="*/ 1 h 3"/>
                <a:gd name="T26" fmla="*/ 7 w 14"/>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3">
                  <a:moveTo>
                    <a:pt x="7" y="0"/>
                  </a:moveTo>
                  <a:lnTo>
                    <a:pt x="7" y="0"/>
                  </a:lnTo>
                  <a:lnTo>
                    <a:pt x="10" y="0"/>
                  </a:lnTo>
                  <a:lnTo>
                    <a:pt x="14" y="0"/>
                  </a:lnTo>
                  <a:lnTo>
                    <a:pt x="14" y="0"/>
                  </a:lnTo>
                  <a:lnTo>
                    <a:pt x="14" y="1"/>
                  </a:lnTo>
                  <a:lnTo>
                    <a:pt x="14" y="1"/>
                  </a:lnTo>
                  <a:lnTo>
                    <a:pt x="10" y="3"/>
                  </a:lnTo>
                  <a:lnTo>
                    <a:pt x="10" y="3"/>
                  </a:lnTo>
                  <a:lnTo>
                    <a:pt x="0" y="1"/>
                  </a:lnTo>
                  <a:lnTo>
                    <a:pt x="0" y="1"/>
                  </a:lnTo>
                  <a:lnTo>
                    <a:pt x="6" y="1"/>
                  </a:lnTo>
                  <a:lnTo>
                    <a:pt x="6" y="1"/>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2" name="Freeform 875"/>
            <p:cNvSpPr/>
            <p:nvPr/>
          </p:nvSpPr>
          <p:spPr bwMode="auto">
            <a:xfrm>
              <a:off x="3153245" y="1589028"/>
              <a:ext cx="67581" cy="6145"/>
            </a:xfrm>
            <a:custGeom>
              <a:avLst/>
              <a:gdLst>
                <a:gd name="T0" fmla="*/ 22 w 22"/>
                <a:gd name="T1" fmla="*/ 0 h 2"/>
                <a:gd name="T2" fmla="*/ 22 w 22"/>
                <a:gd name="T3" fmla="*/ 0 h 2"/>
                <a:gd name="T4" fmla="*/ 12 w 22"/>
                <a:gd name="T5" fmla="*/ 1 h 2"/>
                <a:gd name="T6" fmla="*/ 0 w 22"/>
                <a:gd name="T7" fmla="*/ 2 h 2"/>
                <a:gd name="T8" fmla="*/ 0 w 22"/>
                <a:gd name="T9" fmla="*/ 2 h 2"/>
                <a:gd name="T10" fmla="*/ 5 w 22"/>
                <a:gd name="T11" fmla="*/ 1 h 2"/>
                <a:gd name="T12" fmla="*/ 5 w 22"/>
                <a:gd name="T13" fmla="*/ 1 h 2"/>
                <a:gd name="T14" fmla="*/ 22 w 2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
                  <a:moveTo>
                    <a:pt x="22" y="0"/>
                  </a:moveTo>
                  <a:lnTo>
                    <a:pt x="22" y="0"/>
                  </a:lnTo>
                  <a:lnTo>
                    <a:pt x="12" y="1"/>
                  </a:lnTo>
                  <a:lnTo>
                    <a:pt x="0" y="2"/>
                  </a:lnTo>
                  <a:lnTo>
                    <a:pt x="0" y="2"/>
                  </a:lnTo>
                  <a:lnTo>
                    <a:pt x="5" y="1"/>
                  </a:lnTo>
                  <a:lnTo>
                    <a:pt x="5" y="1"/>
                  </a:lnTo>
                  <a:lnTo>
                    <a:pt x="2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3" name="Freeform 876"/>
            <p:cNvSpPr/>
            <p:nvPr/>
          </p:nvSpPr>
          <p:spPr bwMode="auto">
            <a:xfrm>
              <a:off x="3497283" y="1662750"/>
              <a:ext cx="49148" cy="6145"/>
            </a:xfrm>
            <a:custGeom>
              <a:avLst/>
              <a:gdLst>
                <a:gd name="T0" fmla="*/ 16 w 16"/>
                <a:gd name="T1" fmla="*/ 1 h 1"/>
                <a:gd name="T2" fmla="*/ 16 w 16"/>
                <a:gd name="T3" fmla="*/ 1 h 1"/>
                <a:gd name="T4" fmla="*/ 6 w 16"/>
                <a:gd name="T5" fmla="*/ 1 h 1"/>
                <a:gd name="T6" fmla="*/ 1 w 16"/>
                <a:gd name="T7" fmla="*/ 0 h 1"/>
                <a:gd name="T8" fmla="*/ 0 w 16"/>
                <a:gd name="T9" fmla="*/ 0 h 1"/>
                <a:gd name="T10" fmla="*/ 0 w 16"/>
                <a:gd name="T11" fmla="*/ 0 h 1"/>
                <a:gd name="T12" fmla="*/ 9 w 16"/>
                <a:gd name="T13" fmla="*/ 0 h 1"/>
                <a:gd name="T14" fmla="*/ 9 w 16"/>
                <a:gd name="T15" fmla="*/ 0 h 1"/>
                <a:gd name="T16" fmla="*/ 13 w 16"/>
                <a:gd name="T17" fmla="*/ 0 h 1"/>
                <a:gd name="T18" fmla="*/ 16 w 16"/>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
                  <a:moveTo>
                    <a:pt x="16" y="1"/>
                  </a:moveTo>
                  <a:lnTo>
                    <a:pt x="16" y="1"/>
                  </a:lnTo>
                  <a:lnTo>
                    <a:pt x="6" y="1"/>
                  </a:lnTo>
                  <a:lnTo>
                    <a:pt x="1" y="0"/>
                  </a:lnTo>
                  <a:lnTo>
                    <a:pt x="0" y="0"/>
                  </a:lnTo>
                  <a:lnTo>
                    <a:pt x="0" y="0"/>
                  </a:lnTo>
                  <a:lnTo>
                    <a:pt x="9" y="0"/>
                  </a:lnTo>
                  <a:lnTo>
                    <a:pt x="9" y="0"/>
                  </a:lnTo>
                  <a:lnTo>
                    <a:pt x="13" y="0"/>
                  </a:lnTo>
                  <a:lnTo>
                    <a:pt x="16"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4" name="Freeform 877"/>
            <p:cNvSpPr/>
            <p:nvPr/>
          </p:nvSpPr>
          <p:spPr bwMode="auto">
            <a:xfrm>
              <a:off x="3503429" y="1644320"/>
              <a:ext cx="67581" cy="12287"/>
            </a:xfrm>
            <a:custGeom>
              <a:avLst/>
              <a:gdLst>
                <a:gd name="T0" fmla="*/ 5 w 22"/>
                <a:gd name="T1" fmla="*/ 0 h 3"/>
                <a:gd name="T2" fmla="*/ 5 w 22"/>
                <a:gd name="T3" fmla="*/ 0 h 3"/>
                <a:gd name="T4" fmla="*/ 13 w 22"/>
                <a:gd name="T5" fmla="*/ 2 h 3"/>
                <a:gd name="T6" fmla="*/ 22 w 22"/>
                <a:gd name="T7" fmla="*/ 2 h 3"/>
                <a:gd name="T8" fmla="*/ 22 w 22"/>
                <a:gd name="T9" fmla="*/ 2 h 3"/>
                <a:gd name="T10" fmla="*/ 9 w 22"/>
                <a:gd name="T11" fmla="*/ 3 h 3"/>
                <a:gd name="T12" fmla="*/ 0 w 22"/>
                <a:gd name="T13" fmla="*/ 2 h 3"/>
                <a:gd name="T14" fmla="*/ 0 w 22"/>
                <a:gd name="T15" fmla="*/ 2 h 3"/>
                <a:gd name="T16" fmla="*/ 3 w 22"/>
                <a:gd name="T17" fmla="*/ 2 h 3"/>
                <a:gd name="T18" fmla="*/ 5 w 22"/>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3">
                  <a:moveTo>
                    <a:pt x="5" y="0"/>
                  </a:moveTo>
                  <a:lnTo>
                    <a:pt x="5" y="0"/>
                  </a:lnTo>
                  <a:lnTo>
                    <a:pt x="13" y="2"/>
                  </a:lnTo>
                  <a:lnTo>
                    <a:pt x="22" y="2"/>
                  </a:lnTo>
                  <a:lnTo>
                    <a:pt x="22" y="2"/>
                  </a:lnTo>
                  <a:lnTo>
                    <a:pt x="9" y="3"/>
                  </a:lnTo>
                  <a:lnTo>
                    <a:pt x="0" y="2"/>
                  </a:lnTo>
                  <a:lnTo>
                    <a:pt x="0" y="2"/>
                  </a:lnTo>
                  <a:lnTo>
                    <a:pt x="3" y="2"/>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5" name="Freeform 878"/>
            <p:cNvSpPr/>
            <p:nvPr/>
          </p:nvSpPr>
          <p:spPr bwMode="auto">
            <a:xfrm>
              <a:off x="3226969" y="1576740"/>
              <a:ext cx="24574" cy="12287"/>
            </a:xfrm>
            <a:custGeom>
              <a:avLst/>
              <a:gdLst>
                <a:gd name="T0" fmla="*/ 7 w 9"/>
                <a:gd name="T1" fmla="*/ 0 h 3"/>
                <a:gd name="T2" fmla="*/ 7 w 9"/>
                <a:gd name="T3" fmla="*/ 0 h 3"/>
                <a:gd name="T4" fmla="*/ 7 w 9"/>
                <a:gd name="T5" fmla="*/ 1 h 3"/>
                <a:gd name="T6" fmla="*/ 9 w 9"/>
                <a:gd name="T7" fmla="*/ 1 h 3"/>
                <a:gd name="T8" fmla="*/ 9 w 9"/>
                <a:gd name="T9" fmla="*/ 1 h 3"/>
                <a:gd name="T10" fmla="*/ 9 w 9"/>
                <a:gd name="T11" fmla="*/ 1 h 3"/>
                <a:gd name="T12" fmla="*/ 9 w 9"/>
                <a:gd name="T13" fmla="*/ 1 h 3"/>
                <a:gd name="T14" fmla="*/ 4 w 9"/>
                <a:gd name="T15" fmla="*/ 3 h 3"/>
                <a:gd name="T16" fmla="*/ 0 w 9"/>
                <a:gd name="T17" fmla="*/ 3 h 3"/>
                <a:gd name="T18" fmla="*/ 0 w 9"/>
                <a:gd name="T19" fmla="*/ 3 h 3"/>
                <a:gd name="T20" fmla="*/ 3 w 9"/>
                <a:gd name="T21" fmla="*/ 1 h 3"/>
                <a:gd name="T22" fmla="*/ 7 w 9"/>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3">
                  <a:moveTo>
                    <a:pt x="7" y="0"/>
                  </a:moveTo>
                  <a:lnTo>
                    <a:pt x="7" y="0"/>
                  </a:lnTo>
                  <a:lnTo>
                    <a:pt x="7" y="1"/>
                  </a:lnTo>
                  <a:lnTo>
                    <a:pt x="9" y="1"/>
                  </a:lnTo>
                  <a:lnTo>
                    <a:pt x="9" y="1"/>
                  </a:lnTo>
                  <a:lnTo>
                    <a:pt x="9" y="1"/>
                  </a:lnTo>
                  <a:lnTo>
                    <a:pt x="9" y="1"/>
                  </a:lnTo>
                  <a:lnTo>
                    <a:pt x="4" y="3"/>
                  </a:lnTo>
                  <a:lnTo>
                    <a:pt x="0" y="3"/>
                  </a:lnTo>
                  <a:lnTo>
                    <a:pt x="0" y="3"/>
                  </a:lnTo>
                  <a:lnTo>
                    <a:pt x="3" y="1"/>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6" name="Freeform 879"/>
            <p:cNvSpPr/>
            <p:nvPr/>
          </p:nvSpPr>
          <p:spPr bwMode="auto">
            <a:xfrm>
              <a:off x="3282262" y="1576740"/>
              <a:ext cx="36861" cy="6145"/>
            </a:xfrm>
            <a:custGeom>
              <a:avLst/>
              <a:gdLst>
                <a:gd name="T0" fmla="*/ 11 w 11"/>
                <a:gd name="T1" fmla="*/ 0 h 3"/>
                <a:gd name="T2" fmla="*/ 11 w 11"/>
                <a:gd name="T3" fmla="*/ 0 h 3"/>
                <a:gd name="T4" fmla="*/ 5 w 11"/>
                <a:gd name="T5" fmla="*/ 2 h 3"/>
                <a:gd name="T6" fmla="*/ 0 w 11"/>
                <a:gd name="T7" fmla="*/ 3 h 3"/>
                <a:gd name="T8" fmla="*/ 0 w 11"/>
                <a:gd name="T9" fmla="*/ 3 h 3"/>
                <a:gd name="T10" fmla="*/ 5 w 11"/>
                <a:gd name="T11" fmla="*/ 0 h 3"/>
                <a:gd name="T12" fmla="*/ 11 w 1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1" h="3">
                  <a:moveTo>
                    <a:pt x="11" y="0"/>
                  </a:moveTo>
                  <a:lnTo>
                    <a:pt x="11" y="0"/>
                  </a:lnTo>
                  <a:lnTo>
                    <a:pt x="5" y="2"/>
                  </a:lnTo>
                  <a:lnTo>
                    <a:pt x="0" y="3"/>
                  </a:lnTo>
                  <a:lnTo>
                    <a:pt x="0" y="3"/>
                  </a:lnTo>
                  <a:lnTo>
                    <a:pt x="5" y="0"/>
                  </a:lnTo>
                  <a:lnTo>
                    <a:pt x="1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7" name="Freeform 880"/>
            <p:cNvSpPr/>
            <p:nvPr/>
          </p:nvSpPr>
          <p:spPr bwMode="auto">
            <a:xfrm>
              <a:off x="3521856" y="1632033"/>
              <a:ext cx="36861" cy="6145"/>
            </a:xfrm>
            <a:custGeom>
              <a:avLst/>
              <a:gdLst>
                <a:gd name="T0" fmla="*/ 0 w 11"/>
                <a:gd name="T1" fmla="*/ 0 h 3"/>
                <a:gd name="T2" fmla="*/ 0 w 11"/>
                <a:gd name="T3" fmla="*/ 0 h 3"/>
                <a:gd name="T4" fmla="*/ 4 w 11"/>
                <a:gd name="T5" fmla="*/ 0 h 3"/>
                <a:gd name="T6" fmla="*/ 7 w 11"/>
                <a:gd name="T7" fmla="*/ 0 h 3"/>
                <a:gd name="T8" fmla="*/ 11 w 11"/>
                <a:gd name="T9" fmla="*/ 1 h 3"/>
                <a:gd name="T10" fmla="*/ 11 w 11"/>
                <a:gd name="T11" fmla="*/ 1 h 3"/>
                <a:gd name="T12" fmla="*/ 9 w 11"/>
                <a:gd name="T13" fmla="*/ 3 h 3"/>
                <a:gd name="T14" fmla="*/ 9 w 11"/>
                <a:gd name="T15" fmla="*/ 3 h 3"/>
                <a:gd name="T16" fmla="*/ 6 w 11"/>
                <a:gd name="T17" fmla="*/ 3 h 3"/>
                <a:gd name="T18" fmla="*/ 6 w 11"/>
                <a:gd name="T19" fmla="*/ 3 h 3"/>
                <a:gd name="T20" fmla="*/ 7 w 11"/>
                <a:gd name="T21" fmla="*/ 1 h 3"/>
                <a:gd name="T22" fmla="*/ 6 w 11"/>
                <a:gd name="T23" fmla="*/ 1 h 3"/>
                <a:gd name="T24" fmla="*/ 0 w 11"/>
                <a:gd name="T2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3">
                  <a:moveTo>
                    <a:pt x="0" y="0"/>
                  </a:moveTo>
                  <a:lnTo>
                    <a:pt x="0" y="0"/>
                  </a:lnTo>
                  <a:lnTo>
                    <a:pt x="4" y="0"/>
                  </a:lnTo>
                  <a:lnTo>
                    <a:pt x="7" y="0"/>
                  </a:lnTo>
                  <a:lnTo>
                    <a:pt x="11" y="1"/>
                  </a:lnTo>
                  <a:lnTo>
                    <a:pt x="11" y="1"/>
                  </a:lnTo>
                  <a:lnTo>
                    <a:pt x="9" y="3"/>
                  </a:lnTo>
                  <a:lnTo>
                    <a:pt x="9" y="3"/>
                  </a:lnTo>
                  <a:lnTo>
                    <a:pt x="6" y="3"/>
                  </a:lnTo>
                  <a:lnTo>
                    <a:pt x="6" y="3"/>
                  </a:lnTo>
                  <a:lnTo>
                    <a:pt x="7" y="1"/>
                  </a:lnTo>
                  <a:lnTo>
                    <a:pt x="6"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8" name="Freeform 881"/>
            <p:cNvSpPr/>
            <p:nvPr/>
          </p:nvSpPr>
          <p:spPr bwMode="auto">
            <a:xfrm>
              <a:off x="3276116" y="1564454"/>
              <a:ext cx="61435" cy="12287"/>
            </a:xfrm>
            <a:custGeom>
              <a:avLst/>
              <a:gdLst>
                <a:gd name="T0" fmla="*/ 2 w 20"/>
                <a:gd name="T1" fmla="*/ 1 h 4"/>
                <a:gd name="T2" fmla="*/ 2 w 20"/>
                <a:gd name="T3" fmla="*/ 1 h 4"/>
                <a:gd name="T4" fmla="*/ 10 w 20"/>
                <a:gd name="T5" fmla="*/ 0 h 4"/>
                <a:gd name="T6" fmla="*/ 10 w 20"/>
                <a:gd name="T7" fmla="*/ 0 h 4"/>
                <a:gd name="T8" fmla="*/ 16 w 20"/>
                <a:gd name="T9" fmla="*/ 0 h 4"/>
                <a:gd name="T10" fmla="*/ 16 w 20"/>
                <a:gd name="T11" fmla="*/ 0 h 4"/>
                <a:gd name="T12" fmla="*/ 20 w 20"/>
                <a:gd name="T13" fmla="*/ 0 h 4"/>
                <a:gd name="T14" fmla="*/ 20 w 20"/>
                <a:gd name="T15" fmla="*/ 0 h 4"/>
                <a:gd name="T16" fmla="*/ 16 w 20"/>
                <a:gd name="T17" fmla="*/ 0 h 4"/>
                <a:gd name="T18" fmla="*/ 14 w 20"/>
                <a:gd name="T19" fmla="*/ 1 h 4"/>
                <a:gd name="T20" fmla="*/ 13 w 20"/>
                <a:gd name="T21" fmla="*/ 3 h 4"/>
                <a:gd name="T22" fmla="*/ 10 w 20"/>
                <a:gd name="T23" fmla="*/ 3 h 4"/>
                <a:gd name="T24" fmla="*/ 10 w 20"/>
                <a:gd name="T25" fmla="*/ 3 h 4"/>
                <a:gd name="T26" fmla="*/ 7 w 20"/>
                <a:gd name="T27" fmla="*/ 3 h 4"/>
                <a:gd name="T28" fmla="*/ 7 w 20"/>
                <a:gd name="T29" fmla="*/ 1 h 4"/>
                <a:gd name="T30" fmla="*/ 7 w 20"/>
                <a:gd name="T31" fmla="*/ 1 h 4"/>
                <a:gd name="T32" fmla="*/ 6 w 20"/>
                <a:gd name="T33" fmla="*/ 1 h 4"/>
                <a:gd name="T34" fmla="*/ 6 w 20"/>
                <a:gd name="T35" fmla="*/ 1 h 4"/>
                <a:gd name="T36" fmla="*/ 4 w 20"/>
                <a:gd name="T37" fmla="*/ 3 h 4"/>
                <a:gd name="T38" fmla="*/ 2 w 20"/>
                <a:gd name="T39" fmla="*/ 4 h 4"/>
                <a:gd name="T40" fmla="*/ 2 w 20"/>
                <a:gd name="T41" fmla="*/ 4 h 4"/>
                <a:gd name="T42" fmla="*/ 0 w 20"/>
                <a:gd name="T43" fmla="*/ 3 h 4"/>
                <a:gd name="T44" fmla="*/ 0 w 20"/>
                <a:gd name="T45" fmla="*/ 3 h 4"/>
                <a:gd name="T46" fmla="*/ 2 w 20"/>
                <a:gd name="T4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
                  <a:moveTo>
                    <a:pt x="2" y="1"/>
                  </a:moveTo>
                  <a:lnTo>
                    <a:pt x="2" y="1"/>
                  </a:lnTo>
                  <a:lnTo>
                    <a:pt x="10" y="0"/>
                  </a:lnTo>
                  <a:lnTo>
                    <a:pt x="10" y="0"/>
                  </a:lnTo>
                  <a:lnTo>
                    <a:pt x="16" y="0"/>
                  </a:lnTo>
                  <a:lnTo>
                    <a:pt x="16" y="0"/>
                  </a:lnTo>
                  <a:lnTo>
                    <a:pt x="20" y="0"/>
                  </a:lnTo>
                  <a:lnTo>
                    <a:pt x="20" y="0"/>
                  </a:lnTo>
                  <a:lnTo>
                    <a:pt x="16" y="0"/>
                  </a:lnTo>
                  <a:lnTo>
                    <a:pt x="14" y="1"/>
                  </a:lnTo>
                  <a:lnTo>
                    <a:pt x="13" y="3"/>
                  </a:lnTo>
                  <a:lnTo>
                    <a:pt x="10" y="3"/>
                  </a:lnTo>
                  <a:lnTo>
                    <a:pt x="10" y="3"/>
                  </a:lnTo>
                  <a:lnTo>
                    <a:pt x="7" y="3"/>
                  </a:lnTo>
                  <a:lnTo>
                    <a:pt x="7" y="1"/>
                  </a:lnTo>
                  <a:lnTo>
                    <a:pt x="7" y="1"/>
                  </a:lnTo>
                  <a:lnTo>
                    <a:pt x="6" y="1"/>
                  </a:lnTo>
                  <a:lnTo>
                    <a:pt x="6" y="1"/>
                  </a:lnTo>
                  <a:lnTo>
                    <a:pt x="4" y="3"/>
                  </a:lnTo>
                  <a:lnTo>
                    <a:pt x="2" y="4"/>
                  </a:lnTo>
                  <a:lnTo>
                    <a:pt x="2" y="4"/>
                  </a:lnTo>
                  <a:lnTo>
                    <a:pt x="0" y="3"/>
                  </a:lnTo>
                  <a:lnTo>
                    <a:pt x="0" y="3"/>
                  </a:lnTo>
                  <a:lnTo>
                    <a:pt x="2"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9" name="Freeform 882"/>
            <p:cNvSpPr/>
            <p:nvPr/>
          </p:nvSpPr>
          <p:spPr bwMode="auto">
            <a:xfrm>
              <a:off x="3319123" y="1570599"/>
              <a:ext cx="43007" cy="6145"/>
            </a:xfrm>
            <a:custGeom>
              <a:avLst/>
              <a:gdLst>
                <a:gd name="T0" fmla="*/ 15 w 15"/>
                <a:gd name="T1" fmla="*/ 0 h 3"/>
                <a:gd name="T2" fmla="*/ 15 w 15"/>
                <a:gd name="T3" fmla="*/ 0 h 3"/>
                <a:gd name="T4" fmla="*/ 10 w 15"/>
                <a:gd name="T5" fmla="*/ 3 h 3"/>
                <a:gd name="T6" fmla="*/ 10 w 15"/>
                <a:gd name="T7" fmla="*/ 3 h 3"/>
                <a:gd name="T8" fmla="*/ 6 w 15"/>
                <a:gd name="T9" fmla="*/ 1 h 3"/>
                <a:gd name="T10" fmla="*/ 0 w 15"/>
                <a:gd name="T11" fmla="*/ 1 h 3"/>
                <a:gd name="T12" fmla="*/ 0 w 15"/>
                <a:gd name="T13" fmla="*/ 1 h 3"/>
                <a:gd name="T14" fmla="*/ 3 w 15"/>
                <a:gd name="T15" fmla="*/ 1 h 3"/>
                <a:gd name="T16" fmla="*/ 3 w 15"/>
                <a:gd name="T17" fmla="*/ 1 h 3"/>
                <a:gd name="T18" fmla="*/ 8 w 15"/>
                <a:gd name="T19" fmla="*/ 1 h 3"/>
                <a:gd name="T20" fmla="*/ 15 w 15"/>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3">
                  <a:moveTo>
                    <a:pt x="15" y="0"/>
                  </a:moveTo>
                  <a:lnTo>
                    <a:pt x="15" y="0"/>
                  </a:lnTo>
                  <a:lnTo>
                    <a:pt x="10" y="3"/>
                  </a:lnTo>
                  <a:lnTo>
                    <a:pt x="10" y="3"/>
                  </a:lnTo>
                  <a:lnTo>
                    <a:pt x="6" y="1"/>
                  </a:lnTo>
                  <a:lnTo>
                    <a:pt x="0" y="1"/>
                  </a:lnTo>
                  <a:lnTo>
                    <a:pt x="0" y="1"/>
                  </a:lnTo>
                  <a:lnTo>
                    <a:pt x="3" y="1"/>
                  </a:lnTo>
                  <a:lnTo>
                    <a:pt x="3" y="1"/>
                  </a:lnTo>
                  <a:lnTo>
                    <a:pt x="8" y="1"/>
                  </a:lnTo>
                  <a:lnTo>
                    <a:pt x="1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0" name="Freeform 883"/>
            <p:cNvSpPr/>
            <p:nvPr/>
          </p:nvSpPr>
          <p:spPr bwMode="auto">
            <a:xfrm>
              <a:off x="3583293" y="1638176"/>
              <a:ext cx="55294" cy="0"/>
            </a:xfrm>
            <a:custGeom>
              <a:avLst/>
              <a:gdLst>
                <a:gd name="T0" fmla="*/ 17 w 17"/>
                <a:gd name="T1" fmla="*/ 2 h 2"/>
                <a:gd name="T2" fmla="*/ 17 w 17"/>
                <a:gd name="T3" fmla="*/ 2 h 2"/>
                <a:gd name="T4" fmla="*/ 6 w 17"/>
                <a:gd name="T5" fmla="*/ 2 h 2"/>
                <a:gd name="T6" fmla="*/ 6 w 17"/>
                <a:gd name="T7" fmla="*/ 2 h 2"/>
                <a:gd name="T8" fmla="*/ 1 w 17"/>
                <a:gd name="T9" fmla="*/ 2 h 2"/>
                <a:gd name="T10" fmla="*/ 0 w 17"/>
                <a:gd name="T11" fmla="*/ 0 h 2"/>
                <a:gd name="T12" fmla="*/ 0 w 17"/>
                <a:gd name="T13" fmla="*/ 0 h 2"/>
                <a:gd name="T14" fmla="*/ 0 w 17"/>
                <a:gd name="T15" fmla="*/ 0 h 2"/>
                <a:gd name="T16" fmla="*/ 4 w 17"/>
                <a:gd name="T17" fmla="*/ 0 h 2"/>
                <a:gd name="T18" fmla="*/ 4 w 17"/>
                <a:gd name="T19" fmla="*/ 0 h 2"/>
                <a:gd name="T20" fmla="*/ 9 w 17"/>
                <a:gd name="T21" fmla="*/ 0 h 2"/>
                <a:gd name="T22" fmla="*/ 9 w 17"/>
                <a:gd name="T23" fmla="*/ 0 h 2"/>
                <a:gd name="T24" fmla="*/ 13 w 17"/>
                <a:gd name="T25" fmla="*/ 0 h 2"/>
                <a:gd name="T26" fmla="*/ 17 w 17"/>
                <a:gd name="T2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2">
                  <a:moveTo>
                    <a:pt x="17" y="2"/>
                  </a:moveTo>
                  <a:lnTo>
                    <a:pt x="17" y="2"/>
                  </a:lnTo>
                  <a:lnTo>
                    <a:pt x="6" y="2"/>
                  </a:lnTo>
                  <a:lnTo>
                    <a:pt x="6" y="2"/>
                  </a:lnTo>
                  <a:lnTo>
                    <a:pt x="1" y="2"/>
                  </a:lnTo>
                  <a:lnTo>
                    <a:pt x="0" y="0"/>
                  </a:lnTo>
                  <a:lnTo>
                    <a:pt x="0" y="0"/>
                  </a:lnTo>
                  <a:lnTo>
                    <a:pt x="0" y="0"/>
                  </a:lnTo>
                  <a:lnTo>
                    <a:pt x="4" y="0"/>
                  </a:lnTo>
                  <a:lnTo>
                    <a:pt x="4" y="0"/>
                  </a:lnTo>
                  <a:lnTo>
                    <a:pt x="9" y="0"/>
                  </a:lnTo>
                  <a:lnTo>
                    <a:pt x="9" y="0"/>
                  </a:lnTo>
                  <a:lnTo>
                    <a:pt x="13" y="0"/>
                  </a:lnTo>
                  <a:lnTo>
                    <a:pt x="17"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1" name="Freeform 884"/>
            <p:cNvSpPr/>
            <p:nvPr/>
          </p:nvSpPr>
          <p:spPr bwMode="auto">
            <a:xfrm>
              <a:off x="3712309" y="1662751"/>
              <a:ext cx="24574" cy="0"/>
            </a:xfrm>
            <a:custGeom>
              <a:avLst/>
              <a:gdLst>
                <a:gd name="T0" fmla="*/ 9 w 9"/>
                <a:gd name="T1" fmla="*/ 9 w 9"/>
                <a:gd name="T2" fmla="*/ 5 w 9"/>
                <a:gd name="T3" fmla="*/ 0 w 9"/>
                <a:gd name="T4" fmla="*/ 0 w 9"/>
                <a:gd name="T5" fmla="*/ 3 w 9"/>
                <a:gd name="T6" fmla="*/ 9 w 9"/>
              </a:gdLst>
              <a:ahLst/>
              <a:cxnLst>
                <a:cxn ang="0">
                  <a:pos x="T0" y="0"/>
                </a:cxn>
                <a:cxn ang="0">
                  <a:pos x="T1" y="0"/>
                </a:cxn>
                <a:cxn ang="0">
                  <a:pos x="T2" y="0"/>
                </a:cxn>
                <a:cxn ang="0">
                  <a:pos x="T3" y="0"/>
                </a:cxn>
                <a:cxn ang="0">
                  <a:pos x="T4" y="0"/>
                </a:cxn>
                <a:cxn ang="0">
                  <a:pos x="T5" y="0"/>
                </a:cxn>
                <a:cxn ang="0">
                  <a:pos x="T6" y="0"/>
                </a:cxn>
              </a:cxnLst>
              <a:rect l="0" t="0" r="r" b="b"/>
              <a:pathLst>
                <a:path w="9">
                  <a:moveTo>
                    <a:pt x="9" y="0"/>
                  </a:moveTo>
                  <a:lnTo>
                    <a:pt x="9" y="0"/>
                  </a:lnTo>
                  <a:lnTo>
                    <a:pt x="5" y="0"/>
                  </a:lnTo>
                  <a:lnTo>
                    <a:pt x="0" y="0"/>
                  </a:lnTo>
                  <a:lnTo>
                    <a:pt x="0" y="0"/>
                  </a:lnTo>
                  <a:lnTo>
                    <a:pt x="3" y="0"/>
                  </a:lnTo>
                  <a:lnTo>
                    <a:pt x="9"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2" name="Freeform 885"/>
            <p:cNvSpPr/>
            <p:nvPr/>
          </p:nvSpPr>
          <p:spPr bwMode="auto">
            <a:xfrm>
              <a:off x="3669302" y="1638176"/>
              <a:ext cx="73722" cy="18433"/>
            </a:xfrm>
            <a:custGeom>
              <a:avLst/>
              <a:gdLst>
                <a:gd name="T0" fmla="*/ 22 w 22"/>
                <a:gd name="T1" fmla="*/ 4 h 4"/>
                <a:gd name="T2" fmla="*/ 22 w 22"/>
                <a:gd name="T3" fmla="*/ 4 h 4"/>
                <a:gd name="T4" fmla="*/ 8 w 22"/>
                <a:gd name="T5" fmla="*/ 3 h 4"/>
                <a:gd name="T6" fmla="*/ 2 w 22"/>
                <a:gd name="T7" fmla="*/ 1 h 4"/>
                <a:gd name="T8" fmla="*/ 1 w 22"/>
                <a:gd name="T9" fmla="*/ 1 h 4"/>
                <a:gd name="T10" fmla="*/ 0 w 22"/>
                <a:gd name="T11" fmla="*/ 0 h 4"/>
                <a:gd name="T12" fmla="*/ 0 w 22"/>
                <a:gd name="T13" fmla="*/ 0 h 4"/>
                <a:gd name="T14" fmla="*/ 12 w 22"/>
                <a:gd name="T15" fmla="*/ 3 h 4"/>
                <a:gd name="T16" fmla="*/ 12 w 22"/>
                <a:gd name="T17" fmla="*/ 3 h 4"/>
                <a:gd name="T18" fmla="*/ 20 w 22"/>
                <a:gd name="T19" fmla="*/ 3 h 4"/>
                <a:gd name="T20" fmla="*/ 22 w 22"/>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4">
                  <a:moveTo>
                    <a:pt x="22" y="4"/>
                  </a:moveTo>
                  <a:lnTo>
                    <a:pt x="22" y="4"/>
                  </a:lnTo>
                  <a:lnTo>
                    <a:pt x="8" y="3"/>
                  </a:lnTo>
                  <a:lnTo>
                    <a:pt x="2" y="1"/>
                  </a:lnTo>
                  <a:lnTo>
                    <a:pt x="1" y="1"/>
                  </a:lnTo>
                  <a:lnTo>
                    <a:pt x="0" y="0"/>
                  </a:lnTo>
                  <a:lnTo>
                    <a:pt x="0" y="0"/>
                  </a:lnTo>
                  <a:lnTo>
                    <a:pt x="12" y="3"/>
                  </a:lnTo>
                  <a:lnTo>
                    <a:pt x="12" y="3"/>
                  </a:lnTo>
                  <a:lnTo>
                    <a:pt x="20" y="3"/>
                  </a:lnTo>
                  <a:lnTo>
                    <a:pt x="22"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3" name="Freeform 886"/>
            <p:cNvSpPr/>
            <p:nvPr/>
          </p:nvSpPr>
          <p:spPr bwMode="auto">
            <a:xfrm>
              <a:off x="3822891" y="1693471"/>
              <a:ext cx="30720" cy="6145"/>
            </a:xfrm>
            <a:custGeom>
              <a:avLst/>
              <a:gdLst>
                <a:gd name="T0" fmla="*/ 9 w 9"/>
                <a:gd name="T1" fmla="*/ 1 h 1"/>
                <a:gd name="T2" fmla="*/ 9 w 9"/>
                <a:gd name="T3" fmla="*/ 1 h 1"/>
                <a:gd name="T4" fmla="*/ 5 w 9"/>
                <a:gd name="T5" fmla="*/ 1 h 1"/>
                <a:gd name="T6" fmla="*/ 0 w 9"/>
                <a:gd name="T7" fmla="*/ 0 h 1"/>
                <a:gd name="T8" fmla="*/ 0 w 9"/>
                <a:gd name="T9" fmla="*/ 0 h 1"/>
                <a:gd name="T10" fmla="*/ 5 w 9"/>
                <a:gd name="T11" fmla="*/ 0 h 1"/>
                <a:gd name="T12" fmla="*/ 9 w 9"/>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9" h="1">
                  <a:moveTo>
                    <a:pt x="9" y="1"/>
                  </a:moveTo>
                  <a:lnTo>
                    <a:pt x="9" y="1"/>
                  </a:lnTo>
                  <a:lnTo>
                    <a:pt x="5" y="1"/>
                  </a:lnTo>
                  <a:lnTo>
                    <a:pt x="0" y="0"/>
                  </a:lnTo>
                  <a:lnTo>
                    <a:pt x="0" y="0"/>
                  </a:lnTo>
                  <a:lnTo>
                    <a:pt x="5" y="0"/>
                  </a:lnTo>
                  <a:lnTo>
                    <a:pt x="9"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4" name="Freeform 887"/>
            <p:cNvSpPr/>
            <p:nvPr/>
          </p:nvSpPr>
          <p:spPr bwMode="auto">
            <a:xfrm>
              <a:off x="3822891" y="1675038"/>
              <a:ext cx="67581" cy="18433"/>
            </a:xfrm>
            <a:custGeom>
              <a:avLst/>
              <a:gdLst>
                <a:gd name="T0" fmla="*/ 4 w 23"/>
                <a:gd name="T1" fmla="*/ 0 h 6"/>
                <a:gd name="T2" fmla="*/ 4 w 23"/>
                <a:gd name="T3" fmla="*/ 0 h 6"/>
                <a:gd name="T4" fmla="*/ 9 w 23"/>
                <a:gd name="T5" fmla="*/ 3 h 6"/>
                <a:gd name="T6" fmla="*/ 13 w 23"/>
                <a:gd name="T7" fmla="*/ 3 h 6"/>
                <a:gd name="T8" fmla="*/ 23 w 23"/>
                <a:gd name="T9" fmla="*/ 6 h 6"/>
                <a:gd name="T10" fmla="*/ 23 w 23"/>
                <a:gd name="T11" fmla="*/ 6 h 6"/>
                <a:gd name="T12" fmla="*/ 19 w 23"/>
                <a:gd name="T13" fmla="*/ 6 h 6"/>
                <a:gd name="T14" fmla="*/ 11 w 23"/>
                <a:gd name="T15" fmla="*/ 4 h 6"/>
                <a:gd name="T16" fmla="*/ 11 w 23"/>
                <a:gd name="T17" fmla="*/ 4 h 6"/>
                <a:gd name="T18" fmla="*/ 0 w 23"/>
                <a:gd name="T19" fmla="*/ 2 h 6"/>
                <a:gd name="T20" fmla="*/ 0 w 23"/>
                <a:gd name="T21" fmla="*/ 2 h 6"/>
                <a:gd name="T22" fmla="*/ 1 w 23"/>
                <a:gd name="T23" fmla="*/ 2 h 6"/>
                <a:gd name="T24" fmla="*/ 4 w 23"/>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6">
                  <a:moveTo>
                    <a:pt x="4" y="0"/>
                  </a:moveTo>
                  <a:lnTo>
                    <a:pt x="4" y="0"/>
                  </a:lnTo>
                  <a:lnTo>
                    <a:pt x="9" y="3"/>
                  </a:lnTo>
                  <a:lnTo>
                    <a:pt x="13" y="3"/>
                  </a:lnTo>
                  <a:lnTo>
                    <a:pt x="23" y="6"/>
                  </a:lnTo>
                  <a:lnTo>
                    <a:pt x="23" y="6"/>
                  </a:lnTo>
                  <a:lnTo>
                    <a:pt x="19" y="6"/>
                  </a:lnTo>
                  <a:lnTo>
                    <a:pt x="11" y="4"/>
                  </a:lnTo>
                  <a:lnTo>
                    <a:pt x="11" y="4"/>
                  </a:lnTo>
                  <a:lnTo>
                    <a:pt x="0" y="2"/>
                  </a:lnTo>
                  <a:lnTo>
                    <a:pt x="0" y="2"/>
                  </a:lnTo>
                  <a:lnTo>
                    <a:pt x="1" y="2"/>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5" name="Freeform 888"/>
            <p:cNvSpPr/>
            <p:nvPr/>
          </p:nvSpPr>
          <p:spPr bwMode="auto">
            <a:xfrm>
              <a:off x="3835179" y="1675038"/>
              <a:ext cx="49148" cy="12287"/>
            </a:xfrm>
            <a:custGeom>
              <a:avLst/>
              <a:gdLst>
                <a:gd name="T0" fmla="*/ 1 w 15"/>
                <a:gd name="T1" fmla="*/ 0 h 3"/>
                <a:gd name="T2" fmla="*/ 1 w 15"/>
                <a:gd name="T3" fmla="*/ 0 h 3"/>
                <a:gd name="T4" fmla="*/ 5 w 15"/>
                <a:gd name="T5" fmla="*/ 0 h 3"/>
                <a:gd name="T6" fmla="*/ 5 w 15"/>
                <a:gd name="T7" fmla="*/ 0 h 3"/>
                <a:gd name="T8" fmla="*/ 8 w 15"/>
                <a:gd name="T9" fmla="*/ 0 h 3"/>
                <a:gd name="T10" fmla="*/ 8 w 15"/>
                <a:gd name="T11" fmla="*/ 0 h 3"/>
                <a:gd name="T12" fmla="*/ 11 w 15"/>
                <a:gd name="T13" fmla="*/ 0 h 3"/>
                <a:gd name="T14" fmla="*/ 15 w 15"/>
                <a:gd name="T15" fmla="*/ 2 h 3"/>
                <a:gd name="T16" fmla="*/ 15 w 15"/>
                <a:gd name="T17" fmla="*/ 2 h 3"/>
                <a:gd name="T18" fmla="*/ 11 w 15"/>
                <a:gd name="T19" fmla="*/ 2 h 3"/>
                <a:gd name="T20" fmla="*/ 10 w 15"/>
                <a:gd name="T21" fmla="*/ 3 h 3"/>
                <a:gd name="T22" fmla="*/ 10 w 15"/>
                <a:gd name="T23" fmla="*/ 3 h 3"/>
                <a:gd name="T24" fmla="*/ 3 w 15"/>
                <a:gd name="T25" fmla="*/ 2 h 3"/>
                <a:gd name="T26" fmla="*/ 0 w 15"/>
                <a:gd name="T27" fmla="*/ 0 h 3"/>
                <a:gd name="T28" fmla="*/ 1 w 15"/>
                <a:gd name="T2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
                  <a:moveTo>
                    <a:pt x="1" y="0"/>
                  </a:moveTo>
                  <a:lnTo>
                    <a:pt x="1" y="0"/>
                  </a:lnTo>
                  <a:lnTo>
                    <a:pt x="5" y="0"/>
                  </a:lnTo>
                  <a:lnTo>
                    <a:pt x="5" y="0"/>
                  </a:lnTo>
                  <a:lnTo>
                    <a:pt x="8" y="0"/>
                  </a:lnTo>
                  <a:lnTo>
                    <a:pt x="8" y="0"/>
                  </a:lnTo>
                  <a:lnTo>
                    <a:pt x="11" y="0"/>
                  </a:lnTo>
                  <a:lnTo>
                    <a:pt x="15" y="2"/>
                  </a:lnTo>
                  <a:lnTo>
                    <a:pt x="15" y="2"/>
                  </a:lnTo>
                  <a:lnTo>
                    <a:pt x="11" y="2"/>
                  </a:lnTo>
                  <a:lnTo>
                    <a:pt x="10" y="3"/>
                  </a:lnTo>
                  <a:lnTo>
                    <a:pt x="10" y="3"/>
                  </a:lnTo>
                  <a:lnTo>
                    <a:pt x="3" y="2"/>
                  </a:lnTo>
                  <a:lnTo>
                    <a:pt x="0"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6" name="Freeform 889"/>
            <p:cNvSpPr/>
            <p:nvPr/>
          </p:nvSpPr>
          <p:spPr bwMode="auto">
            <a:xfrm>
              <a:off x="3927329" y="1693471"/>
              <a:ext cx="30720" cy="6145"/>
            </a:xfrm>
            <a:custGeom>
              <a:avLst/>
              <a:gdLst>
                <a:gd name="T0" fmla="*/ 10 w 10"/>
                <a:gd name="T1" fmla="*/ 3 h 3"/>
                <a:gd name="T2" fmla="*/ 10 w 10"/>
                <a:gd name="T3" fmla="*/ 3 h 3"/>
                <a:gd name="T4" fmla="*/ 5 w 10"/>
                <a:gd name="T5" fmla="*/ 3 h 3"/>
                <a:gd name="T6" fmla="*/ 5 w 10"/>
                <a:gd name="T7" fmla="*/ 3 h 3"/>
                <a:gd name="T8" fmla="*/ 0 w 10"/>
                <a:gd name="T9" fmla="*/ 1 h 3"/>
                <a:gd name="T10" fmla="*/ 0 w 10"/>
                <a:gd name="T11" fmla="*/ 1 h 3"/>
                <a:gd name="T12" fmla="*/ 5 w 10"/>
                <a:gd name="T13" fmla="*/ 0 h 3"/>
                <a:gd name="T14" fmla="*/ 5 w 10"/>
                <a:gd name="T15" fmla="*/ 0 h 3"/>
                <a:gd name="T16" fmla="*/ 7 w 10"/>
                <a:gd name="T17" fmla="*/ 1 h 3"/>
                <a:gd name="T18" fmla="*/ 10 w 10"/>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3">
                  <a:moveTo>
                    <a:pt x="10" y="3"/>
                  </a:moveTo>
                  <a:lnTo>
                    <a:pt x="10" y="3"/>
                  </a:lnTo>
                  <a:lnTo>
                    <a:pt x="5" y="3"/>
                  </a:lnTo>
                  <a:lnTo>
                    <a:pt x="5" y="3"/>
                  </a:lnTo>
                  <a:lnTo>
                    <a:pt x="0" y="1"/>
                  </a:lnTo>
                  <a:lnTo>
                    <a:pt x="0" y="1"/>
                  </a:lnTo>
                  <a:lnTo>
                    <a:pt x="5" y="0"/>
                  </a:lnTo>
                  <a:lnTo>
                    <a:pt x="5" y="0"/>
                  </a:lnTo>
                  <a:lnTo>
                    <a:pt x="7" y="1"/>
                  </a:lnTo>
                  <a:lnTo>
                    <a:pt x="1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7" name="Freeform 890"/>
            <p:cNvSpPr/>
            <p:nvPr/>
          </p:nvSpPr>
          <p:spPr bwMode="auto">
            <a:xfrm>
              <a:off x="3712309" y="1582886"/>
              <a:ext cx="36861" cy="6145"/>
            </a:xfrm>
            <a:custGeom>
              <a:avLst/>
              <a:gdLst>
                <a:gd name="T0" fmla="*/ 11 w 11"/>
                <a:gd name="T1" fmla="*/ 2 h 2"/>
                <a:gd name="T2" fmla="*/ 11 w 11"/>
                <a:gd name="T3" fmla="*/ 2 h 2"/>
                <a:gd name="T4" fmla="*/ 6 w 11"/>
                <a:gd name="T5" fmla="*/ 2 h 2"/>
                <a:gd name="T6" fmla="*/ 0 w 11"/>
                <a:gd name="T7" fmla="*/ 0 h 2"/>
                <a:gd name="T8" fmla="*/ 0 w 11"/>
                <a:gd name="T9" fmla="*/ 0 h 2"/>
                <a:gd name="T10" fmla="*/ 6 w 11"/>
                <a:gd name="T11" fmla="*/ 0 h 2"/>
                <a:gd name="T12" fmla="*/ 11 w 1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1" h="2">
                  <a:moveTo>
                    <a:pt x="11" y="2"/>
                  </a:moveTo>
                  <a:lnTo>
                    <a:pt x="11" y="2"/>
                  </a:lnTo>
                  <a:lnTo>
                    <a:pt x="6" y="2"/>
                  </a:lnTo>
                  <a:lnTo>
                    <a:pt x="0" y="0"/>
                  </a:lnTo>
                  <a:lnTo>
                    <a:pt x="0" y="0"/>
                  </a:lnTo>
                  <a:lnTo>
                    <a:pt x="6" y="0"/>
                  </a:lnTo>
                  <a:lnTo>
                    <a:pt x="11"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8" name="Freeform 891"/>
            <p:cNvSpPr/>
            <p:nvPr/>
          </p:nvSpPr>
          <p:spPr bwMode="auto">
            <a:xfrm>
              <a:off x="3712309" y="1576741"/>
              <a:ext cx="30720" cy="6145"/>
            </a:xfrm>
            <a:custGeom>
              <a:avLst/>
              <a:gdLst>
                <a:gd name="T0" fmla="*/ 10 w 10"/>
                <a:gd name="T1" fmla="*/ 1 h 1"/>
                <a:gd name="T2" fmla="*/ 10 w 10"/>
                <a:gd name="T3" fmla="*/ 1 h 1"/>
                <a:gd name="T4" fmla="*/ 3 w 10"/>
                <a:gd name="T5" fmla="*/ 1 h 1"/>
                <a:gd name="T6" fmla="*/ 1 w 10"/>
                <a:gd name="T7" fmla="*/ 0 h 1"/>
                <a:gd name="T8" fmla="*/ 0 w 10"/>
                <a:gd name="T9" fmla="*/ 0 h 1"/>
                <a:gd name="T10" fmla="*/ 0 w 10"/>
                <a:gd name="T11" fmla="*/ 0 h 1"/>
                <a:gd name="T12" fmla="*/ 6 w 10"/>
                <a:gd name="T13" fmla="*/ 0 h 1"/>
                <a:gd name="T14" fmla="*/ 7 w 10"/>
                <a:gd name="T15" fmla="*/ 0 h 1"/>
                <a:gd name="T16" fmla="*/ 10 w 10"/>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
                  <a:moveTo>
                    <a:pt x="10" y="1"/>
                  </a:moveTo>
                  <a:lnTo>
                    <a:pt x="10" y="1"/>
                  </a:lnTo>
                  <a:lnTo>
                    <a:pt x="3" y="1"/>
                  </a:lnTo>
                  <a:lnTo>
                    <a:pt x="1" y="0"/>
                  </a:lnTo>
                  <a:lnTo>
                    <a:pt x="0" y="0"/>
                  </a:lnTo>
                  <a:lnTo>
                    <a:pt x="0" y="0"/>
                  </a:lnTo>
                  <a:lnTo>
                    <a:pt x="6" y="0"/>
                  </a:lnTo>
                  <a:lnTo>
                    <a:pt x="7" y="0"/>
                  </a:lnTo>
                  <a:lnTo>
                    <a:pt x="1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9" name="Freeform 892"/>
            <p:cNvSpPr/>
            <p:nvPr/>
          </p:nvSpPr>
          <p:spPr bwMode="auto">
            <a:xfrm>
              <a:off x="3773743" y="1601314"/>
              <a:ext cx="24574" cy="6145"/>
            </a:xfrm>
            <a:custGeom>
              <a:avLst/>
              <a:gdLst>
                <a:gd name="T0" fmla="*/ 6 w 7"/>
                <a:gd name="T1" fmla="*/ 0 h 3"/>
                <a:gd name="T2" fmla="*/ 6 w 7"/>
                <a:gd name="T3" fmla="*/ 0 h 3"/>
                <a:gd name="T4" fmla="*/ 6 w 7"/>
                <a:gd name="T5" fmla="*/ 0 h 3"/>
                <a:gd name="T6" fmla="*/ 6 w 7"/>
                <a:gd name="T7" fmla="*/ 1 h 3"/>
                <a:gd name="T8" fmla="*/ 7 w 7"/>
                <a:gd name="T9" fmla="*/ 1 h 3"/>
                <a:gd name="T10" fmla="*/ 7 w 7"/>
                <a:gd name="T11" fmla="*/ 1 h 3"/>
                <a:gd name="T12" fmla="*/ 3 w 7"/>
                <a:gd name="T13" fmla="*/ 3 h 3"/>
                <a:gd name="T14" fmla="*/ 0 w 7"/>
                <a:gd name="T15" fmla="*/ 1 h 3"/>
                <a:gd name="T16" fmla="*/ 0 w 7"/>
                <a:gd name="T17" fmla="*/ 1 h 3"/>
                <a:gd name="T18" fmla="*/ 1 w 7"/>
                <a:gd name="T19" fmla="*/ 1 h 3"/>
                <a:gd name="T20" fmla="*/ 1 w 7"/>
                <a:gd name="T21" fmla="*/ 0 h 3"/>
                <a:gd name="T22" fmla="*/ 3 w 7"/>
                <a:gd name="T23" fmla="*/ 0 h 3"/>
                <a:gd name="T24" fmla="*/ 6 w 7"/>
                <a:gd name="T2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3">
                  <a:moveTo>
                    <a:pt x="6" y="0"/>
                  </a:moveTo>
                  <a:lnTo>
                    <a:pt x="6" y="0"/>
                  </a:lnTo>
                  <a:lnTo>
                    <a:pt x="6" y="0"/>
                  </a:lnTo>
                  <a:lnTo>
                    <a:pt x="6" y="1"/>
                  </a:lnTo>
                  <a:lnTo>
                    <a:pt x="7" y="1"/>
                  </a:lnTo>
                  <a:lnTo>
                    <a:pt x="7" y="1"/>
                  </a:lnTo>
                  <a:lnTo>
                    <a:pt x="3" y="3"/>
                  </a:lnTo>
                  <a:lnTo>
                    <a:pt x="0" y="1"/>
                  </a:lnTo>
                  <a:lnTo>
                    <a:pt x="0" y="1"/>
                  </a:lnTo>
                  <a:lnTo>
                    <a:pt x="1" y="1"/>
                  </a:lnTo>
                  <a:lnTo>
                    <a:pt x="1" y="0"/>
                  </a:lnTo>
                  <a:lnTo>
                    <a:pt x="3" y="0"/>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0" name="Freeform 893"/>
            <p:cNvSpPr/>
            <p:nvPr/>
          </p:nvSpPr>
          <p:spPr bwMode="auto">
            <a:xfrm>
              <a:off x="3755311" y="1576740"/>
              <a:ext cx="49148" cy="18433"/>
            </a:xfrm>
            <a:custGeom>
              <a:avLst/>
              <a:gdLst>
                <a:gd name="T0" fmla="*/ 14 w 17"/>
                <a:gd name="T1" fmla="*/ 0 h 4"/>
                <a:gd name="T2" fmla="*/ 14 w 17"/>
                <a:gd name="T3" fmla="*/ 0 h 4"/>
                <a:gd name="T4" fmla="*/ 11 w 17"/>
                <a:gd name="T5" fmla="*/ 1 h 4"/>
                <a:gd name="T6" fmla="*/ 10 w 17"/>
                <a:gd name="T7" fmla="*/ 1 h 4"/>
                <a:gd name="T8" fmla="*/ 10 w 17"/>
                <a:gd name="T9" fmla="*/ 3 h 4"/>
                <a:gd name="T10" fmla="*/ 10 w 17"/>
                <a:gd name="T11" fmla="*/ 3 h 4"/>
                <a:gd name="T12" fmla="*/ 14 w 17"/>
                <a:gd name="T13" fmla="*/ 3 h 4"/>
                <a:gd name="T14" fmla="*/ 17 w 17"/>
                <a:gd name="T15" fmla="*/ 4 h 4"/>
                <a:gd name="T16" fmla="*/ 17 w 17"/>
                <a:gd name="T17" fmla="*/ 4 h 4"/>
                <a:gd name="T18" fmla="*/ 8 w 17"/>
                <a:gd name="T19" fmla="*/ 4 h 4"/>
                <a:gd name="T20" fmla="*/ 8 w 17"/>
                <a:gd name="T21" fmla="*/ 4 h 4"/>
                <a:gd name="T22" fmla="*/ 4 w 17"/>
                <a:gd name="T23" fmla="*/ 4 h 4"/>
                <a:gd name="T24" fmla="*/ 0 w 17"/>
                <a:gd name="T25" fmla="*/ 4 h 4"/>
                <a:gd name="T26" fmla="*/ 0 w 17"/>
                <a:gd name="T27" fmla="*/ 4 h 4"/>
                <a:gd name="T28" fmla="*/ 4 w 17"/>
                <a:gd name="T29" fmla="*/ 3 h 4"/>
                <a:gd name="T30" fmla="*/ 5 w 17"/>
                <a:gd name="T31" fmla="*/ 1 h 4"/>
                <a:gd name="T32" fmla="*/ 5 w 17"/>
                <a:gd name="T33" fmla="*/ 1 h 4"/>
                <a:gd name="T34" fmla="*/ 8 w 17"/>
                <a:gd name="T35" fmla="*/ 0 h 4"/>
                <a:gd name="T36" fmla="*/ 14 w 17"/>
                <a:gd name="T3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4">
                  <a:moveTo>
                    <a:pt x="14" y="0"/>
                  </a:moveTo>
                  <a:lnTo>
                    <a:pt x="14" y="0"/>
                  </a:lnTo>
                  <a:lnTo>
                    <a:pt x="11" y="1"/>
                  </a:lnTo>
                  <a:lnTo>
                    <a:pt x="10" y="1"/>
                  </a:lnTo>
                  <a:lnTo>
                    <a:pt x="10" y="3"/>
                  </a:lnTo>
                  <a:lnTo>
                    <a:pt x="10" y="3"/>
                  </a:lnTo>
                  <a:lnTo>
                    <a:pt x="14" y="3"/>
                  </a:lnTo>
                  <a:lnTo>
                    <a:pt x="17" y="4"/>
                  </a:lnTo>
                  <a:lnTo>
                    <a:pt x="17" y="4"/>
                  </a:lnTo>
                  <a:lnTo>
                    <a:pt x="8" y="4"/>
                  </a:lnTo>
                  <a:lnTo>
                    <a:pt x="8" y="4"/>
                  </a:lnTo>
                  <a:lnTo>
                    <a:pt x="4" y="4"/>
                  </a:lnTo>
                  <a:lnTo>
                    <a:pt x="0" y="4"/>
                  </a:lnTo>
                  <a:lnTo>
                    <a:pt x="0" y="4"/>
                  </a:lnTo>
                  <a:lnTo>
                    <a:pt x="4" y="3"/>
                  </a:lnTo>
                  <a:lnTo>
                    <a:pt x="5" y="1"/>
                  </a:lnTo>
                  <a:lnTo>
                    <a:pt x="5" y="1"/>
                  </a:lnTo>
                  <a:lnTo>
                    <a:pt x="8" y="0"/>
                  </a:lnTo>
                  <a:lnTo>
                    <a:pt x="1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1" name="Freeform 894"/>
            <p:cNvSpPr/>
            <p:nvPr/>
          </p:nvSpPr>
          <p:spPr bwMode="auto">
            <a:xfrm>
              <a:off x="4044059" y="1742618"/>
              <a:ext cx="24574" cy="6145"/>
            </a:xfrm>
            <a:custGeom>
              <a:avLst/>
              <a:gdLst>
                <a:gd name="T0" fmla="*/ 8 w 8"/>
                <a:gd name="T1" fmla="*/ 2 h 2"/>
                <a:gd name="T2" fmla="*/ 8 w 8"/>
                <a:gd name="T3" fmla="*/ 2 h 2"/>
                <a:gd name="T4" fmla="*/ 3 w 8"/>
                <a:gd name="T5" fmla="*/ 2 h 2"/>
                <a:gd name="T6" fmla="*/ 0 w 8"/>
                <a:gd name="T7" fmla="*/ 1 h 2"/>
                <a:gd name="T8" fmla="*/ 0 w 8"/>
                <a:gd name="T9" fmla="*/ 0 h 2"/>
                <a:gd name="T10" fmla="*/ 0 w 8"/>
                <a:gd name="T11" fmla="*/ 0 h 2"/>
                <a:gd name="T12" fmla="*/ 4 w 8"/>
                <a:gd name="T13" fmla="*/ 1 h 2"/>
                <a:gd name="T14" fmla="*/ 8 w 8"/>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
                  <a:moveTo>
                    <a:pt x="8" y="2"/>
                  </a:moveTo>
                  <a:lnTo>
                    <a:pt x="8" y="2"/>
                  </a:lnTo>
                  <a:lnTo>
                    <a:pt x="3" y="2"/>
                  </a:lnTo>
                  <a:lnTo>
                    <a:pt x="0" y="1"/>
                  </a:lnTo>
                  <a:lnTo>
                    <a:pt x="0" y="0"/>
                  </a:lnTo>
                  <a:lnTo>
                    <a:pt x="0" y="0"/>
                  </a:lnTo>
                  <a:lnTo>
                    <a:pt x="4" y="1"/>
                  </a:lnTo>
                  <a:lnTo>
                    <a:pt x="8"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2" name="Freeform 895"/>
            <p:cNvSpPr/>
            <p:nvPr/>
          </p:nvSpPr>
          <p:spPr bwMode="auto">
            <a:xfrm>
              <a:off x="3822891" y="1601313"/>
              <a:ext cx="24574" cy="6145"/>
            </a:xfrm>
            <a:custGeom>
              <a:avLst/>
              <a:gdLst>
                <a:gd name="T0" fmla="*/ 9 w 9"/>
                <a:gd name="T1" fmla="*/ 0 h 1"/>
                <a:gd name="T2" fmla="*/ 9 w 9"/>
                <a:gd name="T3" fmla="*/ 0 h 1"/>
                <a:gd name="T4" fmla="*/ 4 w 9"/>
                <a:gd name="T5" fmla="*/ 1 h 1"/>
                <a:gd name="T6" fmla="*/ 0 w 9"/>
                <a:gd name="T7" fmla="*/ 0 h 1"/>
                <a:gd name="T8" fmla="*/ 0 w 9"/>
                <a:gd name="T9" fmla="*/ 0 h 1"/>
                <a:gd name="T10" fmla="*/ 4 w 9"/>
                <a:gd name="T11" fmla="*/ 0 h 1"/>
                <a:gd name="T12" fmla="*/ 9 w 9"/>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9" h="1">
                  <a:moveTo>
                    <a:pt x="9" y="0"/>
                  </a:moveTo>
                  <a:lnTo>
                    <a:pt x="9" y="0"/>
                  </a:lnTo>
                  <a:lnTo>
                    <a:pt x="4" y="1"/>
                  </a:lnTo>
                  <a:lnTo>
                    <a:pt x="0" y="0"/>
                  </a:lnTo>
                  <a:lnTo>
                    <a:pt x="0" y="0"/>
                  </a:lnTo>
                  <a:lnTo>
                    <a:pt x="4" y="0"/>
                  </a:lnTo>
                  <a:lnTo>
                    <a:pt x="9"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3" name="Freeform 896"/>
            <p:cNvSpPr/>
            <p:nvPr/>
          </p:nvSpPr>
          <p:spPr bwMode="auto">
            <a:xfrm>
              <a:off x="4037913" y="1718043"/>
              <a:ext cx="98296" cy="36861"/>
            </a:xfrm>
            <a:custGeom>
              <a:avLst/>
              <a:gdLst>
                <a:gd name="T0" fmla="*/ 0 w 32"/>
                <a:gd name="T1" fmla="*/ 0 h 12"/>
                <a:gd name="T2" fmla="*/ 0 w 32"/>
                <a:gd name="T3" fmla="*/ 0 h 12"/>
                <a:gd name="T4" fmla="*/ 9 w 32"/>
                <a:gd name="T5" fmla="*/ 3 h 12"/>
                <a:gd name="T6" fmla="*/ 13 w 32"/>
                <a:gd name="T7" fmla="*/ 5 h 12"/>
                <a:gd name="T8" fmla="*/ 16 w 32"/>
                <a:gd name="T9" fmla="*/ 6 h 12"/>
                <a:gd name="T10" fmla="*/ 16 w 32"/>
                <a:gd name="T11" fmla="*/ 6 h 12"/>
                <a:gd name="T12" fmla="*/ 23 w 32"/>
                <a:gd name="T13" fmla="*/ 8 h 12"/>
                <a:gd name="T14" fmla="*/ 23 w 32"/>
                <a:gd name="T15" fmla="*/ 8 h 12"/>
                <a:gd name="T16" fmla="*/ 26 w 32"/>
                <a:gd name="T17" fmla="*/ 9 h 12"/>
                <a:gd name="T18" fmla="*/ 27 w 32"/>
                <a:gd name="T19" fmla="*/ 9 h 12"/>
                <a:gd name="T20" fmla="*/ 27 w 32"/>
                <a:gd name="T21" fmla="*/ 9 h 12"/>
                <a:gd name="T22" fmla="*/ 32 w 32"/>
                <a:gd name="T23" fmla="*/ 12 h 12"/>
                <a:gd name="T24" fmla="*/ 32 w 32"/>
                <a:gd name="T25" fmla="*/ 12 h 12"/>
                <a:gd name="T26" fmla="*/ 27 w 32"/>
                <a:gd name="T27" fmla="*/ 10 h 12"/>
                <a:gd name="T28" fmla="*/ 26 w 32"/>
                <a:gd name="T29" fmla="*/ 10 h 12"/>
                <a:gd name="T30" fmla="*/ 26 w 32"/>
                <a:gd name="T31" fmla="*/ 10 h 12"/>
                <a:gd name="T32" fmla="*/ 19 w 32"/>
                <a:gd name="T33" fmla="*/ 8 h 12"/>
                <a:gd name="T34" fmla="*/ 16 w 32"/>
                <a:gd name="T35" fmla="*/ 8 h 12"/>
                <a:gd name="T36" fmla="*/ 15 w 32"/>
                <a:gd name="T37" fmla="*/ 9 h 12"/>
                <a:gd name="T38" fmla="*/ 15 w 32"/>
                <a:gd name="T39" fmla="*/ 9 h 12"/>
                <a:gd name="T40" fmla="*/ 13 w 32"/>
                <a:gd name="T41" fmla="*/ 8 h 12"/>
                <a:gd name="T42" fmla="*/ 13 w 32"/>
                <a:gd name="T43" fmla="*/ 8 h 12"/>
                <a:gd name="T44" fmla="*/ 13 w 32"/>
                <a:gd name="T45" fmla="*/ 6 h 12"/>
                <a:gd name="T46" fmla="*/ 13 w 32"/>
                <a:gd name="T47" fmla="*/ 6 h 12"/>
                <a:gd name="T48" fmla="*/ 13 w 32"/>
                <a:gd name="T49" fmla="*/ 6 h 12"/>
                <a:gd name="T50" fmla="*/ 8 w 32"/>
                <a:gd name="T51" fmla="*/ 6 h 12"/>
                <a:gd name="T52" fmla="*/ 8 w 32"/>
                <a:gd name="T53" fmla="*/ 6 h 12"/>
                <a:gd name="T54" fmla="*/ 6 w 32"/>
                <a:gd name="T55" fmla="*/ 5 h 12"/>
                <a:gd name="T56" fmla="*/ 5 w 32"/>
                <a:gd name="T57" fmla="*/ 3 h 12"/>
                <a:gd name="T58" fmla="*/ 5 w 32"/>
                <a:gd name="T59" fmla="*/ 2 h 12"/>
                <a:gd name="T60" fmla="*/ 0 w 32"/>
                <a:gd name="T6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 h="12">
                  <a:moveTo>
                    <a:pt x="0" y="0"/>
                  </a:moveTo>
                  <a:lnTo>
                    <a:pt x="0" y="0"/>
                  </a:lnTo>
                  <a:lnTo>
                    <a:pt x="9" y="3"/>
                  </a:lnTo>
                  <a:lnTo>
                    <a:pt x="13" y="5"/>
                  </a:lnTo>
                  <a:lnTo>
                    <a:pt x="16" y="6"/>
                  </a:lnTo>
                  <a:lnTo>
                    <a:pt x="16" y="6"/>
                  </a:lnTo>
                  <a:lnTo>
                    <a:pt x="23" y="8"/>
                  </a:lnTo>
                  <a:lnTo>
                    <a:pt x="23" y="8"/>
                  </a:lnTo>
                  <a:lnTo>
                    <a:pt x="26" y="9"/>
                  </a:lnTo>
                  <a:lnTo>
                    <a:pt x="27" y="9"/>
                  </a:lnTo>
                  <a:lnTo>
                    <a:pt x="27" y="9"/>
                  </a:lnTo>
                  <a:lnTo>
                    <a:pt x="32" y="12"/>
                  </a:lnTo>
                  <a:lnTo>
                    <a:pt x="32" y="12"/>
                  </a:lnTo>
                  <a:lnTo>
                    <a:pt x="27" y="10"/>
                  </a:lnTo>
                  <a:lnTo>
                    <a:pt x="26" y="10"/>
                  </a:lnTo>
                  <a:lnTo>
                    <a:pt x="26" y="10"/>
                  </a:lnTo>
                  <a:lnTo>
                    <a:pt x="19" y="8"/>
                  </a:lnTo>
                  <a:lnTo>
                    <a:pt x="16" y="8"/>
                  </a:lnTo>
                  <a:lnTo>
                    <a:pt x="15" y="9"/>
                  </a:lnTo>
                  <a:lnTo>
                    <a:pt x="15" y="9"/>
                  </a:lnTo>
                  <a:lnTo>
                    <a:pt x="13" y="8"/>
                  </a:lnTo>
                  <a:lnTo>
                    <a:pt x="13" y="8"/>
                  </a:lnTo>
                  <a:lnTo>
                    <a:pt x="13" y="6"/>
                  </a:lnTo>
                  <a:lnTo>
                    <a:pt x="13" y="6"/>
                  </a:lnTo>
                  <a:lnTo>
                    <a:pt x="13" y="6"/>
                  </a:lnTo>
                  <a:lnTo>
                    <a:pt x="8" y="6"/>
                  </a:lnTo>
                  <a:lnTo>
                    <a:pt x="8" y="6"/>
                  </a:lnTo>
                  <a:lnTo>
                    <a:pt x="6" y="5"/>
                  </a:lnTo>
                  <a:lnTo>
                    <a:pt x="5" y="3"/>
                  </a:lnTo>
                  <a:lnTo>
                    <a:pt x="5" y="2"/>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4" name="Freeform 897"/>
            <p:cNvSpPr/>
            <p:nvPr/>
          </p:nvSpPr>
          <p:spPr bwMode="auto">
            <a:xfrm>
              <a:off x="4117781" y="1754904"/>
              <a:ext cx="36861" cy="12287"/>
            </a:xfrm>
            <a:custGeom>
              <a:avLst/>
              <a:gdLst>
                <a:gd name="T0" fmla="*/ 11 w 11"/>
                <a:gd name="T1" fmla="*/ 3 h 4"/>
                <a:gd name="T2" fmla="*/ 11 w 11"/>
                <a:gd name="T3" fmla="*/ 3 h 4"/>
                <a:gd name="T4" fmla="*/ 11 w 11"/>
                <a:gd name="T5" fmla="*/ 4 h 4"/>
                <a:gd name="T6" fmla="*/ 11 w 11"/>
                <a:gd name="T7" fmla="*/ 4 h 4"/>
                <a:gd name="T8" fmla="*/ 9 w 11"/>
                <a:gd name="T9" fmla="*/ 4 h 4"/>
                <a:gd name="T10" fmla="*/ 3 w 11"/>
                <a:gd name="T11" fmla="*/ 3 h 4"/>
                <a:gd name="T12" fmla="*/ 0 w 11"/>
                <a:gd name="T13" fmla="*/ 1 h 4"/>
                <a:gd name="T14" fmla="*/ 0 w 11"/>
                <a:gd name="T15" fmla="*/ 1 h 4"/>
                <a:gd name="T16" fmla="*/ 0 w 11"/>
                <a:gd name="T17" fmla="*/ 0 h 4"/>
                <a:gd name="T18" fmla="*/ 1 w 11"/>
                <a:gd name="T19" fmla="*/ 0 h 4"/>
                <a:gd name="T20" fmla="*/ 1 w 11"/>
                <a:gd name="T21" fmla="*/ 0 h 4"/>
                <a:gd name="T22" fmla="*/ 6 w 11"/>
                <a:gd name="T23" fmla="*/ 1 h 4"/>
                <a:gd name="T24" fmla="*/ 7 w 11"/>
                <a:gd name="T25" fmla="*/ 3 h 4"/>
                <a:gd name="T26" fmla="*/ 9 w 11"/>
                <a:gd name="T27" fmla="*/ 3 h 4"/>
                <a:gd name="T28" fmla="*/ 11 w 11"/>
                <a:gd name="T29"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4">
                  <a:moveTo>
                    <a:pt x="11" y="3"/>
                  </a:moveTo>
                  <a:lnTo>
                    <a:pt x="11" y="3"/>
                  </a:lnTo>
                  <a:lnTo>
                    <a:pt x="11" y="4"/>
                  </a:lnTo>
                  <a:lnTo>
                    <a:pt x="11" y="4"/>
                  </a:lnTo>
                  <a:lnTo>
                    <a:pt x="9" y="4"/>
                  </a:lnTo>
                  <a:lnTo>
                    <a:pt x="3" y="3"/>
                  </a:lnTo>
                  <a:lnTo>
                    <a:pt x="0" y="1"/>
                  </a:lnTo>
                  <a:lnTo>
                    <a:pt x="0" y="1"/>
                  </a:lnTo>
                  <a:lnTo>
                    <a:pt x="0" y="0"/>
                  </a:lnTo>
                  <a:lnTo>
                    <a:pt x="1" y="0"/>
                  </a:lnTo>
                  <a:lnTo>
                    <a:pt x="1" y="0"/>
                  </a:lnTo>
                  <a:lnTo>
                    <a:pt x="6" y="1"/>
                  </a:lnTo>
                  <a:lnTo>
                    <a:pt x="7" y="3"/>
                  </a:lnTo>
                  <a:lnTo>
                    <a:pt x="9" y="3"/>
                  </a:lnTo>
                  <a:lnTo>
                    <a:pt x="11"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5" name="Freeform 898"/>
            <p:cNvSpPr/>
            <p:nvPr/>
          </p:nvSpPr>
          <p:spPr bwMode="auto">
            <a:xfrm>
              <a:off x="4160784" y="1767191"/>
              <a:ext cx="36861" cy="6145"/>
            </a:xfrm>
            <a:custGeom>
              <a:avLst/>
              <a:gdLst>
                <a:gd name="T0" fmla="*/ 9 w 12"/>
                <a:gd name="T1" fmla="*/ 2 h 3"/>
                <a:gd name="T2" fmla="*/ 9 w 12"/>
                <a:gd name="T3" fmla="*/ 2 h 3"/>
                <a:gd name="T4" fmla="*/ 12 w 12"/>
                <a:gd name="T5" fmla="*/ 3 h 3"/>
                <a:gd name="T6" fmla="*/ 10 w 12"/>
                <a:gd name="T7" fmla="*/ 3 h 3"/>
                <a:gd name="T8" fmla="*/ 5 w 12"/>
                <a:gd name="T9" fmla="*/ 3 h 3"/>
                <a:gd name="T10" fmla="*/ 5 w 12"/>
                <a:gd name="T11" fmla="*/ 3 h 3"/>
                <a:gd name="T12" fmla="*/ 2 w 12"/>
                <a:gd name="T13" fmla="*/ 2 h 3"/>
                <a:gd name="T14" fmla="*/ 0 w 12"/>
                <a:gd name="T15" fmla="*/ 0 h 3"/>
                <a:gd name="T16" fmla="*/ 0 w 12"/>
                <a:gd name="T17" fmla="*/ 0 h 3"/>
                <a:gd name="T18" fmla="*/ 5 w 12"/>
                <a:gd name="T19" fmla="*/ 2 h 3"/>
                <a:gd name="T20" fmla="*/ 9 w 1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
                  <a:moveTo>
                    <a:pt x="9" y="2"/>
                  </a:moveTo>
                  <a:lnTo>
                    <a:pt x="9" y="2"/>
                  </a:lnTo>
                  <a:lnTo>
                    <a:pt x="12" y="3"/>
                  </a:lnTo>
                  <a:lnTo>
                    <a:pt x="10" y="3"/>
                  </a:lnTo>
                  <a:lnTo>
                    <a:pt x="5" y="3"/>
                  </a:lnTo>
                  <a:lnTo>
                    <a:pt x="5" y="3"/>
                  </a:lnTo>
                  <a:lnTo>
                    <a:pt x="2" y="2"/>
                  </a:lnTo>
                  <a:lnTo>
                    <a:pt x="0" y="0"/>
                  </a:lnTo>
                  <a:lnTo>
                    <a:pt x="0" y="0"/>
                  </a:lnTo>
                  <a:lnTo>
                    <a:pt x="5" y="2"/>
                  </a:lnTo>
                  <a:lnTo>
                    <a:pt x="9"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6" name="Freeform 899"/>
            <p:cNvSpPr/>
            <p:nvPr/>
          </p:nvSpPr>
          <p:spPr bwMode="auto">
            <a:xfrm>
              <a:off x="4228365" y="1810194"/>
              <a:ext cx="24574" cy="12287"/>
            </a:xfrm>
            <a:custGeom>
              <a:avLst/>
              <a:gdLst>
                <a:gd name="T0" fmla="*/ 8 w 8"/>
                <a:gd name="T1" fmla="*/ 5 h 5"/>
                <a:gd name="T2" fmla="*/ 8 w 8"/>
                <a:gd name="T3" fmla="*/ 5 h 5"/>
                <a:gd name="T4" fmla="*/ 4 w 8"/>
                <a:gd name="T5" fmla="*/ 3 h 5"/>
                <a:gd name="T6" fmla="*/ 0 w 8"/>
                <a:gd name="T7" fmla="*/ 0 h 5"/>
                <a:gd name="T8" fmla="*/ 0 w 8"/>
                <a:gd name="T9" fmla="*/ 0 h 5"/>
                <a:gd name="T10" fmla="*/ 5 w 8"/>
                <a:gd name="T11" fmla="*/ 2 h 5"/>
                <a:gd name="T12" fmla="*/ 8 w 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8" y="5"/>
                  </a:moveTo>
                  <a:lnTo>
                    <a:pt x="8" y="5"/>
                  </a:lnTo>
                  <a:lnTo>
                    <a:pt x="4" y="3"/>
                  </a:lnTo>
                  <a:lnTo>
                    <a:pt x="0" y="0"/>
                  </a:lnTo>
                  <a:lnTo>
                    <a:pt x="0" y="0"/>
                  </a:lnTo>
                  <a:lnTo>
                    <a:pt x="5" y="2"/>
                  </a:lnTo>
                  <a:lnTo>
                    <a:pt x="8"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7" name="Freeform 900"/>
            <p:cNvSpPr/>
            <p:nvPr/>
          </p:nvSpPr>
          <p:spPr bwMode="auto">
            <a:xfrm>
              <a:off x="4775135" y="2547417"/>
              <a:ext cx="18433" cy="24574"/>
            </a:xfrm>
            <a:custGeom>
              <a:avLst/>
              <a:gdLst>
                <a:gd name="T0" fmla="*/ 0 w 6"/>
                <a:gd name="T1" fmla="*/ 0 h 7"/>
                <a:gd name="T2" fmla="*/ 0 w 6"/>
                <a:gd name="T3" fmla="*/ 0 h 7"/>
                <a:gd name="T4" fmla="*/ 4 w 6"/>
                <a:gd name="T5" fmla="*/ 4 h 7"/>
                <a:gd name="T6" fmla="*/ 6 w 6"/>
                <a:gd name="T7" fmla="*/ 6 h 7"/>
                <a:gd name="T8" fmla="*/ 6 w 6"/>
                <a:gd name="T9" fmla="*/ 7 h 7"/>
                <a:gd name="T10" fmla="*/ 6 w 6"/>
                <a:gd name="T11" fmla="*/ 7 h 7"/>
                <a:gd name="T12" fmla="*/ 3 w 6"/>
                <a:gd name="T13" fmla="*/ 3 h 7"/>
                <a:gd name="T14" fmla="*/ 0 w 6"/>
                <a:gd name="T15" fmla="*/ 3 h 7"/>
                <a:gd name="T16" fmla="*/ 0 w 6"/>
                <a:gd name="T17" fmla="*/ 3 h 7"/>
                <a:gd name="T18" fmla="*/ 0 w 6"/>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0" y="0"/>
                  </a:moveTo>
                  <a:lnTo>
                    <a:pt x="0" y="0"/>
                  </a:lnTo>
                  <a:lnTo>
                    <a:pt x="4" y="4"/>
                  </a:lnTo>
                  <a:lnTo>
                    <a:pt x="6" y="6"/>
                  </a:lnTo>
                  <a:lnTo>
                    <a:pt x="6" y="7"/>
                  </a:lnTo>
                  <a:lnTo>
                    <a:pt x="6" y="7"/>
                  </a:lnTo>
                  <a:lnTo>
                    <a:pt x="3" y="3"/>
                  </a:ln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8" name="Freeform 901"/>
            <p:cNvSpPr/>
            <p:nvPr/>
          </p:nvSpPr>
          <p:spPr bwMode="auto">
            <a:xfrm>
              <a:off x="4400383" y="1883916"/>
              <a:ext cx="30720" cy="12287"/>
            </a:xfrm>
            <a:custGeom>
              <a:avLst/>
              <a:gdLst>
                <a:gd name="T0" fmla="*/ 10 w 10"/>
                <a:gd name="T1" fmla="*/ 5 h 6"/>
                <a:gd name="T2" fmla="*/ 10 w 10"/>
                <a:gd name="T3" fmla="*/ 5 h 6"/>
                <a:gd name="T4" fmla="*/ 10 w 10"/>
                <a:gd name="T5" fmla="*/ 6 h 6"/>
                <a:gd name="T6" fmla="*/ 10 w 10"/>
                <a:gd name="T7" fmla="*/ 6 h 6"/>
                <a:gd name="T8" fmla="*/ 6 w 10"/>
                <a:gd name="T9" fmla="*/ 5 h 6"/>
                <a:gd name="T10" fmla="*/ 6 w 10"/>
                <a:gd name="T11" fmla="*/ 5 h 6"/>
                <a:gd name="T12" fmla="*/ 2 w 10"/>
                <a:gd name="T13" fmla="*/ 3 h 6"/>
                <a:gd name="T14" fmla="*/ 0 w 10"/>
                <a:gd name="T15" fmla="*/ 2 h 6"/>
                <a:gd name="T16" fmla="*/ 0 w 10"/>
                <a:gd name="T17" fmla="*/ 0 h 6"/>
                <a:gd name="T18" fmla="*/ 0 w 10"/>
                <a:gd name="T19" fmla="*/ 0 h 6"/>
                <a:gd name="T20" fmla="*/ 2 w 10"/>
                <a:gd name="T21" fmla="*/ 2 h 6"/>
                <a:gd name="T22" fmla="*/ 5 w 10"/>
                <a:gd name="T23" fmla="*/ 3 h 6"/>
                <a:gd name="T24" fmla="*/ 10 w 10"/>
                <a:gd name="T2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6">
                  <a:moveTo>
                    <a:pt x="10" y="5"/>
                  </a:moveTo>
                  <a:lnTo>
                    <a:pt x="10" y="5"/>
                  </a:lnTo>
                  <a:lnTo>
                    <a:pt x="10" y="6"/>
                  </a:lnTo>
                  <a:lnTo>
                    <a:pt x="10" y="6"/>
                  </a:lnTo>
                  <a:lnTo>
                    <a:pt x="6" y="5"/>
                  </a:lnTo>
                  <a:lnTo>
                    <a:pt x="6" y="5"/>
                  </a:lnTo>
                  <a:lnTo>
                    <a:pt x="2" y="3"/>
                  </a:lnTo>
                  <a:lnTo>
                    <a:pt x="0" y="2"/>
                  </a:lnTo>
                  <a:lnTo>
                    <a:pt x="0" y="0"/>
                  </a:lnTo>
                  <a:lnTo>
                    <a:pt x="0" y="0"/>
                  </a:lnTo>
                  <a:lnTo>
                    <a:pt x="2" y="2"/>
                  </a:lnTo>
                  <a:lnTo>
                    <a:pt x="5" y="3"/>
                  </a:lnTo>
                  <a:lnTo>
                    <a:pt x="10"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9" name="Freeform 902"/>
            <p:cNvSpPr/>
            <p:nvPr/>
          </p:nvSpPr>
          <p:spPr bwMode="auto">
            <a:xfrm>
              <a:off x="4799709" y="2584278"/>
              <a:ext cx="30720" cy="43007"/>
            </a:xfrm>
            <a:custGeom>
              <a:avLst/>
              <a:gdLst>
                <a:gd name="T0" fmla="*/ 1 w 10"/>
                <a:gd name="T1" fmla="*/ 0 h 14"/>
                <a:gd name="T2" fmla="*/ 1 w 10"/>
                <a:gd name="T3" fmla="*/ 0 h 14"/>
                <a:gd name="T4" fmla="*/ 7 w 10"/>
                <a:gd name="T5" fmla="*/ 8 h 14"/>
                <a:gd name="T6" fmla="*/ 8 w 10"/>
                <a:gd name="T7" fmla="*/ 11 h 14"/>
                <a:gd name="T8" fmla="*/ 10 w 10"/>
                <a:gd name="T9" fmla="*/ 14 h 14"/>
                <a:gd name="T10" fmla="*/ 10 w 10"/>
                <a:gd name="T11" fmla="*/ 14 h 14"/>
                <a:gd name="T12" fmla="*/ 8 w 10"/>
                <a:gd name="T13" fmla="*/ 11 h 14"/>
                <a:gd name="T14" fmla="*/ 7 w 10"/>
                <a:gd name="T15" fmla="*/ 11 h 14"/>
                <a:gd name="T16" fmla="*/ 5 w 10"/>
                <a:gd name="T17" fmla="*/ 11 h 14"/>
                <a:gd name="T18" fmla="*/ 4 w 10"/>
                <a:gd name="T19" fmla="*/ 11 h 14"/>
                <a:gd name="T20" fmla="*/ 4 w 10"/>
                <a:gd name="T21" fmla="*/ 11 h 14"/>
                <a:gd name="T22" fmla="*/ 4 w 10"/>
                <a:gd name="T23" fmla="*/ 8 h 14"/>
                <a:gd name="T24" fmla="*/ 4 w 10"/>
                <a:gd name="T25" fmla="*/ 8 h 14"/>
                <a:gd name="T26" fmla="*/ 5 w 10"/>
                <a:gd name="T27" fmla="*/ 7 h 14"/>
                <a:gd name="T28" fmla="*/ 5 w 10"/>
                <a:gd name="T29" fmla="*/ 7 h 14"/>
                <a:gd name="T30" fmla="*/ 1 w 10"/>
                <a:gd name="T31" fmla="*/ 2 h 14"/>
                <a:gd name="T32" fmla="*/ 0 w 10"/>
                <a:gd name="T33" fmla="*/ 1 h 14"/>
                <a:gd name="T34" fmla="*/ 1 w 10"/>
                <a:gd name="T3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14">
                  <a:moveTo>
                    <a:pt x="1" y="0"/>
                  </a:moveTo>
                  <a:lnTo>
                    <a:pt x="1" y="0"/>
                  </a:lnTo>
                  <a:lnTo>
                    <a:pt x="7" y="8"/>
                  </a:lnTo>
                  <a:lnTo>
                    <a:pt x="8" y="11"/>
                  </a:lnTo>
                  <a:lnTo>
                    <a:pt x="10" y="14"/>
                  </a:lnTo>
                  <a:lnTo>
                    <a:pt x="10" y="14"/>
                  </a:lnTo>
                  <a:lnTo>
                    <a:pt x="8" y="11"/>
                  </a:lnTo>
                  <a:lnTo>
                    <a:pt x="7" y="11"/>
                  </a:lnTo>
                  <a:lnTo>
                    <a:pt x="5" y="11"/>
                  </a:lnTo>
                  <a:lnTo>
                    <a:pt x="4" y="11"/>
                  </a:lnTo>
                  <a:lnTo>
                    <a:pt x="4" y="11"/>
                  </a:lnTo>
                  <a:lnTo>
                    <a:pt x="4" y="8"/>
                  </a:lnTo>
                  <a:lnTo>
                    <a:pt x="4" y="8"/>
                  </a:lnTo>
                  <a:lnTo>
                    <a:pt x="5" y="7"/>
                  </a:lnTo>
                  <a:lnTo>
                    <a:pt x="5" y="7"/>
                  </a:lnTo>
                  <a:lnTo>
                    <a:pt x="1" y="2"/>
                  </a:lnTo>
                  <a:lnTo>
                    <a:pt x="0" y="1"/>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0" name="Freeform 903"/>
            <p:cNvSpPr/>
            <p:nvPr/>
          </p:nvSpPr>
          <p:spPr bwMode="auto">
            <a:xfrm>
              <a:off x="4842717" y="2639572"/>
              <a:ext cx="12287" cy="24574"/>
            </a:xfrm>
            <a:custGeom>
              <a:avLst/>
              <a:gdLst>
                <a:gd name="T0" fmla="*/ 5 w 5"/>
                <a:gd name="T1" fmla="*/ 7 h 7"/>
                <a:gd name="T2" fmla="*/ 5 w 5"/>
                <a:gd name="T3" fmla="*/ 7 h 7"/>
                <a:gd name="T4" fmla="*/ 2 w 5"/>
                <a:gd name="T5" fmla="*/ 3 h 7"/>
                <a:gd name="T6" fmla="*/ 0 w 5"/>
                <a:gd name="T7" fmla="*/ 0 h 7"/>
                <a:gd name="T8" fmla="*/ 0 w 5"/>
                <a:gd name="T9" fmla="*/ 0 h 7"/>
                <a:gd name="T10" fmla="*/ 2 w 5"/>
                <a:gd name="T11" fmla="*/ 2 h 7"/>
                <a:gd name="T12" fmla="*/ 5 w 5"/>
                <a:gd name="T13" fmla="*/ 4 h 7"/>
                <a:gd name="T14" fmla="*/ 5 w 5"/>
                <a:gd name="T15" fmla="*/ 6 h 7"/>
                <a:gd name="T16" fmla="*/ 5 w 5"/>
                <a:gd name="T17" fmla="*/ 7 h 7"/>
                <a:gd name="T18" fmla="*/ 5 w 5"/>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7">
                  <a:moveTo>
                    <a:pt x="5" y="7"/>
                  </a:moveTo>
                  <a:lnTo>
                    <a:pt x="5" y="7"/>
                  </a:lnTo>
                  <a:lnTo>
                    <a:pt x="2" y="3"/>
                  </a:lnTo>
                  <a:lnTo>
                    <a:pt x="0" y="0"/>
                  </a:lnTo>
                  <a:lnTo>
                    <a:pt x="0" y="0"/>
                  </a:lnTo>
                  <a:lnTo>
                    <a:pt x="2" y="2"/>
                  </a:lnTo>
                  <a:lnTo>
                    <a:pt x="5" y="4"/>
                  </a:lnTo>
                  <a:lnTo>
                    <a:pt x="5" y="6"/>
                  </a:lnTo>
                  <a:lnTo>
                    <a:pt x="5" y="7"/>
                  </a:lnTo>
                  <a:lnTo>
                    <a:pt x="5"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1" name="Freeform 904"/>
            <p:cNvSpPr/>
            <p:nvPr/>
          </p:nvSpPr>
          <p:spPr bwMode="auto">
            <a:xfrm>
              <a:off x="4437243" y="1804052"/>
              <a:ext cx="30720" cy="18433"/>
            </a:xfrm>
            <a:custGeom>
              <a:avLst/>
              <a:gdLst>
                <a:gd name="T0" fmla="*/ 10 w 10"/>
                <a:gd name="T1" fmla="*/ 6 h 6"/>
                <a:gd name="T2" fmla="*/ 10 w 10"/>
                <a:gd name="T3" fmla="*/ 6 h 6"/>
                <a:gd name="T4" fmla="*/ 4 w 10"/>
                <a:gd name="T5" fmla="*/ 4 h 6"/>
                <a:gd name="T6" fmla="*/ 4 w 10"/>
                <a:gd name="T7" fmla="*/ 4 h 6"/>
                <a:gd name="T8" fmla="*/ 0 w 10"/>
                <a:gd name="T9" fmla="*/ 0 h 6"/>
                <a:gd name="T10" fmla="*/ 0 w 10"/>
                <a:gd name="T11" fmla="*/ 0 h 6"/>
                <a:gd name="T12" fmla="*/ 6 w 10"/>
                <a:gd name="T13" fmla="*/ 3 h 6"/>
                <a:gd name="T14" fmla="*/ 6 w 10"/>
                <a:gd name="T15" fmla="*/ 3 h 6"/>
                <a:gd name="T16" fmla="*/ 10 w 10"/>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6">
                  <a:moveTo>
                    <a:pt x="10" y="6"/>
                  </a:moveTo>
                  <a:lnTo>
                    <a:pt x="10" y="6"/>
                  </a:lnTo>
                  <a:lnTo>
                    <a:pt x="4" y="4"/>
                  </a:lnTo>
                  <a:lnTo>
                    <a:pt x="4" y="4"/>
                  </a:lnTo>
                  <a:lnTo>
                    <a:pt x="0" y="0"/>
                  </a:lnTo>
                  <a:lnTo>
                    <a:pt x="0" y="0"/>
                  </a:lnTo>
                  <a:lnTo>
                    <a:pt x="6" y="3"/>
                  </a:lnTo>
                  <a:lnTo>
                    <a:pt x="6" y="3"/>
                  </a:lnTo>
                  <a:lnTo>
                    <a:pt x="10"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2" name="Freeform 905"/>
            <p:cNvSpPr/>
            <p:nvPr/>
          </p:nvSpPr>
          <p:spPr bwMode="auto">
            <a:xfrm>
              <a:off x="4480247" y="1822481"/>
              <a:ext cx="104442" cy="73721"/>
            </a:xfrm>
            <a:custGeom>
              <a:avLst/>
              <a:gdLst>
                <a:gd name="T0" fmla="*/ 17 w 36"/>
                <a:gd name="T1" fmla="*/ 10 h 23"/>
                <a:gd name="T2" fmla="*/ 17 w 36"/>
                <a:gd name="T3" fmla="*/ 10 h 23"/>
                <a:gd name="T4" fmla="*/ 19 w 36"/>
                <a:gd name="T5" fmla="*/ 10 h 23"/>
                <a:gd name="T6" fmla="*/ 21 w 36"/>
                <a:gd name="T7" fmla="*/ 11 h 23"/>
                <a:gd name="T8" fmla="*/ 24 w 36"/>
                <a:gd name="T9" fmla="*/ 14 h 23"/>
                <a:gd name="T10" fmla="*/ 24 w 36"/>
                <a:gd name="T11" fmla="*/ 14 h 23"/>
                <a:gd name="T12" fmla="*/ 24 w 36"/>
                <a:gd name="T13" fmla="*/ 14 h 23"/>
                <a:gd name="T14" fmla="*/ 26 w 36"/>
                <a:gd name="T15" fmla="*/ 13 h 23"/>
                <a:gd name="T16" fmla="*/ 30 w 36"/>
                <a:gd name="T17" fmla="*/ 14 h 23"/>
                <a:gd name="T18" fmla="*/ 30 w 36"/>
                <a:gd name="T19" fmla="*/ 14 h 23"/>
                <a:gd name="T20" fmla="*/ 31 w 36"/>
                <a:gd name="T21" fmla="*/ 15 h 23"/>
                <a:gd name="T22" fmla="*/ 31 w 36"/>
                <a:gd name="T23" fmla="*/ 15 h 23"/>
                <a:gd name="T24" fmla="*/ 29 w 36"/>
                <a:gd name="T25" fmla="*/ 15 h 23"/>
                <a:gd name="T26" fmla="*/ 26 w 36"/>
                <a:gd name="T27" fmla="*/ 15 h 23"/>
                <a:gd name="T28" fmla="*/ 26 w 36"/>
                <a:gd name="T29" fmla="*/ 15 h 23"/>
                <a:gd name="T30" fmla="*/ 27 w 36"/>
                <a:gd name="T31" fmla="*/ 17 h 23"/>
                <a:gd name="T32" fmla="*/ 27 w 36"/>
                <a:gd name="T33" fmla="*/ 17 h 23"/>
                <a:gd name="T34" fmla="*/ 29 w 36"/>
                <a:gd name="T35" fmla="*/ 17 h 23"/>
                <a:gd name="T36" fmla="*/ 31 w 36"/>
                <a:gd name="T37" fmla="*/ 18 h 23"/>
                <a:gd name="T38" fmla="*/ 31 w 36"/>
                <a:gd name="T39" fmla="*/ 18 h 23"/>
                <a:gd name="T40" fmla="*/ 34 w 36"/>
                <a:gd name="T41" fmla="*/ 21 h 23"/>
                <a:gd name="T42" fmla="*/ 36 w 36"/>
                <a:gd name="T43" fmla="*/ 23 h 23"/>
                <a:gd name="T44" fmla="*/ 36 w 36"/>
                <a:gd name="T45" fmla="*/ 23 h 23"/>
                <a:gd name="T46" fmla="*/ 36 w 36"/>
                <a:gd name="T47" fmla="*/ 23 h 23"/>
                <a:gd name="T48" fmla="*/ 29 w 36"/>
                <a:gd name="T49" fmla="*/ 18 h 23"/>
                <a:gd name="T50" fmla="*/ 20 w 36"/>
                <a:gd name="T51" fmla="*/ 14 h 23"/>
                <a:gd name="T52" fmla="*/ 20 w 36"/>
                <a:gd name="T53" fmla="*/ 14 h 23"/>
                <a:gd name="T54" fmla="*/ 13 w 36"/>
                <a:gd name="T55" fmla="*/ 11 h 23"/>
                <a:gd name="T56" fmla="*/ 13 w 36"/>
                <a:gd name="T57" fmla="*/ 10 h 23"/>
                <a:gd name="T58" fmla="*/ 14 w 36"/>
                <a:gd name="T59" fmla="*/ 8 h 23"/>
                <a:gd name="T60" fmla="*/ 14 w 36"/>
                <a:gd name="T61" fmla="*/ 8 h 23"/>
                <a:gd name="T62" fmla="*/ 6 w 36"/>
                <a:gd name="T63" fmla="*/ 4 h 23"/>
                <a:gd name="T64" fmla="*/ 1 w 36"/>
                <a:gd name="T65" fmla="*/ 3 h 23"/>
                <a:gd name="T66" fmla="*/ 0 w 36"/>
                <a:gd name="T67" fmla="*/ 0 h 23"/>
                <a:gd name="T68" fmla="*/ 0 w 36"/>
                <a:gd name="T69" fmla="*/ 0 h 23"/>
                <a:gd name="T70" fmla="*/ 9 w 36"/>
                <a:gd name="T71" fmla="*/ 4 h 23"/>
                <a:gd name="T72" fmla="*/ 14 w 36"/>
                <a:gd name="T73" fmla="*/ 7 h 23"/>
                <a:gd name="T74" fmla="*/ 17 w 36"/>
                <a:gd name="T75"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 h="23">
                  <a:moveTo>
                    <a:pt x="17" y="10"/>
                  </a:moveTo>
                  <a:lnTo>
                    <a:pt x="17" y="10"/>
                  </a:lnTo>
                  <a:lnTo>
                    <a:pt x="19" y="10"/>
                  </a:lnTo>
                  <a:lnTo>
                    <a:pt x="21" y="11"/>
                  </a:lnTo>
                  <a:lnTo>
                    <a:pt x="24" y="14"/>
                  </a:lnTo>
                  <a:lnTo>
                    <a:pt x="24" y="14"/>
                  </a:lnTo>
                  <a:lnTo>
                    <a:pt x="24" y="14"/>
                  </a:lnTo>
                  <a:lnTo>
                    <a:pt x="26" y="13"/>
                  </a:lnTo>
                  <a:lnTo>
                    <a:pt x="30" y="14"/>
                  </a:lnTo>
                  <a:lnTo>
                    <a:pt x="30" y="14"/>
                  </a:lnTo>
                  <a:lnTo>
                    <a:pt x="31" y="15"/>
                  </a:lnTo>
                  <a:lnTo>
                    <a:pt x="31" y="15"/>
                  </a:lnTo>
                  <a:lnTo>
                    <a:pt x="29" y="15"/>
                  </a:lnTo>
                  <a:lnTo>
                    <a:pt x="26" y="15"/>
                  </a:lnTo>
                  <a:lnTo>
                    <a:pt x="26" y="15"/>
                  </a:lnTo>
                  <a:lnTo>
                    <a:pt x="27" y="17"/>
                  </a:lnTo>
                  <a:lnTo>
                    <a:pt x="27" y="17"/>
                  </a:lnTo>
                  <a:lnTo>
                    <a:pt x="29" y="17"/>
                  </a:lnTo>
                  <a:lnTo>
                    <a:pt x="31" y="18"/>
                  </a:lnTo>
                  <a:lnTo>
                    <a:pt x="31" y="18"/>
                  </a:lnTo>
                  <a:lnTo>
                    <a:pt x="34" y="21"/>
                  </a:lnTo>
                  <a:lnTo>
                    <a:pt x="36" y="23"/>
                  </a:lnTo>
                  <a:lnTo>
                    <a:pt x="36" y="23"/>
                  </a:lnTo>
                  <a:lnTo>
                    <a:pt x="36" y="23"/>
                  </a:lnTo>
                  <a:lnTo>
                    <a:pt x="29" y="18"/>
                  </a:lnTo>
                  <a:lnTo>
                    <a:pt x="20" y="14"/>
                  </a:lnTo>
                  <a:lnTo>
                    <a:pt x="20" y="14"/>
                  </a:lnTo>
                  <a:lnTo>
                    <a:pt x="13" y="11"/>
                  </a:lnTo>
                  <a:lnTo>
                    <a:pt x="13" y="10"/>
                  </a:lnTo>
                  <a:lnTo>
                    <a:pt x="14" y="8"/>
                  </a:lnTo>
                  <a:lnTo>
                    <a:pt x="14" y="8"/>
                  </a:lnTo>
                  <a:lnTo>
                    <a:pt x="6" y="4"/>
                  </a:lnTo>
                  <a:lnTo>
                    <a:pt x="1" y="3"/>
                  </a:lnTo>
                  <a:lnTo>
                    <a:pt x="0" y="0"/>
                  </a:lnTo>
                  <a:lnTo>
                    <a:pt x="0" y="0"/>
                  </a:lnTo>
                  <a:lnTo>
                    <a:pt x="9" y="4"/>
                  </a:lnTo>
                  <a:lnTo>
                    <a:pt x="14" y="7"/>
                  </a:lnTo>
                  <a:lnTo>
                    <a:pt x="17"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3" name="Freeform 906"/>
            <p:cNvSpPr/>
            <p:nvPr/>
          </p:nvSpPr>
          <p:spPr bwMode="auto">
            <a:xfrm>
              <a:off x="4504821" y="1834768"/>
              <a:ext cx="49148" cy="24574"/>
            </a:xfrm>
            <a:custGeom>
              <a:avLst/>
              <a:gdLst>
                <a:gd name="T0" fmla="*/ 15 w 15"/>
                <a:gd name="T1" fmla="*/ 8 h 8"/>
                <a:gd name="T2" fmla="*/ 15 w 15"/>
                <a:gd name="T3" fmla="*/ 8 h 8"/>
                <a:gd name="T4" fmla="*/ 11 w 15"/>
                <a:gd name="T5" fmla="*/ 7 h 8"/>
                <a:gd name="T6" fmla="*/ 11 w 15"/>
                <a:gd name="T7" fmla="*/ 7 h 8"/>
                <a:gd name="T8" fmla="*/ 8 w 15"/>
                <a:gd name="T9" fmla="*/ 4 h 8"/>
                <a:gd name="T10" fmla="*/ 8 w 15"/>
                <a:gd name="T11" fmla="*/ 4 h 8"/>
                <a:gd name="T12" fmla="*/ 0 w 15"/>
                <a:gd name="T13" fmla="*/ 0 h 8"/>
                <a:gd name="T14" fmla="*/ 0 w 15"/>
                <a:gd name="T15" fmla="*/ 0 h 8"/>
                <a:gd name="T16" fmla="*/ 8 w 15"/>
                <a:gd name="T17" fmla="*/ 2 h 8"/>
                <a:gd name="T18" fmla="*/ 8 w 15"/>
                <a:gd name="T19" fmla="*/ 2 h 8"/>
                <a:gd name="T20" fmla="*/ 12 w 15"/>
                <a:gd name="T21" fmla="*/ 5 h 8"/>
                <a:gd name="T22" fmla="*/ 12 w 15"/>
                <a:gd name="T23" fmla="*/ 5 h 8"/>
                <a:gd name="T24" fmla="*/ 15 w 15"/>
                <a:gd name="T2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8">
                  <a:moveTo>
                    <a:pt x="15" y="8"/>
                  </a:moveTo>
                  <a:lnTo>
                    <a:pt x="15" y="8"/>
                  </a:lnTo>
                  <a:lnTo>
                    <a:pt x="11" y="7"/>
                  </a:lnTo>
                  <a:lnTo>
                    <a:pt x="11" y="7"/>
                  </a:lnTo>
                  <a:lnTo>
                    <a:pt x="8" y="4"/>
                  </a:lnTo>
                  <a:lnTo>
                    <a:pt x="8" y="4"/>
                  </a:lnTo>
                  <a:lnTo>
                    <a:pt x="0" y="0"/>
                  </a:lnTo>
                  <a:lnTo>
                    <a:pt x="0" y="0"/>
                  </a:lnTo>
                  <a:lnTo>
                    <a:pt x="8" y="2"/>
                  </a:lnTo>
                  <a:lnTo>
                    <a:pt x="8" y="2"/>
                  </a:lnTo>
                  <a:lnTo>
                    <a:pt x="12" y="5"/>
                  </a:lnTo>
                  <a:lnTo>
                    <a:pt x="12" y="5"/>
                  </a:lnTo>
                  <a:lnTo>
                    <a:pt x="15"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4" name="Freeform 907"/>
            <p:cNvSpPr/>
            <p:nvPr/>
          </p:nvSpPr>
          <p:spPr bwMode="auto">
            <a:xfrm>
              <a:off x="4953301" y="2823877"/>
              <a:ext cx="12287" cy="43007"/>
            </a:xfrm>
            <a:custGeom>
              <a:avLst/>
              <a:gdLst>
                <a:gd name="T0" fmla="*/ 0 w 5"/>
                <a:gd name="T1" fmla="*/ 0 h 14"/>
                <a:gd name="T2" fmla="*/ 0 w 5"/>
                <a:gd name="T3" fmla="*/ 0 h 14"/>
                <a:gd name="T4" fmla="*/ 3 w 5"/>
                <a:gd name="T5" fmla="*/ 9 h 14"/>
                <a:gd name="T6" fmla="*/ 3 w 5"/>
                <a:gd name="T7" fmla="*/ 9 h 14"/>
                <a:gd name="T8" fmla="*/ 5 w 5"/>
                <a:gd name="T9" fmla="*/ 12 h 14"/>
                <a:gd name="T10" fmla="*/ 5 w 5"/>
                <a:gd name="T11" fmla="*/ 14 h 14"/>
                <a:gd name="T12" fmla="*/ 5 w 5"/>
                <a:gd name="T13" fmla="*/ 14 h 14"/>
                <a:gd name="T14" fmla="*/ 2 w 5"/>
                <a:gd name="T15" fmla="*/ 7 h 14"/>
                <a:gd name="T16" fmla="*/ 0 w 5"/>
                <a:gd name="T17" fmla="*/ 3 h 14"/>
                <a:gd name="T18" fmla="*/ 0 w 5"/>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4">
                  <a:moveTo>
                    <a:pt x="0" y="0"/>
                  </a:moveTo>
                  <a:lnTo>
                    <a:pt x="0" y="0"/>
                  </a:lnTo>
                  <a:lnTo>
                    <a:pt x="3" y="9"/>
                  </a:lnTo>
                  <a:lnTo>
                    <a:pt x="3" y="9"/>
                  </a:lnTo>
                  <a:lnTo>
                    <a:pt x="5" y="12"/>
                  </a:lnTo>
                  <a:lnTo>
                    <a:pt x="5" y="14"/>
                  </a:lnTo>
                  <a:lnTo>
                    <a:pt x="5" y="14"/>
                  </a:lnTo>
                  <a:lnTo>
                    <a:pt x="2" y="7"/>
                  </a:lnTo>
                  <a:lnTo>
                    <a:pt x="0"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5" name="Freeform 908"/>
            <p:cNvSpPr/>
            <p:nvPr/>
          </p:nvSpPr>
          <p:spPr bwMode="auto">
            <a:xfrm>
              <a:off x="4584689" y="1883917"/>
              <a:ext cx="30720" cy="18433"/>
            </a:xfrm>
            <a:custGeom>
              <a:avLst/>
              <a:gdLst>
                <a:gd name="T0" fmla="*/ 7 w 8"/>
                <a:gd name="T1" fmla="*/ 3 h 7"/>
                <a:gd name="T2" fmla="*/ 7 w 8"/>
                <a:gd name="T3" fmla="*/ 3 h 7"/>
                <a:gd name="T4" fmla="*/ 8 w 8"/>
                <a:gd name="T5" fmla="*/ 6 h 7"/>
                <a:gd name="T6" fmla="*/ 8 w 8"/>
                <a:gd name="T7" fmla="*/ 7 h 7"/>
                <a:gd name="T8" fmla="*/ 8 w 8"/>
                <a:gd name="T9" fmla="*/ 7 h 7"/>
                <a:gd name="T10" fmla="*/ 8 w 8"/>
                <a:gd name="T11" fmla="*/ 7 h 7"/>
                <a:gd name="T12" fmla="*/ 4 w 8"/>
                <a:gd name="T13" fmla="*/ 3 h 7"/>
                <a:gd name="T14" fmla="*/ 0 w 8"/>
                <a:gd name="T15" fmla="*/ 2 h 7"/>
                <a:gd name="T16" fmla="*/ 0 w 8"/>
                <a:gd name="T17" fmla="*/ 2 h 7"/>
                <a:gd name="T18" fmla="*/ 0 w 8"/>
                <a:gd name="T19" fmla="*/ 0 h 7"/>
                <a:gd name="T20" fmla="*/ 1 w 8"/>
                <a:gd name="T21" fmla="*/ 0 h 7"/>
                <a:gd name="T22" fmla="*/ 7 w 8"/>
                <a:gd name="T2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7">
                  <a:moveTo>
                    <a:pt x="7" y="3"/>
                  </a:moveTo>
                  <a:lnTo>
                    <a:pt x="7" y="3"/>
                  </a:lnTo>
                  <a:lnTo>
                    <a:pt x="8" y="6"/>
                  </a:lnTo>
                  <a:lnTo>
                    <a:pt x="8" y="7"/>
                  </a:lnTo>
                  <a:lnTo>
                    <a:pt x="8" y="7"/>
                  </a:lnTo>
                  <a:lnTo>
                    <a:pt x="8" y="7"/>
                  </a:lnTo>
                  <a:lnTo>
                    <a:pt x="4" y="3"/>
                  </a:lnTo>
                  <a:lnTo>
                    <a:pt x="0" y="2"/>
                  </a:lnTo>
                  <a:lnTo>
                    <a:pt x="0" y="2"/>
                  </a:lnTo>
                  <a:lnTo>
                    <a:pt x="0" y="0"/>
                  </a:lnTo>
                  <a:lnTo>
                    <a:pt x="1" y="0"/>
                  </a:lnTo>
                  <a:lnTo>
                    <a:pt x="7"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6" name="Freeform 909"/>
            <p:cNvSpPr/>
            <p:nvPr/>
          </p:nvSpPr>
          <p:spPr bwMode="auto">
            <a:xfrm>
              <a:off x="4652265" y="1939211"/>
              <a:ext cx="24574" cy="18433"/>
            </a:xfrm>
            <a:custGeom>
              <a:avLst/>
              <a:gdLst>
                <a:gd name="T0" fmla="*/ 1 w 7"/>
                <a:gd name="T1" fmla="*/ 0 h 6"/>
                <a:gd name="T2" fmla="*/ 1 w 7"/>
                <a:gd name="T3" fmla="*/ 0 h 6"/>
                <a:gd name="T4" fmla="*/ 4 w 7"/>
                <a:gd name="T5" fmla="*/ 3 h 6"/>
                <a:gd name="T6" fmla="*/ 6 w 7"/>
                <a:gd name="T7" fmla="*/ 4 h 6"/>
                <a:gd name="T8" fmla="*/ 7 w 7"/>
                <a:gd name="T9" fmla="*/ 6 h 6"/>
                <a:gd name="T10" fmla="*/ 7 w 7"/>
                <a:gd name="T11" fmla="*/ 6 h 6"/>
                <a:gd name="T12" fmla="*/ 1 w 7"/>
                <a:gd name="T13" fmla="*/ 3 h 6"/>
                <a:gd name="T14" fmla="*/ 0 w 7"/>
                <a:gd name="T15" fmla="*/ 0 h 6"/>
                <a:gd name="T16" fmla="*/ 1 w 7"/>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1" y="0"/>
                  </a:moveTo>
                  <a:lnTo>
                    <a:pt x="1" y="0"/>
                  </a:lnTo>
                  <a:lnTo>
                    <a:pt x="4" y="3"/>
                  </a:lnTo>
                  <a:lnTo>
                    <a:pt x="6" y="4"/>
                  </a:lnTo>
                  <a:lnTo>
                    <a:pt x="7" y="6"/>
                  </a:lnTo>
                  <a:lnTo>
                    <a:pt x="7" y="6"/>
                  </a:lnTo>
                  <a:lnTo>
                    <a:pt x="1" y="3"/>
                  </a:lnTo>
                  <a:lnTo>
                    <a:pt x="0"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7" name="Freeform 910"/>
            <p:cNvSpPr/>
            <p:nvPr/>
          </p:nvSpPr>
          <p:spPr bwMode="auto">
            <a:xfrm>
              <a:off x="4627691" y="1896204"/>
              <a:ext cx="24574" cy="18433"/>
            </a:xfrm>
            <a:custGeom>
              <a:avLst/>
              <a:gdLst>
                <a:gd name="T0" fmla="*/ 6 w 7"/>
                <a:gd name="T1" fmla="*/ 3 h 6"/>
                <a:gd name="T2" fmla="*/ 6 w 7"/>
                <a:gd name="T3" fmla="*/ 3 h 6"/>
                <a:gd name="T4" fmla="*/ 7 w 7"/>
                <a:gd name="T5" fmla="*/ 6 h 6"/>
                <a:gd name="T6" fmla="*/ 6 w 7"/>
                <a:gd name="T7" fmla="*/ 6 h 6"/>
                <a:gd name="T8" fmla="*/ 6 w 7"/>
                <a:gd name="T9" fmla="*/ 6 h 6"/>
                <a:gd name="T10" fmla="*/ 3 w 7"/>
                <a:gd name="T11" fmla="*/ 3 h 6"/>
                <a:gd name="T12" fmla="*/ 3 w 7"/>
                <a:gd name="T13" fmla="*/ 3 h 6"/>
                <a:gd name="T14" fmla="*/ 0 w 7"/>
                <a:gd name="T15" fmla="*/ 0 h 6"/>
                <a:gd name="T16" fmla="*/ 0 w 7"/>
                <a:gd name="T17" fmla="*/ 0 h 6"/>
                <a:gd name="T18" fmla="*/ 6 w 7"/>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6" y="3"/>
                  </a:moveTo>
                  <a:lnTo>
                    <a:pt x="6" y="3"/>
                  </a:lnTo>
                  <a:lnTo>
                    <a:pt x="7" y="6"/>
                  </a:lnTo>
                  <a:lnTo>
                    <a:pt x="6" y="6"/>
                  </a:lnTo>
                  <a:lnTo>
                    <a:pt x="6" y="6"/>
                  </a:lnTo>
                  <a:lnTo>
                    <a:pt x="3" y="3"/>
                  </a:lnTo>
                  <a:lnTo>
                    <a:pt x="3" y="3"/>
                  </a:lnTo>
                  <a:lnTo>
                    <a:pt x="0" y="0"/>
                  </a:lnTo>
                  <a:lnTo>
                    <a:pt x="0" y="0"/>
                  </a:lnTo>
                  <a:lnTo>
                    <a:pt x="6"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8" name="Freeform 911"/>
            <p:cNvSpPr/>
            <p:nvPr/>
          </p:nvSpPr>
          <p:spPr bwMode="auto">
            <a:xfrm>
              <a:off x="4996303" y="2934462"/>
              <a:ext cx="12287" cy="30720"/>
            </a:xfrm>
            <a:custGeom>
              <a:avLst/>
              <a:gdLst>
                <a:gd name="T0" fmla="*/ 5 w 5"/>
                <a:gd name="T1" fmla="*/ 10 h 10"/>
                <a:gd name="T2" fmla="*/ 5 w 5"/>
                <a:gd name="T3" fmla="*/ 10 h 10"/>
                <a:gd name="T4" fmla="*/ 3 w 5"/>
                <a:gd name="T5" fmla="*/ 8 h 10"/>
                <a:gd name="T6" fmla="*/ 2 w 5"/>
                <a:gd name="T7" fmla="*/ 7 h 10"/>
                <a:gd name="T8" fmla="*/ 2 w 5"/>
                <a:gd name="T9" fmla="*/ 7 h 10"/>
                <a:gd name="T10" fmla="*/ 2 w 5"/>
                <a:gd name="T11" fmla="*/ 4 h 10"/>
                <a:gd name="T12" fmla="*/ 0 w 5"/>
                <a:gd name="T13" fmla="*/ 0 h 10"/>
                <a:gd name="T14" fmla="*/ 0 w 5"/>
                <a:gd name="T15" fmla="*/ 0 h 10"/>
                <a:gd name="T16" fmla="*/ 3 w 5"/>
                <a:gd name="T17" fmla="*/ 4 h 10"/>
                <a:gd name="T18" fmla="*/ 5 w 5"/>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5" y="10"/>
                  </a:moveTo>
                  <a:lnTo>
                    <a:pt x="5" y="10"/>
                  </a:lnTo>
                  <a:lnTo>
                    <a:pt x="3" y="8"/>
                  </a:lnTo>
                  <a:lnTo>
                    <a:pt x="2" y="7"/>
                  </a:lnTo>
                  <a:lnTo>
                    <a:pt x="2" y="7"/>
                  </a:lnTo>
                  <a:lnTo>
                    <a:pt x="2" y="4"/>
                  </a:lnTo>
                  <a:lnTo>
                    <a:pt x="0" y="0"/>
                  </a:lnTo>
                  <a:lnTo>
                    <a:pt x="0" y="0"/>
                  </a:lnTo>
                  <a:lnTo>
                    <a:pt x="3" y="4"/>
                  </a:lnTo>
                  <a:lnTo>
                    <a:pt x="5"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9" name="Freeform 912"/>
            <p:cNvSpPr/>
            <p:nvPr/>
          </p:nvSpPr>
          <p:spPr bwMode="auto">
            <a:xfrm>
              <a:off x="4732133" y="2006788"/>
              <a:ext cx="49148" cy="43007"/>
            </a:xfrm>
            <a:custGeom>
              <a:avLst/>
              <a:gdLst>
                <a:gd name="T0" fmla="*/ 8 w 17"/>
                <a:gd name="T1" fmla="*/ 4 h 14"/>
                <a:gd name="T2" fmla="*/ 8 w 17"/>
                <a:gd name="T3" fmla="*/ 4 h 14"/>
                <a:gd name="T4" fmla="*/ 10 w 17"/>
                <a:gd name="T5" fmla="*/ 7 h 14"/>
                <a:gd name="T6" fmla="*/ 11 w 17"/>
                <a:gd name="T7" fmla="*/ 9 h 14"/>
                <a:gd name="T8" fmla="*/ 11 w 17"/>
                <a:gd name="T9" fmla="*/ 9 h 14"/>
                <a:gd name="T10" fmla="*/ 13 w 17"/>
                <a:gd name="T11" fmla="*/ 9 h 14"/>
                <a:gd name="T12" fmla="*/ 14 w 17"/>
                <a:gd name="T13" fmla="*/ 9 h 14"/>
                <a:gd name="T14" fmla="*/ 14 w 17"/>
                <a:gd name="T15" fmla="*/ 9 h 14"/>
                <a:gd name="T16" fmla="*/ 15 w 17"/>
                <a:gd name="T17" fmla="*/ 12 h 14"/>
                <a:gd name="T18" fmla="*/ 17 w 17"/>
                <a:gd name="T19" fmla="*/ 13 h 14"/>
                <a:gd name="T20" fmla="*/ 17 w 17"/>
                <a:gd name="T21" fmla="*/ 14 h 14"/>
                <a:gd name="T22" fmla="*/ 14 w 17"/>
                <a:gd name="T23" fmla="*/ 13 h 14"/>
                <a:gd name="T24" fmla="*/ 14 w 17"/>
                <a:gd name="T25" fmla="*/ 13 h 14"/>
                <a:gd name="T26" fmla="*/ 7 w 17"/>
                <a:gd name="T27" fmla="*/ 7 h 14"/>
                <a:gd name="T28" fmla="*/ 7 w 17"/>
                <a:gd name="T29" fmla="*/ 7 h 14"/>
                <a:gd name="T30" fmla="*/ 0 w 17"/>
                <a:gd name="T31" fmla="*/ 0 h 14"/>
                <a:gd name="T32" fmla="*/ 0 w 17"/>
                <a:gd name="T33" fmla="*/ 0 h 14"/>
                <a:gd name="T34" fmla="*/ 8 w 17"/>
                <a:gd name="T3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4">
                  <a:moveTo>
                    <a:pt x="8" y="4"/>
                  </a:moveTo>
                  <a:lnTo>
                    <a:pt x="8" y="4"/>
                  </a:lnTo>
                  <a:lnTo>
                    <a:pt x="10" y="7"/>
                  </a:lnTo>
                  <a:lnTo>
                    <a:pt x="11" y="9"/>
                  </a:lnTo>
                  <a:lnTo>
                    <a:pt x="11" y="9"/>
                  </a:lnTo>
                  <a:lnTo>
                    <a:pt x="13" y="9"/>
                  </a:lnTo>
                  <a:lnTo>
                    <a:pt x="14" y="9"/>
                  </a:lnTo>
                  <a:lnTo>
                    <a:pt x="14" y="9"/>
                  </a:lnTo>
                  <a:lnTo>
                    <a:pt x="15" y="12"/>
                  </a:lnTo>
                  <a:lnTo>
                    <a:pt x="17" y="13"/>
                  </a:lnTo>
                  <a:lnTo>
                    <a:pt x="17" y="14"/>
                  </a:lnTo>
                  <a:lnTo>
                    <a:pt x="14" y="13"/>
                  </a:lnTo>
                  <a:lnTo>
                    <a:pt x="14" y="13"/>
                  </a:lnTo>
                  <a:lnTo>
                    <a:pt x="7" y="7"/>
                  </a:lnTo>
                  <a:lnTo>
                    <a:pt x="7" y="7"/>
                  </a:lnTo>
                  <a:lnTo>
                    <a:pt x="0" y="0"/>
                  </a:lnTo>
                  <a:lnTo>
                    <a:pt x="0" y="0"/>
                  </a:lnTo>
                  <a:lnTo>
                    <a:pt x="8"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0" name="Freeform 913"/>
            <p:cNvSpPr/>
            <p:nvPr/>
          </p:nvSpPr>
          <p:spPr bwMode="auto">
            <a:xfrm>
              <a:off x="5014736" y="3002039"/>
              <a:ext cx="6145" cy="12287"/>
            </a:xfrm>
            <a:custGeom>
              <a:avLst/>
              <a:gdLst>
                <a:gd name="T0" fmla="*/ 0 w 3"/>
                <a:gd name="T1" fmla="*/ 2 h 4"/>
                <a:gd name="T2" fmla="*/ 1 w 3"/>
                <a:gd name="T3" fmla="*/ 0 h 4"/>
                <a:gd name="T4" fmla="*/ 1 w 3"/>
                <a:gd name="T5" fmla="*/ 0 h 4"/>
                <a:gd name="T6" fmla="*/ 1 w 3"/>
                <a:gd name="T7" fmla="*/ 1 h 4"/>
                <a:gd name="T8" fmla="*/ 3 w 3"/>
                <a:gd name="T9" fmla="*/ 4 h 4"/>
                <a:gd name="T10" fmla="*/ 1 w 3"/>
                <a:gd name="T11" fmla="*/ 4 h 4"/>
                <a:gd name="T12" fmla="*/ 0 w 3"/>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0" y="2"/>
                  </a:moveTo>
                  <a:lnTo>
                    <a:pt x="1" y="0"/>
                  </a:lnTo>
                  <a:lnTo>
                    <a:pt x="1" y="0"/>
                  </a:lnTo>
                  <a:lnTo>
                    <a:pt x="1" y="1"/>
                  </a:lnTo>
                  <a:lnTo>
                    <a:pt x="3" y="4"/>
                  </a:lnTo>
                  <a:lnTo>
                    <a:pt x="1" y="4"/>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1" name="Freeform 914"/>
            <p:cNvSpPr/>
            <p:nvPr/>
          </p:nvSpPr>
          <p:spPr bwMode="auto">
            <a:xfrm>
              <a:off x="4818142" y="2080510"/>
              <a:ext cx="24574" cy="24574"/>
            </a:xfrm>
            <a:custGeom>
              <a:avLst/>
              <a:gdLst>
                <a:gd name="T0" fmla="*/ 0 w 7"/>
                <a:gd name="T1" fmla="*/ 0 h 7"/>
                <a:gd name="T2" fmla="*/ 0 w 7"/>
                <a:gd name="T3" fmla="*/ 0 h 7"/>
                <a:gd name="T4" fmla="*/ 5 w 7"/>
                <a:gd name="T5" fmla="*/ 3 h 7"/>
                <a:gd name="T6" fmla="*/ 7 w 7"/>
                <a:gd name="T7" fmla="*/ 7 h 7"/>
                <a:gd name="T8" fmla="*/ 7 w 7"/>
                <a:gd name="T9" fmla="*/ 7 h 7"/>
                <a:gd name="T10" fmla="*/ 3 w 7"/>
                <a:gd name="T11" fmla="*/ 4 h 7"/>
                <a:gd name="T12" fmla="*/ 0 w 7"/>
                <a:gd name="T13" fmla="*/ 0 h 7"/>
                <a:gd name="T14" fmla="*/ 0 w 7"/>
                <a:gd name="T15" fmla="*/ 0 h 7"/>
                <a:gd name="T16" fmla="*/ 2 w 7"/>
                <a:gd name="T17" fmla="*/ 1 h 7"/>
                <a:gd name="T18" fmla="*/ 0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0" y="0"/>
                  </a:moveTo>
                  <a:lnTo>
                    <a:pt x="0" y="0"/>
                  </a:lnTo>
                  <a:lnTo>
                    <a:pt x="5" y="3"/>
                  </a:lnTo>
                  <a:lnTo>
                    <a:pt x="7" y="7"/>
                  </a:lnTo>
                  <a:lnTo>
                    <a:pt x="7" y="7"/>
                  </a:lnTo>
                  <a:lnTo>
                    <a:pt x="3" y="4"/>
                  </a:lnTo>
                  <a:lnTo>
                    <a:pt x="0" y="0"/>
                  </a:lnTo>
                  <a:lnTo>
                    <a:pt x="0" y="0"/>
                  </a:lnTo>
                  <a:lnTo>
                    <a:pt x="2"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2" name="Freeform 915"/>
            <p:cNvSpPr/>
            <p:nvPr/>
          </p:nvSpPr>
          <p:spPr bwMode="auto">
            <a:xfrm>
              <a:off x="5045451" y="3124910"/>
              <a:ext cx="12287" cy="30720"/>
            </a:xfrm>
            <a:custGeom>
              <a:avLst/>
              <a:gdLst>
                <a:gd name="T0" fmla="*/ 5 w 5"/>
                <a:gd name="T1" fmla="*/ 4 h 12"/>
                <a:gd name="T2" fmla="*/ 5 w 5"/>
                <a:gd name="T3" fmla="*/ 4 h 12"/>
                <a:gd name="T4" fmla="*/ 5 w 5"/>
                <a:gd name="T5" fmla="*/ 12 h 12"/>
                <a:gd name="T6" fmla="*/ 5 w 5"/>
                <a:gd name="T7" fmla="*/ 12 h 12"/>
                <a:gd name="T8" fmla="*/ 3 w 5"/>
                <a:gd name="T9" fmla="*/ 12 h 12"/>
                <a:gd name="T10" fmla="*/ 3 w 5"/>
                <a:gd name="T11" fmla="*/ 10 h 12"/>
                <a:gd name="T12" fmla="*/ 2 w 5"/>
                <a:gd name="T13" fmla="*/ 9 h 12"/>
                <a:gd name="T14" fmla="*/ 2 w 5"/>
                <a:gd name="T15" fmla="*/ 9 h 12"/>
                <a:gd name="T16" fmla="*/ 3 w 5"/>
                <a:gd name="T17" fmla="*/ 10 h 12"/>
                <a:gd name="T18" fmla="*/ 3 w 5"/>
                <a:gd name="T19" fmla="*/ 9 h 12"/>
                <a:gd name="T20" fmla="*/ 3 w 5"/>
                <a:gd name="T21" fmla="*/ 6 h 12"/>
                <a:gd name="T22" fmla="*/ 3 w 5"/>
                <a:gd name="T23" fmla="*/ 6 h 12"/>
                <a:gd name="T24" fmla="*/ 2 w 5"/>
                <a:gd name="T25" fmla="*/ 7 h 12"/>
                <a:gd name="T26" fmla="*/ 0 w 5"/>
                <a:gd name="T27" fmla="*/ 6 h 12"/>
                <a:gd name="T28" fmla="*/ 0 w 5"/>
                <a:gd name="T29" fmla="*/ 6 h 12"/>
                <a:gd name="T30" fmla="*/ 0 w 5"/>
                <a:gd name="T31" fmla="*/ 3 h 12"/>
                <a:gd name="T32" fmla="*/ 0 w 5"/>
                <a:gd name="T33" fmla="*/ 0 h 12"/>
                <a:gd name="T34" fmla="*/ 0 w 5"/>
                <a:gd name="T35" fmla="*/ 0 h 12"/>
                <a:gd name="T36" fmla="*/ 2 w 5"/>
                <a:gd name="T37" fmla="*/ 3 h 12"/>
                <a:gd name="T38" fmla="*/ 2 w 5"/>
                <a:gd name="T39" fmla="*/ 3 h 12"/>
                <a:gd name="T40" fmla="*/ 3 w 5"/>
                <a:gd name="T41" fmla="*/ 3 h 12"/>
                <a:gd name="T42" fmla="*/ 5 w 5"/>
                <a:gd name="T4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12">
                  <a:moveTo>
                    <a:pt x="5" y="4"/>
                  </a:moveTo>
                  <a:lnTo>
                    <a:pt x="5" y="4"/>
                  </a:lnTo>
                  <a:lnTo>
                    <a:pt x="5" y="12"/>
                  </a:lnTo>
                  <a:lnTo>
                    <a:pt x="5" y="12"/>
                  </a:lnTo>
                  <a:lnTo>
                    <a:pt x="3" y="12"/>
                  </a:lnTo>
                  <a:lnTo>
                    <a:pt x="3" y="10"/>
                  </a:lnTo>
                  <a:lnTo>
                    <a:pt x="2" y="9"/>
                  </a:lnTo>
                  <a:lnTo>
                    <a:pt x="2" y="9"/>
                  </a:lnTo>
                  <a:lnTo>
                    <a:pt x="3" y="10"/>
                  </a:lnTo>
                  <a:lnTo>
                    <a:pt x="3" y="9"/>
                  </a:lnTo>
                  <a:lnTo>
                    <a:pt x="3" y="6"/>
                  </a:lnTo>
                  <a:lnTo>
                    <a:pt x="3" y="6"/>
                  </a:lnTo>
                  <a:lnTo>
                    <a:pt x="2" y="7"/>
                  </a:lnTo>
                  <a:lnTo>
                    <a:pt x="0" y="6"/>
                  </a:lnTo>
                  <a:lnTo>
                    <a:pt x="0" y="6"/>
                  </a:lnTo>
                  <a:lnTo>
                    <a:pt x="0" y="3"/>
                  </a:lnTo>
                  <a:lnTo>
                    <a:pt x="0" y="0"/>
                  </a:lnTo>
                  <a:lnTo>
                    <a:pt x="0" y="0"/>
                  </a:lnTo>
                  <a:lnTo>
                    <a:pt x="2" y="3"/>
                  </a:lnTo>
                  <a:lnTo>
                    <a:pt x="2" y="3"/>
                  </a:lnTo>
                  <a:lnTo>
                    <a:pt x="3" y="3"/>
                  </a:lnTo>
                  <a:lnTo>
                    <a:pt x="5"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3" name="Freeform 916"/>
            <p:cNvSpPr/>
            <p:nvPr/>
          </p:nvSpPr>
          <p:spPr bwMode="auto">
            <a:xfrm>
              <a:off x="4904152" y="2154233"/>
              <a:ext cx="30720" cy="43007"/>
            </a:xfrm>
            <a:custGeom>
              <a:avLst/>
              <a:gdLst>
                <a:gd name="T0" fmla="*/ 0 w 12"/>
                <a:gd name="T1" fmla="*/ 0 h 14"/>
                <a:gd name="T2" fmla="*/ 0 w 12"/>
                <a:gd name="T3" fmla="*/ 0 h 14"/>
                <a:gd name="T4" fmla="*/ 8 w 12"/>
                <a:gd name="T5" fmla="*/ 8 h 14"/>
                <a:gd name="T6" fmla="*/ 10 w 12"/>
                <a:gd name="T7" fmla="*/ 11 h 14"/>
                <a:gd name="T8" fmla="*/ 12 w 12"/>
                <a:gd name="T9" fmla="*/ 14 h 14"/>
                <a:gd name="T10" fmla="*/ 12 w 12"/>
                <a:gd name="T11" fmla="*/ 14 h 14"/>
                <a:gd name="T12" fmla="*/ 5 w 12"/>
                <a:gd name="T13" fmla="*/ 5 h 14"/>
                <a:gd name="T14" fmla="*/ 5 w 12"/>
                <a:gd name="T15" fmla="*/ 5 h 14"/>
                <a:gd name="T16" fmla="*/ 8 w 12"/>
                <a:gd name="T17" fmla="*/ 11 h 14"/>
                <a:gd name="T18" fmla="*/ 8 w 12"/>
                <a:gd name="T19" fmla="*/ 11 h 14"/>
                <a:gd name="T20" fmla="*/ 3 w 12"/>
                <a:gd name="T21" fmla="*/ 7 h 14"/>
                <a:gd name="T22" fmla="*/ 0 w 12"/>
                <a:gd name="T23" fmla="*/ 5 h 14"/>
                <a:gd name="T24" fmla="*/ 0 w 12"/>
                <a:gd name="T25" fmla="*/ 5 h 14"/>
                <a:gd name="T26" fmla="*/ 0 w 12"/>
                <a:gd name="T27" fmla="*/ 3 h 14"/>
                <a:gd name="T28" fmla="*/ 0 w 12"/>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4">
                  <a:moveTo>
                    <a:pt x="0" y="0"/>
                  </a:moveTo>
                  <a:lnTo>
                    <a:pt x="0" y="0"/>
                  </a:lnTo>
                  <a:lnTo>
                    <a:pt x="8" y="8"/>
                  </a:lnTo>
                  <a:lnTo>
                    <a:pt x="10" y="11"/>
                  </a:lnTo>
                  <a:lnTo>
                    <a:pt x="12" y="14"/>
                  </a:lnTo>
                  <a:lnTo>
                    <a:pt x="12" y="14"/>
                  </a:lnTo>
                  <a:lnTo>
                    <a:pt x="5" y="5"/>
                  </a:lnTo>
                  <a:lnTo>
                    <a:pt x="5" y="5"/>
                  </a:lnTo>
                  <a:lnTo>
                    <a:pt x="8" y="11"/>
                  </a:lnTo>
                  <a:lnTo>
                    <a:pt x="8" y="11"/>
                  </a:lnTo>
                  <a:lnTo>
                    <a:pt x="3" y="7"/>
                  </a:lnTo>
                  <a:lnTo>
                    <a:pt x="0" y="5"/>
                  </a:lnTo>
                  <a:lnTo>
                    <a:pt x="0" y="5"/>
                  </a:lnTo>
                  <a:lnTo>
                    <a:pt x="0"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4" name="Freeform 917"/>
            <p:cNvSpPr/>
            <p:nvPr/>
          </p:nvSpPr>
          <p:spPr bwMode="auto">
            <a:xfrm>
              <a:off x="5057739" y="3186345"/>
              <a:ext cx="12287" cy="12287"/>
            </a:xfrm>
            <a:custGeom>
              <a:avLst/>
              <a:gdLst>
                <a:gd name="T0" fmla="*/ 3 w 3"/>
                <a:gd name="T1" fmla="*/ 4 h 4"/>
                <a:gd name="T2" fmla="*/ 3 w 3"/>
                <a:gd name="T3" fmla="*/ 4 h 4"/>
                <a:gd name="T4" fmla="*/ 1 w 3"/>
                <a:gd name="T5" fmla="*/ 3 h 4"/>
                <a:gd name="T6" fmla="*/ 0 w 3"/>
                <a:gd name="T7" fmla="*/ 2 h 4"/>
                <a:gd name="T8" fmla="*/ 0 w 3"/>
                <a:gd name="T9" fmla="*/ 2 h 4"/>
                <a:gd name="T10" fmla="*/ 1 w 3"/>
                <a:gd name="T11" fmla="*/ 0 h 4"/>
                <a:gd name="T12" fmla="*/ 1 w 3"/>
                <a:gd name="T13" fmla="*/ 0 h 4"/>
                <a:gd name="T14" fmla="*/ 3 w 3"/>
                <a:gd name="T15" fmla="*/ 2 h 4"/>
                <a:gd name="T16" fmla="*/ 3 w 3"/>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3" y="4"/>
                  </a:moveTo>
                  <a:lnTo>
                    <a:pt x="3" y="4"/>
                  </a:lnTo>
                  <a:lnTo>
                    <a:pt x="1" y="3"/>
                  </a:lnTo>
                  <a:lnTo>
                    <a:pt x="0" y="2"/>
                  </a:lnTo>
                  <a:lnTo>
                    <a:pt x="0" y="2"/>
                  </a:lnTo>
                  <a:lnTo>
                    <a:pt x="1" y="0"/>
                  </a:lnTo>
                  <a:lnTo>
                    <a:pt x="1" y="0"/>
                  </a:lnTo>
                  <a:lnTo>
                    <a:pt x="3" y="2"/>
                  </a:lnTo>
                  <a:lnTo>
                    <a:pt x="3"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5" name="Freeform 918"/>
            <p:cNvSpPr/>
            <p:nvPr/>
          </p:nvSpPr>
          <p:spPr bwMode="auto">
            <a:xfrm>
              <a:off x="4934868" y="2209527"/>
              <a:ext cx="18433" cy="18433"/>
            </a:xfrm>
            <a:custGeom>
              <a:avLst/>
              <a:gdLst>
                <a:gd name="T0" fmla="*/ 4 w 5"/>
                <a:gd name="T1" fmla="*/ 0 h 6"/>
                <a:gd name="T2" fmla="*/ 4 w 5"/>
                <a:gd name="T3" fmla="*/ 0 h 6"/>
                <a:gd name="T4" fmla="*/ 5 w 5"/>
                <a:gd name="T5" fmla="*/ 5 h 6"/>
                <a:gd name="T6" fmla="*/ 4 w 5"/>
                <a:gd name="T7" fmla="*/ 6 h 6"/>
                <a:gd name="T8" fmla="*/ 4 w 5"/>
                <a:gd name="T9" fmla="*/ 6 h 6"/>
                <a:gd name="T10" fmla="*/ 4 w 5"/>
                <a:gd name="T11" fmla="*/ 6 h 6"/>
                <a:gd name="T12" fmla="*/ 3 w 5"/>
                <a:gd name="T13" fmla="*/ 6 h 6"/>
                <a:gd name="T14" fmla="*/ 3 w 5"/>
                <a:gd name="T15" fmla="*/ 6 h 6"/>
                <a:gd name="T16" fmla="*/ 0 w 5"/>
                <a:gd name="T17" fmla="*/ 2 h 6"/>
                <a:gd name="T18" fmla="*/ 0 w 5"/>
                <a:gd name="T19" fmla="*/ 2 h 6"/>
                <a:gd name="T20" fmla="*/ 1 w 5"/>
                <a:gd name="T21" fmla="*/ 2 h 6"/>
                <a:gd name="T22" fmla="*/ 1 w 5"/>
                <a:gd name="T23" fmla="*/ 0 h 6"/>
                <a:gd name="T24" fmla="*/ 1 w 5"/>
                <a:gd name="T25" fmla="*/ 0 h 6"/>
                <a:gd name="T26" fmla="*/ 4 w 5"/>
                <a:gd name="T2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6">
                  <a:moveTo>
                    <a:pt x="4" y="0"/>
                  </a:moveTo>
                  <a:lnTo>
                    <a:pt x="4" y="0"/>
                  </a:lnTo>
                  <a:lnTo>
                    <a:pt x="5" y="5"/>
                  </a:lnTo>
                  <a:lnTo>
                    <a:pt x="4" y="6"/>
                  </a:lnTo>
                  <a:lnTo>
                    <a:pt x="4" y="6"/>
                  </a:lnTo>
                  <a:lnTo>
                    <a:pt x="4" y="6"/>
                  </a:lnTo>
                  <a:lnTo>
                    <a:pt x="3" y="6"/>
                  </a:lnTo>
                  <a:lnTo>
                    <a:pt x="3" y="6"/>
                  </a:lnTo>
                  <a:lnTo>
                    <a:pt x="0" y="2"/>
                  </a:lnTo>
                  <a:lnTo>
                    <a:pt x="0" y="2"/>
                  </a:lnTo>
                  <a:lnTo>
                    <a:pt x="1" y="2"/>
                  </a:lnTo>
                  <a:lnTo>
                    <a:pt x="1" y="0"/>
                  </a:lnTo>
                  <a:lnTo>
                    <a:pt x="1" y="0"/>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6" name="Freeform 919"/>
            <p:cNvSpPr/>
            <p:nvPr/>
          </p:nvSpPr>
          <p:spPr bwMode="auto">
            <a:xfrm>
              <a:off x="5063884" y="3198633"/>
              <a:ext cx="6145" cy="24574"/>
            </a:xfrm>
            <a:custGeom>
              <a:avLst/>
              <a:gdLst>
                <a:gd name="T0" fmla="*/ 2 w 2"/>
                <a:gd name="T1" fmla="*/ 7 h 7"/>
                <a:gd name="T2" fmla="*/ 2 w 2"/>
                <a:gd name="T3" fmla="*/ 7 h 7"/>
                <a:gd name="T4" fmla="*/ 0 w 2"/>
                <a:gd name="T5" fmla="*/ 3 h 7"/>
                <a:gd name="T6" fmla="*/ 0 w 2"/>
                <a:gd name="T7" fmla="*/ 0 h 7"/>
                <a:gd name="T8" fmla="*/ 0 w 2"/>
                <a:gd name="T9" fmla="*/ 0 h 7"/>
                <a:gd name="T10" fmla="*/ 2 w 2"/>
                <a:gd name="T11" fmla="*/ 3 h 7"/>
                <a:gd name="T12" fmla="*/ 2 w 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 h="7">
                  <a:moveTo>
                    <a:pt x="2" y="7"/>
                  </a:moveTo>
                  <a:lnTo>
                    <a:pt x="2" y="7"/>
                  </a:lnTo>
                  <a:lnTo>
                    <a:pt x="0" y="3"/>
                  </a:lnTo>
                  <a:lnTo>
                    <a:pt x="0" y="0"/>
                  </a:lnTo>
                  <a:lnTo>
                    <a:pt x="0" y="0"/>
                  </a:lnTo>
                  <a:lnTo>
                    <a:pt x="2" y="3"/>
                  </a:lnTo>
                  <a:lnTo>
                    <a:pt x="2"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7" name="Freeform 920"/>
            <p:cNvSpPr/>
            <p:nvPr/>
          </p:nvSpPr>
          <p:spPr bwMode="auto">
            <a:xfrm>
              <a:off x="4947155" y="2203381"/>
              <a:ext cx="36861" cy="43007"/>
            </a:xfrm>
            <a:custGeom>
              <a:avLst/>
              <a:gdLst>
                <a:gd name="T0" fmla="*/ 11 w 11"/>
                <a:gd name="T1" fmla="*/ 15 h 15"/>
                <a:gd name="T2" fmla="*/ 11 w 11"/>
                <a:gd name="T3" fmla="*/ 15 h 15"/>
                <a:gd name="T4" fmla="*/ 5 w 11"/>
                <a:gd name="T5" fmla="*/ 8 h 15"/>
                <a:gd name="T6" fmla="*/ 0 w 11"/>
                <a:gd name="T7" fmla="*/ 0 h 15"/>
                <a:gd name="T8" fmla="*/ 0 w 11"/>
                <a:gd name="T9" fmla="*/ 0 h 15"/>
                <a:gd name="T10" fmla="*/ 8 w 11"/>
                <a:gd name="T11" fmla="*/ 10 h 15"/>
                <a:gd name="T12" fmla="*/ 8 w 11"/>
                <a:gd name="T13" fmla="*/ 10 h 15"/>
                <a:gd name="T14" fmla="*/ 8 w 11"/>
                <a:gd name="T15" fmla="*/ 10 h 15"/>
                <a:gd name="T16" fmla="*/ 8 w 11"/>
                <a:gd name="T17" fmla="*/ 12 h 15"/>
                <a:gd name="T18" fmla="*/ 8 w 11"/>
                <a:gd name="T19" fmla="*/ 12 h 15"/>
                <a:gd name="T20" fmla="*/ 10 w 11"/>
                <a:gd name="T21" fmla="*/ 13 h 15"/>
                <a:gd name="T22" fmla="*/ 11 w 11"/>
                <a:gd name="T23"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5">
                  <a:moveTo>
                    <a:pt x="11" y="15"/>
                  </a:moveTo>
                  <a:lnTo>
                    <a:pt x="11" y="15"/>
                  </a:lnTo>
                  <a:lnTo>
                    <a:pt x="5" y="8"/>
                  </a:lnTo>
                  <a:lnTo>
                    <a:pt x="0" y="0"/>
                  </a:lnTo>
                  <a:lnTo>
                    <a:pt x="0" y="0"/>
                  </a:lnTo>
                  <a:lnTo>
                    <a:pt x="8" y="10"/>
                  </a:lnTo>
                  <a:lnTo>
                    <a:pt x="8" y="10"/>
                  </a:lnTo>
                  <a:lnTo>
                    <a:pt x="8" y="10"/>
                  </a:lnTo>
                  <a:lnTo>
                    <a:pt x="8" y="12"/>
                  </a:lnTo>
                  <a:lnTo>
                    <a:pt x="8" y="12"/>
                  </a:lnTo>
                  <a:lnTo>
                    <a:pt x="10" y="13"/>
                  </a:lnTo>
                  <a:lnTo>
                    <a:pt x="11" y="1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8" name="Freeform 921"/>
            <p:cNvSpPr/>
            <p:nvPr/>
          </p:nvSpPr>
          <p:spPr bwMode="auto">
            <a:xfrm>
              <a:off x="4953301" y="2227955"/>
              <a:ext cx="43007" cy="49148"/>
            </a:xfrm>
            <a:custGeom>
              <a:avLst/>
              <a:gdLst>
                <a:gd name="T0" fmla="*/ 13 w 13"/>
                <a:gd name="T1" fmla="*/ 14 h 16"/>
                <a:gd name="T2" fmla="*/ 13 w 13"/>
                <a:gd name="T3" fmla="*/ 14 h 16"/>
                <a:gd name="T4" fmla="*/ 13 w 13"/>
                <a:gd name="T5" fmla="*/ 14 h 16"/>
                <a:gd name="T6" fmla="*/ 13 w 13"/>
                <a:gd name="T7" fmla="*/ 14 h 16"/>
                <a:gd name="T8" fmla="*/ 13 w 13"/>
                <a:gd name="T9" fmla="*/ 16 h 16"/>
                <a:gd name="T10" fmla="*/ 13 w 13"/>
                <a:gd name="T11" fmla="*/ 16 h 16"/>
                <a:gd name="T12" fmla="*/ 6 w 13"/>
                <a:gd name="T13" fmla="*/ 9 h 16"/>
                <a:gd name="T14" fmla="*/ 0 w 13"/>
                <a:gd name="T15" fmla="*/ 0 h 16"/>
                <a:gd name="T16" fmla="*/ 0 w 13"/>
                <a:gd name="T17" fmla="*/ 0 h 16"/>
                <a:gd name="T18" fmla="*/ 3 w 13"/>
                <a:gd name="T19" fmla="*/ 1 h 16"/>
                <a:gd name="T20" fmla="*/ 6 w 13"/>
                <a:gd name="T21" fmla="*/ 3 h 16"/>
                <a:gd name="T22" fmla="*/ 6 w 13"/>
                <a:gd name="T23" fmla="*/ 3 h 16"/>
                <a:gd name="T24" fmla="*/ 13 w 13"/>
                <a:gd name="T25"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6">
                  <a:moveTo>
                    <a:pt x="13" y="14"/>
                  </a:moveTo>
                  <a:lnTo>
                    <a:pt x="13" y="14"/>
                  </a:lnTo>
                  <a:lnTo>
                    <a:pt x="13" y="14"/>
                  </a:lnTo>
                  <a:lnTo>
                    <a:pt x="13" y="14"/>
                  </a:lnTo>
                  <a:lnTo>
                    <a:pt x="13" y="16"/>
                  </a:lnTo>
                  <a:lnTo>
                    <a:pt x="13" y="16"/>
                  </a:lnTo>
                  <a:lnTo>
                    <a:pt x="6" y="9"/>
                  </a:lnTo>
                  <a:lnTo>
                    <a:pt x="0" y="0"/>
                  </a:lnTo>
                  <a:lnTo>
                    <a:pt x="0" y="0"/>
                  </a:lnTo>
                  <a:lnTo>
                    <a:pt x="3" y="1"/>
                  </a:lnTo>
                  <a:lnTo>
                    <a:pt x="6" y="3"/>
                  </a:lnTo>
                  <a:lnTo>
                    <a:pt x="6" y="3"/>
                  </a:lnTo>
                  <a:lnTo>
                    <a:pt x="13" y="1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9" name="Freeform 922"/>
            <p:cNvSpPr/>
            <p:nvPr/>
          </p:nvSpPr>
          <p:spPr bwMode="auto">
            <a:xfrm>
              <a:off x="5070026" y="3253926"/>
              <a:ext cx="12287" cy="36861"/>
            </a:xfrm>
            <a:custGeom>
              <a:avLst/>
              <a:gdLst>
                <a:gd name="T0" fmla="*/ 4 w 4"/>
                <a:gd name="T1" fmla="*/ 13 h 13"/>
                <a:gd name="T2" fmla="*/ 4 w 4"/>
                <a:gd name="T3" fmla="*/ 13 h 13"/>
                <a:gd name="T4" fmla="*/ 2 w 4"/>
                <a:gd name="T5" fmla="*/ 9 h 13"/>
                <a:gd name="T6" fmla="*/ 1 w 4"/>
                <a:gd name="T7" fmla="*/ 9 h 13"/>
                <a:gd name="T8" fmla="*/ 1 w 4"/>
                <a:gd name="T9" fmla="*/ 9 h 13"/>
                <a:gd name="T10" fmla="*/ 1 w 4"/>
                <a:gd name="T11" fmla="*/ 9 h 13"/>
                <a:gd name="T12" fmla="*/ 1 w 4"/>
                <a:gd name="T13" fmla="*/ 4 h 13"/>
                <a:gd name="T14" fmla="*/ 0 w 4"/>
                <a:gd name="T15" fmla="*/ 0 h 13"/>
                <a:gd name="T16" fmla="*/ 0 w 4"/>
                <a:gd name="T17" fmla="*/ 0 h 13"/>
                <a:gd name="T18" fmla="*/ 1 w 4"/>
                <a:gd name="T19" fmla="*/ 1 h 13"/>
                <a:gd name="T20" fmla="*/ 2 w 4"/>
                <a:gd name="T21" fmla="*/ 0 h 13"/>
                <a:gd name="T22" fmla="*/ 2 w 4"/>
                <a:gd name="T23" fmla="*/ 0 h 13"/>
                <a:gd name="T24" fmla="*/ 2 w 4"/>
                <a:gd name="T25" fmla="*/ 0 h 13"/>
                <a:gd name="T26" fmla="*/ 2 w 4"/>
                <a:gd name="T27" fmla="*/ 0 h 13"/>
                <a:gd name="T28" fmla="*/ 4 w 4"/>
                <a:gd name="T29" fmla="*/ 6 h 13"/>
                <a:gd name="T30" fmla="*/ 4 w 4"/>
                <a:gd name="T31" fmla="*/ 6 h 13"/>
                <a:gd name="T32" fmla="*/ 4 w 4"/>
                <a:gd name="T3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13">
                  <a:moveTo>
                    <a:pt x="4" y="13"/>
                  </a:moveTo>
                  <a:lnTo>
                    <a:pt x="4" y="13"/>
                  </a:lnTo>
                  <a:lnTo>
                    <a:pt x="2" y="9"/>
                  </a:lnTo>
                  <a:lnTo>
                    <a:pt x="1" y="9"/>
                  </a:lnTo>
                  <a:lnTo>
                    <a:pt x="1" y="9"/>
                  </a:lnTo>
                  <a:lnTo>
                    <a:pt x="1" y="9"/>
                  </a:lnTo>
                  <a:lnTo>
                    <a:pt x="1" y="4"/>
                  </a:lnTo>
                  <a:lnTo>
                    <a:pt x="0" y="0"/>
                  </a:lnTo>
                  <a:lnTo>
                    <a:pt x="0" y="0"/>
                  </a:lnTo>
                  <a:lnTo>
                    <a:pt x="1" y="1"/>
                  </a:lnTo>
                  <a:lnTo>
                    <a:pt x="2" y="0"/>
                  </a:lnTo>
                  <a:lnTo>
                    <a:pt x="2" y="0"/>
                  </a:lnTo>
                  <a:lnTo>
                    <a:pt x="2" y="0"/>
                  </a:lnTo>
                  <a:lnTo>
                    <a:pt x="2" y="0"/>
                  </a:lnTo>
                  <a:lnTo>
                    <a:pt x="4" y="6"/>
                  </a:lnTo>
                  <a:lnTo>
                    <a:pt x="4" y="6"/>
                  </a:lnTo>
                  <a:lnTo>
                    <a:pt x="4" y="1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0" name="Freeform 923"/>
            <p:cNvSpPr/>
            <p:nvPr/>
          </p:nvSpPr>
          <p:spPr bwMode="auto">
            <a:xfrm>
              <a:off x="4996303" y="2270962"/>
              <a:ext cx="30720" cy="36861"/>
            </a:xfrm>
            <a:custGeom>
              <a:avLst/>
              <a:gdLst>
                <a:gd name="T0" fmla="*/ 7 w 10"/>
                <a:gd name="T1" fmla="*/ 5 h 12"/>
                <a:gd name="T2" fmla="*/ 7 w 10"/>
                <a:gd name="T3" fmla="*/ 5 h 12"/>
                <a:gd name="T4" fmla="*/ 7 w 10"/>
                <a:gd name="T5" fmla="*/ 6 h 12"/>
                <a:gd name="T6" fmla="*/ 7 w 10"/>
                <a:gd name="T7" fmla="*/ 7 h 12"/>
                <a:gd name="T8" fmla="*/ 7 w 10"/>
                <a:gd name="T9" fmla="*/ 7 h 12"/>
                <a:gd name="T10" fmla="*/ 10 w 10"/>
                <a:gd name="T11" fmla="*/ 9 h 12"/>
                <a:gd name="T12" fmla="*/ 10 w 10"/>
                <a:gd name="T13" fmla="*/ 9 h 12"/>
                <a:gd name="T14" fmla="*/ 10 w 10"/>
                <a:gd name="T15" fmla="*/ 10 h 12"/>
                <a:gd name="T16" fmla="*/ 10 w 10"/>
                <a:gd name="T17" fmla="*/ 12 h 12"/>
                <a:gd name="T18" fmla="*/ 7 w 10"/>
                <a:gd name="T19" fmla="*/ 9 h 12"/>
                <a:gd name="T20" fmla="*/ 7 w 10"/>
                <a:gd name="T21" fmla="*/ 9 h 12"/>
                <a:gd name="T22" fmla="*/ 5 w 10"/>
                <a:gd name="T23" fmla="*/ 6 h 12"/>
                <a:gd name="T24" fmla="*/ 4 w 10"/>
                <a:gd name="T25" fmla="*/ 5 h 12"/>
                <a:gd name="T26" fmla="*/ 4 w 10"/>
                <a:gd name="T27" fmla="*/ 5 h 12"/>
                <a:gd name="T28" fmla="*/ 4 w 10"/>
                <a:gd name="T29" fmla="*/ 5 h 12"/>
                <a:gd name="T30" fmla="*/ 4 w 10"/>
                <a:gd name="T31" fmla="*/ 5 h 12"/>
                <a:gd name="T32" fmla="*/ 1 w 10"/>
                <a:gd name="T33" fmla="*/ 3 h 12"/>
                <a:gd name="T34" fmla="*/ 1 w 10"/>
                <a:gd name="T35" fmla="*/ 3 h 12"/>
                <a:gd name="T36" fmla="*/ 0 w 10"/>
                <a:gd name="T37" fmla="*/ 0 h 12"/>
                <a:gd name="T38" fmla="*/ 0 w 10"/>
                <a:gd name="T39" fmla="*/ 0 h 12"/>
                <a:gd name="T40" fmla="*/ 4 w 10"/>
                <a:gd name="T41" fmla="*/ 3 h 12"/>
                <a:gd name="T42" fmla="*/ 7 w 10"/>
                <a:gd name="T43"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12">
                  <a:moveTo>
                    <a:pt x="7" y="5"/>
                  </a:moveTo>
                  <a:lnTo>
                    <a:pt x="7" y="5"/>
                  </a:lnTo>
                  <a:lnTo>
                    <a:pt x="7" y="6"/>
                  </a:lnTo>
                  <a:lnTo>
                    <a:pt x="7" y="7"/>
                  </a:lnTo>
                  <a:lnTo>
                    <a:pt x="7" y="7"/>
                  </a:lnTo>
                  <a:lnTo>
                    <a:pt x="10" y="9"/>
                  </a:lnTo>
                  <a:lnTo>
                    <a:pt x="10" y="9"/>
                  </a:lnTo>
                  <a:lnTo>
                    <a:pt x="10" y="10"/>
                  </a:lnTo>
                  <a:lnTo>
                    <a:pt x="10" y="12"/>
                  </a:lnTo>
                  <a:lnTo>
                    <a:pt x="7" y="9"/>
                  </a:lnTo>
                  <a:lnTo>
                    <a:pt x="7" y="9"/>
                  </a:lnTo>
                  <a:lnTo>
                    <a:pt x="5" y="6"/>
                  </a:lnTo>
                  <a:lnTo>
                    <a:pt x="4" y="5"/>
                  </a:lnTo>
                  <a:lnTo>
                    <a:pt x="4" y="5"/>
                  </a:lnTo>
                  <a:lnTo>
                    <a:pt x="4" y="5"/>
                  </a:lnTo>
                  <a:lnTo>
                    <a:pt x="4" y="5"/>
                  </a:lnTo>
                  <a:lnTo>
                    <a:pt x="1" y="3"/>
                  </a:lnTo>
                  <a:lnTo>
                    <a:pt x="1" y="3"/>
                  </a:lnTo>
                  <a:lnTo>
                    <a:pt x="0" y="0"/>
                  </a:lnTo>
                  <a:lnTo>
                    <a:pt x="0" y="0"/>
                  </a:lnTo>
                  <a:lnTo>
                    <a:pt x="4" y="3"/>
                  </a:lnTo>
                  <a:lnTo>
                    <a:pt x="7"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1" name="Freeform 924"/>
            <p:cNvSpPr/>
            <p:nvPr/>
          </p:nvSpPr>
          <p:spPr bwMode="auto">
            <a:xfrm>
              <a:off x="5039310" y="2332397"/>
              <a:ext cx="18433" cy="24574"/>
            </a:xfrm>
            <a:custGeom>
              <a:avLst/>
              <a:gdLst>
                <a:gd name="T0" fmla="*/ 0 w 7"/>
                <a:gd name="T1" fmla="*/ 0 h 9"/>
                <a:gd name="T2" fmla="*/ 0 w 7"/>
                <a:gd name="T3" fmla="*/ 0 h 9"/>
                <a:gd name="T4" fmla="*/ 2 w 7"/>
                <a:gd name="T5" fmla="*/ 5 h 9"/>
                <a:gd name="T6" fmla="*/ 7 w 7"/>
                <a:gd name="T7" fmla="*/ 9 h 9"/>
                <a:gd name="T8" fmla="*/ 7 w 7"/>
                <a:gd name="T9" fmla="*/ 9 h 9"/>
                <a:gd name="T10" fmla="*/ 1 w 7"/>
                <a:gd name="T11" fmla="*/ 5 h 9"/>
                <a:gd name="T12" fmla="*/ 0 w 7"/>
                <a:gd name="T13" fmla="*/ 2 h 9"/>
                <a:gd name="T14" fmla="*/ 0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0" y="0"/>
                  </a:moveTo>
                  <a:lnTo>
                    <a:pt x="0" y="0"/>
                  </a:lnTo>
                  <a:lnTo>
                    <a:pt x="2" y="5"/>
                  </a:lnTo>
                  <a:lnTo>
                    <a:pt x="7" y="9"/>
                  </a:lnTo>
                  <a:lnTo>
                    <a:pt x="7" y="9"/>
                  </a:lnTo>
                  <a:lnTo>
                    <a:pt x="1" y="5"/>
                  </a:lnTo>
                  <a:lnTo>
                    <a:pt x="0" y="2"/>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2" name="Freeform 925"/>
            <p:cNvSpPr/>
            <p:nvPr/>
          </p:nvSpPr>
          <p:spPr bwMode="auto">
            <a:xfrm>
              <a:off x="5088458" y="2387688"/>
              <a:ext cx="18433" cy="30720"/>
            </a:xfrm>
            <a:custGeom>
              <a:avLst/>
              <a:gdLst>
                <a:gd name="T0" fmla="*/ 0 w 5"/>
                <a:gd name="T1" fmla="*/ 0 h 8"/>
                <a:gd name="T2" fmla="*/ 0 w 5"/>
                <a:gd name="T3" fmla="*/ 0 h 8"/>
                <a:gd name="T4" fmla="*/ 3 w 5"/>
                <a:gd name="T5" fmla="*/ 4 h 8"/>
                <a:gd name="T6" fmla="*/ 5 w 5"/>
                <a:gd name="T7" fmla="*/ 8 h 8"/>
                <a:gd name="T8" fmla="*/ 5 w 5"/>
                <a:gd name="T9" fmla="*/ 8 h 8"/>
                <a:gd name="T10" fmla="*/ 3 w 5"/>
                <a:gd name="T11" fmla="*/ 6 h 8"/>
                <a:gd name="T12" fmla="*/ 0 w 5"/>
                <a:gd name="T13" fmla="*/ 1 h 8"/>
                <a:gd name="T14" fmla="*/ 0 w 5"/>
                <a:gd name="T15" fmla="*/ 1 h 8"/>
                <a:gd name="T16" fmla="*/ 0 w 5"/>
                <a:gd name="T17" fmla="*/ 3 h 8"/>
                <a:gd name="T18" fmla="*/ 0 w 5"/>
                <a:gd name="T19" fmla="*/ 3 h 8"/>
                <a:gd name="T20" fmla="*/ 0 w 5"/>
                <a:gd name="T21" fmla="*/ 3 h 8"/>
                <a:gd name="T22" fmla="*/ 0 w 5"/>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0" y="0"/>
                  </a:moveTo>
                  <a:lnTo>
                    <a:pt x="0" y="0"/>
                  </a:lnTo>
                  <a:lnTo>
                    <a:pt x="3" y="4"/>
                  </a:lnTo>
                  <a:lnTo>
                    <a:pt x="5" y="8"/>
                  </a:lnTo>
                  <a:lnTo>
                    <a:pt x="5" y="8"/>
                  </a:lnTo>
                  <a:lnTo>
                    <a:pt x="3" y="6"/>
                  </a:lnTo>
                  <a:lnTo>
                    <a:pt x="0" y="1"/>
                  </a:lnTo>
                  <a:lnTo>
                    <a:pt x="0" y="1"/>
                  </a:lnTo>
                  <a:lnTo>
                    <a:pt x="0" y="3"/>
                  </a:ln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3" name="Freeform 926"/>
            <p:cNvSpPr/>
            <p:nvPr/>
          </p:nvSpPr>
          <p:spPr bwMode="auto">
            <a:xfrm>
              <a:off x="5106887" y="2436834"/>
              <a:ext cx="18433" cy="30720"/>
            </a:xfrm>
            <a:custGeom>
              <a:avLst/>
              <a:gdLst>
                <a:gd name="T0" fmla="*/ 6 w 6"/>
                <a:gd name="T1" fmla="*/ 10 h 10"/>
                <a:gd name="T2" fmla="*/ 6 w 6"/>
                <a:gd name="T3" fmla="*/ 10 h 10"/>
                <a:gd name="T4" fmla="*/ 3 w 6"/>
                <a:gd name="T5" fmla="*/ 4 h 10"/>
                <a:gd name="T6" fmla="*/ 0 w 6"/>
                <a:gd name="T7" fmla="*/ 0 h 10"/>
                <a:gd name="T8" fmla="*/ 0 w 6"/>
                <a:gd name="T9" fmla="*/ 0 h 10"/>
                <a:gd name="T10" fmla="*/ 5 w 6"/>
                <a:gd name="T11" fmla="*/ 6 h 10"/>
                <a:gd name="T12" fmla="*/ 5 w 6"/>
                <a:gd name="T13" fmla="*/ 6 h 10"/>
                <a:gd name="T14" fmla="*/ 6 w 6"/>
                <a:gd name="T15" fmla="*/ 9 h 10"/>
                <a:gd name="T16" fmla="*/ 6 w 6"/>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0">
                  <a:moveTo>
                    <a:pt x="6" y="10"/>
                  </a:moveTo>
                  <a:lnTo>
                    <a:pt x="6" y="10"/>
                  </a:lnTo>
                  <a:lnTo>
                    <a:pt x="3" y="4"/>
                  </a:lnTo>
                  <a:lnTo>
                    <a:pt x="0" y="0"/>
                  </a:lnTo>
                  <a:lnTo>
                    <a:pt x="0" y="0"/>
                  </a:lnTo>
                  <a:lnTo>
                    <a:pt x="5" y="6"/>
                  </a:lnTo>
                  <a:lnTo>
                    <a:pt x="5" y="6"/>
                  </a:lnTo>
                  <a:lnTo>
                    <a:pt x="6" y="9"/>
                  </a:lnTo>
                  <a:lnTo>
                    <a:pt x="6"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4" name="Freeform 927"/>
            <p:cNvSpPr/>
            <p:nvPr/>
          </p:nvSpPr>
          <p:spPr bwMode="auto">
            <a:xfrm>
              <a:off x="5119174" y="2455268"/>
              <a:ext cx="12287" cy="18433"/>
            </a:xfrm>
            <a:custGeom>
              <a:avLst/>
              <a:gdLst>
                <a:gd name="T0" fmla="*/ 2 w 5"/>
                <a:gd name="T1" fmla="*/ 0 h 6"/>
                <a:gd name="T2" fmla="*/ 2 w 5"/>
                <a:gd name="T3" fmla="*/ 0 h 6"/>
                <a:gd name="T4" fmla="*/ 3 w 5"/>
                <a:gd name="T5" fmla="*/ 3 h 6"/>
                <a:gd name="T6" fmla="*/ 3 w 5"/>
                <a:gd name="T7" fmla="*/ 3 h 6"/>
                <a:gd name="T8" fmla="*/ 5 w 5"/>
                <a:gd name="T9" fmla="*/ 6 h 6"/>
                <a:gd name="T10" fmla="*/ 3 w 5"/>
                <a:gd name="T11" fmla="*/ 6 h 6"/>
                <a:gd name="T12" fmla="*/ 3 w 5"/>
                <a:gd name="T13" fmla="*/ 6 h 6"/>
                <a:gd name="T14" fmla="*/ 0 w 5"/>
                <a:gd name="T15" fmla="*/ 2 h 6"/>
                <a:gd name="T16" fmla="*/ 0 w 5"/>
                <a:gd name="T17" fmla="*/ 2 h 6"/>
                <a:gd name="T18" fmla="*/ 2 w 5"/>
                <a:gd name="T19" fmla="*/ 2 h 6"/>
                <a:gd name="T20" fmla="*/ 2 w 5"/>
                <a:gd name="T21" fmla="*/ 2 h 6"/>
                <a:gd name="T22" fmla="*/ 2 w 5"/>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6">
                  <a:moveTo>
                    <a:pt x="2" y="0"/>
                  </a:moveTo>
                  <a:lnTo>
                    <a:pt x="2" y="0"/>
                  </a:lnTo>
                  <a:lnTo>
                    <a:pt x="3" y="3"/>
                  </a:lnTo>
                  <a:lnTo>
                    <a:pt x="3" y="3"/>
                  </a:lnTo>
                  <a:lnTo>
                    <a:pt x="5" y="6"/>
                  </a:lnTo>
                  <a:lnTo>
                    <a:pt x="3" y="6"/>
                  </a:lnTo>
                  <a:lnTo>
                    <a:pt x="3" y="6"/>
                  </a:lnTo>
                  <a:lnTo>
                    <a:pt x="0" y="2"/>
                  </a:lnTo>
                  <a:lnTo>
                    <a:pt x="0" y="2"/>
                  </a:lnTo>
                  <a:lnTo>
                    <a:pt x="2" y="2"/>
                  </a:lnTo>
                  <a:lnTo>
                    <a:pt x="2" y="2"/>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5" name="Freeform 928"/>
            <p:cNvSpPr/>
            <p:nvPr/>
          </p:nvSpPr>
          <p:spPr bwMode="auto">
            <a:xfrm>
              <a:off x="5131461" y="2479842"/>
              <a:ext cx="30720" cy="49148"/>
            </a:xfrm>
            <a:custGeom>
              <a:avLst/>
              <a:gdLst>
                <a:gd name="T0" fmla="*/ 10 w 10"/>
                <a:gd name="T1" fmla="*/ 14 h 14"/>
                <a:gd name="T2" fmla="*/ 10 w 10"/>
                <a:gd name="T3" fmla="*/ 14 h 14"/>
                <a:gd name="T4" fmla="*/ 4 w 10"/>
                <a:gd name="T5" fmla="*/ 7 h 14"/>
                <a:gd name="T6" fmla="*/ 0 w 10"/>
                <a:gd name="T7" fmla="*/ 0 h 14"/>
                <a:gd name="T8" fmla="*/ 0 w 10"/>
                <a:gd name="T9" fmla="*/ 0 h 14"/>
                <a:gd name="T10" fmla="*/ 5 w 10"/>
                <a:gd name="T11" fmla="*/ 7 h 14"/>
                <a:gd name="T12" fmla="*/ 10 w 10"/>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0" h="14">
                  <a:moveTo>
                    <a:pt x="10" y="14"/>
                  </a:moveTo>
                  <a:lnTo>
                    <a:pt x="10" y="14"/>
                  </a:lnTo>
                  <a:lnTo>
                    <a:pt x="4" y="7"/>
                  </a:lnTo>
                  <a:lnTo>
                    <a:pt x="0" y="0"/>
                  </a:lnTo>
                  <a:lnTo>
                    <a:pt x="0" y="0"/>
                  </a:lnTo>
                  <a:lnTo>
                    <a:pt x="5" y="7"/>
                  </a:lnTo>
                  <a:lnTo>
                    <a:pt x="10" y="1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6" name="Freeform 929"/>
            <p:cNvSpPr/>
            <p:nvPr/>
          </p:nvSpPr>
          <p:spPr bwMode="auto">
            <a:xfrm>
              <a:off x="5149893" y="2498272"/>
              <a:ext cx="30720" cy="36861"/>
            </a:xfrm>
            <a:custGeom>
              <a:avLst/>
              <a:gdLst>
                <a:gd name="T0" fmla="*/ 10 w 10"/>
                <a:gd name="T1" fmla="*/ 13 h 13"/>
                <a:gd name="T2" fmla="*/ 10 w 10"/>
                <a:gd name="T3" fmla="*/ 13 h 13"/>
                <a:gd name="T4" fmla="*/ 7 w 10"/>
                <a:gd name="T5" fmla="*/ 11 h 13"/>
                <a:gd name="T6" fmla="*/ 5 w 10"/>
                <a:gd name="T7" fmla="*/ 7 h 13"/>
                <a:gd name="T8" fmla="*/ 0 w 10"/>
                <a:gd name="T9" fmla="*/ 0 h 13"/>
                <a:gd name="T10" fmla="*/ 0 w 10"/>
                <a:gd name="T11" fmla="*/ 0 h 13"/>
                <a:gd name="T12" fmla="*/ 6 w 10"/>
                <a:gd name="T13" fmla="*/ 6 h 13"/>
                <a:gd name="T14" fmla="*/ 10 w 10"/>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3">
                  <a:moveTo>
                    <a:pt x="10" y="13"/>
                  </a:moveTo>
                  <a:lnTo>
                    <a:pt x="10" y="13"/>
                  </a:lnTo>
                  <a:lnTo>
                    <a:pt x="7" y="11"/>
                  </a:lnTo>
                  <a:lnTo>
                    <a:pt x="5" y="7"/>
                  </a:lnTo>
                  <a:lnTo>
                    <a:pt x="0" y="0"/>
                  </a:lnTo>
                  <a:lnTo>
                    <a:pt x="0" y="0"/>
                  </a:lnTo>
                  <a:lnTo>
                    <a:pt x="6" y="6"/>
                  </a:lnTo>
                  <a:lnTo>
                    <a:pt x="10" y="1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7" name="Freeform 930"/>
            <p:cNvSpPr/>
            <p:nvPr/>
          </p:nvSpPr>
          <p:spPr bwMode="auto">
            <a:xfrm>
              <a:off x="5180609" y="2590425"/>
              <a:ext cx="24574" cy="36861"/>
            </a:xfrm>
            <a:custGeom>
              <a:avLst/>
              <a:gdLst>
                <a:gd name="T0" fmla="*/ 7 w 7"/>
                <a:gd name="T1" fmla="*/ 10 h 13"/>
                <a:gd name="T2" fmla="*/ 7 w 7"/>
                <a:gd name="T3" fmla="*/ 10 h 13"/>
                <a:gd name="T4" fmla="*/ 7 w 7"/>
                <a:gd name="T5" fmla="*/ 10 h 13"/>
                <a:gd name="T6" fmla="*/ 7 w 7"/>
                <a:gd name="T7" fmla="*/ 13 h 13"/>
                <a:gd name="T8" fmla="*/ 7 w 7"/>
                <a:gd name="T9" fmla="*/ 13 h 13"/>
                <a:gd name="T10" fmla="*/ 3 w 7"/>
                <a:gd name="T11" fmla="*/ 7 h 13"/>
                <a:gd name="T12" fmla="*/ 0 w 7"/>
                <a:gd name="T13" fmla="*/ 0 h 13"/>
                <a:gd name="T14" fmla="*/ 0 w 7"/>
                <a:gd name="T15" fmla="*/ 0 h 13"/>
                <a:gd name="T16" fmla="*/ 4 w 7"/>
                <a:gd name="T17" fmla="*/ 7 h 13"/>
                <a:gd name="T18" fmla="*/ 7 w 7"/>
                <a:gd name="T1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3">
                  <a:moveTo>
                    <a:pt x="7" y="10"/>
                  </a:moveTo>
                  <a:lnTo>
                    <a:pt x="7" y="10"/>
                  </a:lnTo>
                  <a:lnTo>
                    <a:pt x="7" y="10"/>
                  </a:lnTo>
                  <a:lnTo>
                    <a:pt x="7" y="13"/>
                  </a:lnTo>
                  <a:lnTo>
                    <a:pt x="7" y="13"/>
                  </a:lnTo>
                  <a:lnTo>
                    <a:pt x="3" y="7"/>
                  </a:lnTo>
                  <a:lnTo>
                    <a:pt x="0" y="0"/>
                  </a:lnTo>
                  <a:lnTo>
                    <a:pt x="0" y="0"/>
                  </a:lnTo>
                  <a:lnTo>
                    <a:pt x="4" y="7"/>
                  </a:lnTo>
                  <a:lnTo>
                    <a:pt x="7"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8" name="Freeform 931"/>
            <p:cNvSpPr/>
            <p:nvPr/>
          </p:nvSpPr>
          <p:spPr bwMode="auto">
            <a:xfrm>
              <a:off x="5291191" y="2793160"/>
              <a:ext cx="12287" cy="24574"/>
            </a:xfrm>
            <a:custGeom>
              <a:avLst/>
              <a:gdLst>
                <a:gd name="T0" fmla="*/ 3 w 3"/>
                <a:gd name="T1" fmla="*/ 4 h 9"/>
                <a:gd name="T2" fmla="*/ 3 w 3"/>
                <a:gd name="T3" fmla="*/ 4 h 9"/>
                <a:gd name="T4" fmla="*/ 2 w 3"/>
                <a:gd name="T5" fmla="*/ 3 h 9"/>
                <a:gd name="T6" fmla="*/ 2 w 3"/>
                <a:gd name="T7" fmla="*/ 4 h 9"/>
                <a:gd name="T8" fmla="*/ 3 w 3"/>
                <a:gd name="T9" fmla="*/ 9 h 9"/>
                <a:gd name="T10" fmla="*/ 3 w 3"/>
                <a:gd name="T11" fmla="*/ 9 h 9"/>
                <a:gd name="T12" fmla="*/ 0 w 3"/>
                <a:gd name="T13" fmla="*/ 3 h 9"/>
                <a:gd name="T14" fmla="*/ 0 w 3"/>
                <a:gd name="T15" fmla="*/ 2 h 9"/>
                <a:gd name="T16" fmla="*/ 2 w 3"/>
                <a:gd name="T17" fmla="*/ 0 h 9"/>
                <a:gd name="T18" fmla="*/ 2 w 3"/>
                <a:gd name="T19" fmla="*/ 0 h 9"/>
                <a:gd name="T20" fmla="*/ 2 w 3"/>
                <a:gd name="T21" fmla="*/ 3 h 9"/>
                <a:gd name="T22" fmla="*/ 3 w 3"/>
                <a:gd name="T2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3" y="4"/>
                  </a:moveTo>
                  <a:lnTo>
                    <a:pt x="3" y="4"/>
                  </a:lnTo>
                  <a:lnTo>
                    <a:pt x="2" y="3"/>
                  </a:lnTo>
                  <a:lnTo>
                    <a:pt x="2" y="4"/>
                  </a:lnTo>
                  <a:lnTo>
                    <a:pt x="3" y="9"/>
                  </a:lnTo>
                  <a:lnTo>
                    <a:pt x="3" y="9"/>
                  </a:lnTo>
                  <a:lnTo>
                    <a:pt x="0" y="3"/>
                  </a:lnTo>
                  <a:lnTo>
                    <a:pt x="0" y="2"/>
                  </a:lnTo>
                  <a:lnTo>
                    <a:pt x="2" y="0"/>
                  </a:lnTo>
                  <a:lnTo>
                    <a:pt x="2" y="0"/>
                  </a:lnTo>
                  <a:lnTo>
                    <a:pt x="2" y="3"/>
                  </a:lnTo>
                  <a:lnTo>
                    <a:pt x="3"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9" name="Freeform 932"/>
            <p:cNvSpPr/>
            <p:nvPr/>
          </p:nvSpPr>
          <p:spPr bwMode="auto">
            <a:xfrm>
              <a:off x="5223616" y="4200030"/>
              <a:ext cx="18433" cy="49148"/>
            </a:xfrm>
            <a:custGeom>
              <a:avLst/>
              <a:gdLst>
                <a:gd name="T0" fmla="*/ 4 w 6"/>
                <a:gd name="T1" fmla="*/ 9 h 16"/>
                <a:gd name="T2" fmla="*/ 4 w 6"/>
                <a:gd name="T3" fmla="*/ 9 h 16"/>
                <a:gd name="T4" fmla="*/ 3 w 6"/>
                <a:gd name="T5" fmla="*/ 13 h 16"/>
                <a:gd name="T6" fmla="*/ 0 w 6"/>
                <a:gd name="T7" fmla="*/ 16 h 16"/>
                <a:gd name="T8" fmla="*/ 0 w 6"/>
                <a:gd name="T9" fmla="*/ 16 h 16"/>
                <a:gd name="T10" fmla="*/ 1 w 6"/>
                <a:gd name="T11" fmla="*/ 9 h 16"/>
                <a:gd name="T12" fmla="*/ 4 w 6"/>
                <a:gd name="T13" fmla="*/ 3 h 16"/>
                <a:gd name="T14" fmla="*/ 4 w 6"/>
                <a:gd name="T15" fmla="*/ 3 h 16"/>
                <a:gd name="T16" fmla="*/ 6 w 6"/>
                <a:gd name="T17" fmla="*/ 0 h 16"/>
                <a:gd name="T18" fmla="*/ 6 w 6"/>
                <a:gd name="T19" fmla="*/ 0 h 16"/>
                <a:gd name="T20" fmla="*/ 4 w 6"/>
                <a:gd name="T21" fmla="*/ 6 h 16"/>
                <a:gd name="T22" fmla="*/ 4 w 6"/>
                <a:gd name="T23"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6">
                  <a:moveTo>
                    <a:pt x="4" y="9"/>
                  </a:moveTo>
                  <a:lnTo>
                    <a:pt x="4" y="9"/>
                  </a:lnTo>
                  <a:lnTo>
                    <a:pt x="3" y="13"/>
                  </a:lnTo>
                  <a:lnTo>
                    <a:pt x="0" y="16"/>
                  </a:lnTo>
                  <a:lnTo>
                    <a:pt x="0" y="16"/>
                  </a:lnTo>
                  <a:lnTo>
                    <a:pt x="1" y="9"/>
                  </a:lnTo>
                  <a:lnTo>
                    <a:pt x="4" y="3"/>
                  </a:lnTo>
                  <a:lnTo>
                    <a:pt x="4" y="3"/>
                  </a:lnTo>
                  <a:lnTo>
                    <a:pt x="6" y="0"/>
                  </a:lnTo>
                  <a:lnTo>
                    <a:pt x="6" y="0"/>
                  </a:lnTo>
                  <a:lnTo>
                    <a:pt x="4" y="6"/>
                  </a:lnTo>
                  <a:lnTo>
                    <a:pt x="4"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0" name="Freeform 933"/>
            <p:cNvSpPr/>
            <p:nvPr/>
          </p:nvSpPr>
          <p:spPr bwMode="auto">
            <a:xfrm>
              <a:off x="5180609" y="4304469"/>
              <a:ext cx="24574" cy="24574"/>
            </a:xfrm>
            <a:custGeom>
              <a:avLst/>
              <a:gdLst>
                <a:gd name="T0" fmla="*/ 0 w 7"/>
                <a:gd name="T1" fmla="*/ 9 h 9"/>
                <a:gd name="T2" fmla="*/ 0 w 7"/>
                <a:gd name="T3" fmla="*/ 9 h 9"/>
                <a:gd name="T4" fmla="*/ 3 w 7"/>
                <a:gd name="T5" fmla="*/ 6 h 9"/>
                <a:gd name="T6" fmla="*/ 4 w 7"/>
                <a:gd name="T7" fmla="*/ 2 h 9"/>
                <a:gd name="T8" fmla="*/ 5 w 7"/>
                <a:gd name="T9" fmla="*/ 0 h 9"/>
                <a:gd name="T10" fmla="*/ 7 w 7"/>
                <a:gd name="T11" fmla="*/ 0 h 9"/>
                <a:gd name="T12" fmla="*/ 7 w 7"/>
                <a:gd name="T13" fmla="*/ 0 h 9"/>
                <a:gd name="T14" fmla="*/ 3 w 7"/>
                <a:gd name="T15" fmla="*/ 6 h 9"/>
                <a:gd name="T16" fmla="*/ 1 w 7"/>
                <a:gd name="T17" fmla="*/ 9 h 9"/>
                <a:gd name="T18" fmla="*/ 0 w 7"/>
                <a:gd name="T1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0" y="9"/>
                  </a:moveTo>
                  <a:lnTo>
                    <a:pt x="0" y="9"/>
                  </a:lnTo>
                  <a:lnTo>
                    <a:pt x="3" y="6"/>
                  </a:lnTo>
                  <a:lnTo>
                    <a:pt x="4" y="2"/>
                  </a:lnTo>
                  <a:lnTo>
                    <a:pt x="5" y="0"/>
                  </a:lnTo>
                  <a:lnTo>
                    <a:pt x="7" y="0"/>
                  </a:lnTo>
                  <a:lnTo>
                    <a:pt x="7" y="0"/>
                  </a:lnTo>
                  <a:lnTo>
                    <a:pt x="3" y="6"/>
                  </a:lnTo>
                  <a:lnTo>
                    <a:pt x="1" y="9"/>
                  </a:lnTo>
                  <a:lnTo>
                    <a:pt x="0"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1" name="Freeform 934"/>
            <p:cNvSpPr/>
            <p:nvPr/>
          </p:nvSpPr>
          <p:spPr bwMode="auto">
            <a:xfrm>
              <a:off x="4080920" y="4900392"/>
              <a:ext cx="30720" cy="12287"/>
            </a:xfrm>
            <a:custGeom>
              <a:avLst/>
              <a:gdLst>
                <a:gd name="T0" fmla="*/ 2 w 8"/>
                <a:gd name="T1" fmla="*/ 4 h 4"/>
                <a:gd name="T2" fmla="*/ 2 w 8"/>
                <a:gd name="T3" fmla="*/ 4 h 4"/>
                <a:gd name="T4" fmla="*/ 4 w 8"/>
                <a:gd name="T5" fmla="*/ 3 h 4"/>
                <a:gd name="T6" fmla="*/ 4 w 8"/>
                <a:gd name="T7" fmla="*/ 3 h 4"/>
                <a:gd name="T8" fmla="*/ 2 w 8"/>
                <a:gd name="T9" fmla="*/ 3 h 4"/>
                <a:gd name="T10" fmla="*/ 2 w 8"/>
                <a:gd name="T11" fmla="*/ 3 h 4"/>
                <a:gd name="T12" fmla="*/ 0 w 8"/>
                <a:gd name="T13" fmla="*/ 3 h 4"/>
                <a:gd name="T14" fmla="*/ 2 w 8"/>
                <a:gd name="T15" fmla="*/ 0 h 4"/>
                <a:gd name="T16" fmla="*/ 2 w 8"/>
                <a:gd name="T17" fmla="*/ 0 h 4"/>
                <a:gd name="T18" fmla="*/ 5 w 8"/>
                <a:gd name="T19" fmla="*/ 0 h 4"/>
                <a:gd name="T20" fmla="*/ 8 w 8"/>
                <a:gd name="T21" fmla="*/ 0 h 4"/>
                <a:gd name="T22" fmla="*/ 8 w 8"/>
                <a:gd name="T23" fmla="*/ 0 h 4"/>
                <a:gd name="T24" fmla="*/ 7 w 8"/>
                <a:gd name="T25" fmla="*/ 2 h 4"/>
                <a:gd name="T26" fmla="*/ 5 w 8"/>
                <a:gd name="T27" fmla="*/ 3 h 4"/>
                <a:gd name="T28" fmla="*/ 2 w 8"/>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4"/>
                  </a:moveTo>
                  <a:lnTo>
                    <a:pt x="2" y="4"/>
                  </a:lnTo>
                  <a:lnTo>
                    <a:pt x="4" y="3"/>
                  </a:lnTo>
                  <a:lnTo>
                    <a:pt x="4" y="3"/>
                  </a:lnTo>
                  <a:lnTo>
                    <a:pt x="2" y="3"/>
                  </a:lnTo>
                  <a:lnTo>
                    <a:pt x="2" y="3"/>
                  </a:lnTo>
                  <a:lnTo>
                    <a:pt x="0" y="3"/>
                  </a:lnTo>
                  <a:lnTo>
                    <a:pt x="2" y="0"/>
                  </a:lnTo>
                  <a:lnTo>
                    <a:pt x="2" y="0"/>
                  </a:lnTo>
                  <a:lnTo>
                    <a:pt x="5" y="0"/>
                  </a:lnTo>
                  <a:lnTo>
                    <a:pt x="8" y="0"/>
                  </a:lnTo>
                  <a:lnTo>
                    <a:pt x="8" y="0"/>
                  </a:lnTo>
                  <a:lnTo>
                    <a:pt x="7" y="2"/>
                  </a:lnTo>
                  <a:lnTo>
                    <a:pt x="5" y="3"/>
                  </a:lnTo>
                  <a:lnTo>
                    <a:pt x="2"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2" name="Freeform 935"/>
            <p:cNvSpPr/>
            <p:nvPr/>
          </p:nvSpPr>
          <p:spPr bwMode="auto">
            <a:xfrm>
              <a:off x="4111636" y="4875818"/>
              <a:ext cx="30720" cy="24574"/>
            </a:xfrm>
            <a:custGeom>
              <a:avLst/>
              <a:gdLst>
                <a:gd name="T0" fmla="*/ 3 w 10"/>
                <a:gd name="T1" fmla="*/ 4 h 9"/>
                <a:gd name="T2" fmla="*/ 3 w 10"/>
                <a:gd name="T3" fmla="*/ 4 h 9"/>
                <a:gd name="T4" fmla="*/ 6 w 10"/>
                <a:gd name="T5" fmla="*/ 3 h 9"/>
                <a:gd name="T6" fmla="*/ 6 w 10"/>
                <a:gd name="T7" fmla="*/ 3 h 9"/>
                <a:gd name="T8" fmla="*/ 7 w 10"/>
                <a:gd name="T9" fmla="*/ 1 h 9"/>
                <a:gd name="T10" fmla="*/ 7 w 10"/>
                <a:gd name="T11" fmla="*/ 0 h 9"/>
                <a:gd name="T12" fmla="*/ 9 w 10"/>
                <a:gd name="T13" fmla="*/ 0 h 9"/>
                <a:gd name="T14" fmla="*/ 9 w 10"/>
                <a:gd name="T15" fmla="*/ 0 h 9"/>
                <a:gd name="T16" fmla="*/ 9 w 10"/>
                <a:gd name="T17" fmla="*/ 0 h 9"/>
                <a:gd name="T18" fmla="*/ 10 w 10"/>
                <a:gd name="T19" fmla="*/ 1 h 9"/>
                <a:gd name="T20" fmla="*/ 10 w 10"/>
                <a:gd name="T21" fmla="*/ 1 h 9"/>
                <a:gd name="T22" fmla="*/ 10 w 10"/>
                <a:gd name="T23" fmla="*/ 1 h 9"/>
                <a:gd name="T24" fmla="*/ 9 w 10"/>
                <a:gd name="T25" fmla="*/ 3 h 9"/>
                <a:gd name="T26" fmla="*/ 7 w 10"/>
                <a:gd name="T27" fmla="*/ 4 h 9"/>
                <a:gd name="T28" fmla="*/ 6 w 10"/>
                <a:gd name="T29" fmla="*/ 6 h 9"/>
                <a:gd name="T30" fmla="*/ 3 w 10"/>
                <a:gd name="T31" fmla="*/ 9 h 9"/>
                <a:gd name="T32" fmla="*/ 3 w 10"/>
                <a:gd name="T33" fmla="*/ 9 h 9"/>
                <a:gd name="T34" fmla="*/ 0 w 10"/>
                <a:gd name="T35" fmla="*/ 7 h 9"/>
                <a:gd name="T36" fmla="*/ 2 w 10"/>
                <a:gd name="T37" fmla="*/ 6 h 9"/>
                <a:gd name="T38" fmla="*/ 3 w 10"/>
                <a:gd name="T3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9">
                  <a:moveTo>
                    <a:pt x="3" y="4"/>
                  </a:moveTo>
                  <a:lnTo>
                    <a:pt x="3" y="4"/>
                  </a:lnTo>
                  <a:lnTo>
                    <a:pt x="6" y="3"/>
                  </a:lnTo>
                  <a:lnTo>
                    <a:pt x="6" y="3"/>
                  </a:lnTo>
                  <a:lnTo>
                    <a:pt x="7" y="1"/>
                  </a:lnTo>
                  <a:lnTo>
                    <a:pt x="7" y="0"/>
                  </a:lnTo>
                  <a:lnTo>
                    <a:pt x="9" y="0"/>
                  </a:lnTo>
                  <a:lnTo>
                    <a:pt x="9" y="0"/>
                  </a:lnTo>
                  <a:lnTo>
                    <a:pt x="9" y="0"/>
                  </a:lnTo>
                  <a:lnTo>
                    <a:pt x="10" y="1"/>
                  </a:lnTo>
                  <a:lnTo>
                    <a:pt x="10" y="1"/>
                  </a:lnTo>
                  <a:lnTo>
                    <a:pt x="10" y="1"/>
                  </a:lnTo>
                  <a:lnTo>
                    <a:pt x="9" y="3"/>
                  </a:lnTo>
                  <a:lnTo>
                    <a:pt x="7" y="4"/>
                  </a:lnTo>
                  <a:lnTo>
                    <a:pt x="6" y="6"/>
                  </a:lnTo>
                  <a:lnTo>
                    <a:pt x="3" y="9"/>
                  </a:lnTo>
                  <a:lnTo>
                    <a:pt x="3" y="9"/>
                  </a:lnTo>
                  <a:lnTo>
                    <a:pt x="0" y="7"/>
                  </a:lnTo>
                  <a:lnTo>
                    <a:pt x="2" y="6"/>
                  </a:lnTo>
                  <a:lnTo>
                    <a:pt x="3"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3" name="Freeform 936"/>
            <p:cNvSpPr/>
            <p:nvPr/>
          </p:nvSpPr>
          <p:spPr bwMode="auto">
            <a:xfrm>
              <a:off x="4977875" y="4617790"/>
              <a:ext cx="18433" cy="24574"/>
            </a:xfrm>
            <a:custGeom>
              <a:avLst/>
              <a:gdLst>
                <a:gd name="T0" fmla="*/ 7 w 7"/>
                <a:gd name="T1" fmla="*/ 0 h 8"/>
                <a:gd name="T2" fmla="*/ 7 w 7"/>
                <a:gd name="T3" fmla="*/ 0 h 8"/>
                <a:gd name="T4" fmla="*/ 4 w 7"/>
                <a:gd name="T5" fmla="*/ 6 h 8"/>
                <a:gd name="T6" fmla="*/ 0 w 7"/>
                <a:gd name="T7" fmla="*/ 8 h 8"/>
                <a:gd name="T8" fmla="*/ 0 w 7"/>
                <a:gd name="T9" fmla="*/ 8 h 8"/>
                <a:gd name="T10" fmla="*/ 1 w 7"/>
                <a:gd name="T11" fmla="*/ 6 h 8"/>
                <a:gd name="T12" fmla="*/ 4 w 7"/>
                <a:gd name="T13" fmla="*/ 1 h 8"/>
                <a:gd name="T14" fmla="*/ 4 w 7"/>
                <a:gd name="T15" fmla="*/ 1 h 8"/>
                <a:gd name="T16" fmla="*/ 5 w 7"/>
                <a:gd name="T17" fmla="*/ 0 h 8"/>
                <a:gd name="T18" fmla="*/ 5 w 7"/>
                <a:gd name="T19" fmla="*/ 0 h 8"/>
                <a:gd name="T20" fmla="*/ 5 w 7"/>
                <a:gd name="T21" fmla="*/ 1 h 8"/>
                <a:gd name="T22" fmla="*/ 7 w 7"/>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0"/>
                  </a:moveTo>
                  <a:lnTo>
                    <a:pt x="7" y="0"/>
                  </a:lnTo>
                  <a:lnTo>
                    <a:pt x="4" y="6"/>
                  </a:lnTo>
                  <a:lnTo>
                    <a:pt x="0" y="8"/>
                  </a:lnTo>
                  <a:lnTo>
                    <a:pt x="0" y="8"/>
                  </a:lnTo>
                  <a:lnTo>
                    <a:pt x="1" y="6"/>
                  </a:lnTo>
                  <a:lnTo>
                    <a:pt x="4" y="1"/>
                  </a:lnTo>
                  <a:lnTo>
                    <a:pt x="4" y="1"/>
                  </a:lnTo>
                  <a:lnTo>
                    <a:pt x="5" y="0"/>
                  </a:lnTo>
                  <a:lnTo>
                    <a:pt x="5" y="0"/>
                  </a:lnTo>
                  <a:lnTo>
                    <a:pt x="5" y="1"/>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4" name="Freeform 937"/>
            <p:cNvSpPr/>
            <p:nvPr/>
          </p:nvSpPr>
          <p:spPr bwMode="auto">
            <a:xfrm>
              <a:off x="4044059" y="4912679"/>
              <a:ext cx="18433" cy="12287"/>
            </a:xfrm>
            <a:custGeom>
              <a:avLst/>
              <a:gdLst>
                <a:gd name="T0" fmla="*/ 3 w 7"/>
                <a:gd name="T1" fmla="*/ 5 h 5"/>
                <a:gd name="T2" fmla="*/ 3 w 7"/>
                <a:gd name="T3" fmla="*/ 5 h 5"/>
                <a:gd name="T4" fmla="*/ 1 w 7"/>
                <a:gd name="T5" fmla="*/ 5 h 5"/>
                <a:gd name="T6" fmla="*/ 0 w 7"/>
                <a:gd name="T7" fmla="*/ 5 h 5"/>
                <a:gd name="T8" fmla="*/ 0 w 7"/>
                <a:gd name="T9" fmla="*/ 3 h 5"/>
                <a:gd name="T10" fmla="*/ 0 w 7"/>
                <a:gd name="T11" fmla="*/ 3 h 5"/>
                <a:gd name="T12" fmla="*/ 3 w 7"/>
                <a:gd name="T13" fmla="*/ 2 h 5"/>
                <a:gd name="T14" fmla="*/ 6 w 7"/>
                <a:gd name="T15" fmla="*/ 0 h 5"/>
                <a:gd name="T16" fmla="*/ 7 w 7"/>
                <a:gd name="T17" fmla="*/ 0 h 5"/>
                <a:gd name="T18" fmla="*/ 7 w 7"/>
                <a:gd name="T19" fmla="*/ 0 h 5"/>
                <a:gd name="T20" fmla="*/ 3 w 7"/>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5">
                  <a:moveTo>
                    <a:pt x="3" y="5"/>
                  </a:moveTo>
                  <a:lnTo>
                    <a:pt x="3" y="5"/>
                  </a:lnTo>
                  <a:lnTo>
                    <a:pt x="1" y="5"/>
                  </a:lnTo>
                  <a:lnTo>
                    <a:pt x="0" y="5"/>
                  </a:lnTo>
                  <a:lnTo>
                    <a:pt x="0" y="3"/>
                  </a:lnTo>
                  <a:lnTo>
                    <a:pt x="0" y="3"/>
                  </a:lnTo>
                  <a:lnTo>
                    <a:pt x="3" y="2"/>
                  </a:lnTo>
                  <a:lnTo>
                    <a:pt x="6" y="0"/>
                  </a:lnTo>
                  <a:lnTo>
                    <a:pt x="7" y="0"/>
                  </a:lnTo>
                  <a:lnTo>
                    <a:pt x="7" y="0"/>
                  </a:lnTo>
                  <a:lnTo>
                    <a:pt x="3"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5" name="Freeform 938"/>
            <p:cNvSpPr/>
            <p:nvPr/>
          </p:nvSpPr>
          <p:spPr bwMode="auto">
            <a:xfrm>
              <a:off x="4947155" y="4654651"/>
              <a:ext cx="18433" cy="18433"/>
            </a:xfrm>
            <a:custGeom>
              <a:avLst/>
              <a:gdLst>
                <a:gd name="T0" fmla="*/ 0 w 5"/>
                <a:gd name="T1" fmla="*/ 7 h 7"/>
                <a:gd name="T2" fmla="*/ 0 w 5"/>
                <a:gd name="T3" fmla="*/ 7 h 7"/>
                <a:gd name="T4" fmla="*/ 2 w 5"/>
                <a:gd name="T5" fmla="*/ 3 h 7"/>
                <a:gd name="T6" fmla="*/ 5 w 5"/>
                <a:gd name="T7" fmla="*/ 0 h 7"/>
                <a:gd name="T8" fmla="*/ 5 w 5"/>
                <a:gd name="T9" fmla="*/ 0 h 7"/>
                <a:gd name="T10" fmla="*/ 4 w 5"/>
                <a:gd name="T11" fmla="*/ 5 h 7"/>
                <a:gd name="T12" fmla="*/ 1 w 5"/>
                <a:gd name="T13" fmla="*/ 7 h 7"/>
                <a:gd name="T14" fmla="*/ 1 w 5"/>
                <a:gd name="T15" fmla="*/ 7 h 7"/>
                <a:gd name="T16" fmla="*/ 0 w 5"/>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0" y="7"/>
                  </a:moveTo>
                  <a:lnTo>
                    <a:pt x="0" y="7"/>
                  </a:lnTo>
                  <a:lnTo>
                    <a:pt x="2" y="3"/>
                  </a:lnTo>
                  <a:lnTo>
                    <a:pt x="5" y="0"/>
                  </a:lnTo>
                  <a:lnTo>
                    <a:pt x="5" y="0"/>
                  </a:lnTo>
                  <a:lnTo>
                    <a:pt x="4" y="5"/>
                  </a:lnTo>
                  <a:lnTo>
                    <a:pt x="1" y="7"/>
                  </a:lnTo>
                  <a:lnTo>
                    <a:pt x="1" y="7"/>
                  </a:lnTo>
                  <a:lnTo>
                    <a:pt x="0"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6" name="Freeform 939"/>
            <p:cNvSpPr/>
            <p:nvPr/>
          </p:nvSpPr>
          <p:spPr bwMode="auto">
            <a:xfrm>
              <a:off x="4025626" y="4924966"/>
              <a:ext cx="18433" cy="6145"/>
            </a:xfrm>
            <a:custGeom>
              <a:avLst/>
              <a:gdLst>
                <a:gd name="T0" fmla="*/ 6 w 6"/>
                <a:gd name="T1" fmla="*/ 1 h 3"/>
                <a:gd name="T2" fmla="*/ 6 w 6"/>
                <a:gd name="T3" fmla="*/ 1 h 3"/>
                <a:gd name="T4" fmla="*/ 3 w 6"/>
                <a:gd name="T5" fmla="*/ 3 h 3"/>
                <a:gd name="T6" fmla="*/ 0 w 6"/>
                <a:gd name="T7" fmla="*/ 3 h 3"/>
                <a:gd name="T8" fmla="*/ 0 w 6"/>
                <a:gd name="T9" fmla="*/ 3 h 3"/>
                <a:gd name="T10" fmla="*/ 2 w 6"/>
                <a:gd name="T11" fmla="*/ 1 h 3"/>
                <a:gd name="T12" fmla="*/ 3 w 6"/>
                <a:gd name="T13" fmla="*/ 0 h 3"/>
                <a:gd name="T14" fmla="*/ 3 w 6"/>
                <a:gd name="T15" fmla="*/ 0 h 3"/>
                <a:gd name="T16" fmla="*/ 3 w 6"/>
                <a:gd name="T17" fmla="*/ 1 h 3"/>
                <a:gd name="T18" fmla="*/ 6 w 6"/>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1"/>
                  </a:moveTo>
                  <a:lnTo>
                    <a:pt x="6" y="1"/>
                  </a:lnTo>
                  <a:lnTo>
                    <a:pt x="3" y="3"/>
                  </a:lnTo>
                  <a:lnTo>
                    <a:pt x="0" y="3"/>
                  </a:lnTo>
                  <a:lnTo>
                    <a:pt x="0" y="3"/>
                  </a:lnTo>
                  <a:lnTo>
                    <a:pt x="2" y="1"/>
                  </a:lnTo>
                  <a:lnTo>
                    <a:pt x="3" y="0"/>
                  </a:lnTo>
                  <a:lnTo>
                    <a:pt x="3" y="0"/>
                  </a:lnTo>
                  <a:lnTo>
                    <a:pt x="3" y="1"/>
                  </a:lnTo>
                  <a:lnTo>
                    <a:pt x="6"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5" name="Freeform 948"/>
            <p:cNvSpPr/>
            <p:nvPr/>
          </p:nvSpPr>
          <p:spPr bwMode="auto">
            <a:xfrm>
              <a:off x="2581900" y="4869671"/>
              <a:ext cx="24574" cy="12287"/>
            </a:xfrm>
            <a:custGeom>
              <a:avLst/>
              <a:gdLst>
                <a:gd name="T0" fmla="*/ 2 w 9"/>
                <a:gd name="T1" fmla="*/ 1 h 4"/>
                <a:gd name="T2" fmla="*/ 2 w 9"/>
                <a:gd name="T3" fmla="*/ 1 h 4"/>
                <a:gd name="T4" fmla="*/ 0 w 9"/>
                <a:gd name="T5" fmla="*/ 0 h 4"/>
                <a:gd name="T6" fmla="*/ 2 w 9"/>
                <a:gd name="T7" fmla="*/ 0 h 4"/>
                <a:gd name="T8" fmla="*/ 3 w 9"/>
                <a:gd name="T9" fmla="*/ 0 h 4"/>
                <a:gd name="T10" fmla="*/ 3 w 9"/>
                <a:gd name="T11" fmla="*/ 0 h 4"/>
                <a:gd name="T12" fmla="*/ 6 w 9"/>
                <a:gd name="T13" fmla="*/ 1 h 4"/>
                <a:gd name="T14" fmla="*/ 9 w 9"/>
                <a:gd name="T15" fmla="*/ 4 h 4"/>
                <a:gd name="T16" fmla="*/ 9 w 9"/>
                <a:gd name="T17" fmla="*/ 4 h 4"/>
                <a:gd name="T18" fmla="*/ 5 w 9"/>
                <a:gd name="T19" fmla="*/ 2 h 4"/>
                <a:gd name="T20" fmla="*/ 2 w 9"/>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4">
                  <a:moveTo>
                    <a:pt x="2" y="1"/>
                  </a:moveTo>
                  <a:lnTo>
                    <a:pt x="2" y="1"/>
                  </a:lnTo>
                  <a:lnTo>
                    <a:pt x="0" y="0"/>
                  </a:lnTo>
                  <a:lnTo>
                    <a:pt x="2" y="0"/>
                  </a:lnTo>
                  <a:lnTo>
                    <a:pt x="3" y="0"/>
                  </a:lnTo>
                  <a:lnTo>
                    <a:pt x="3" y="0"/>
                  </a:lnTo>
                  <a:lnTo>
                    <a:pt x="6" y="1"/>
                  </a:lnTo>
                  <a:lnTo>
                    <a:pt x="9" y="4"/>
                  </a:lnTo>
                  <a:lnTo>
                    <a:pt x="9" y="4"/>
                  </a:lnTo>
                  <a:lnTo>
                    <a:pt x="5" y="2"/>
                  </a:lnTo>
                  <a:lnTo>
                    <a:pt x="2"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1" name="Freeform 954"/>
            <p:cNvSpPr/>
            <p:nvPr/>
          </p:nvSpPr>
          <p:spPr bwMode="auto">
            <a:xfrm>
              <a:off x="2108846" y="4642362"/>
              <a:ext cx="18433" cy="18433"/>
            </a:xfrm>
            <a:custGeom>
              <a:avLst/>
              <a:gdLst>
                <a:gd name="T0" fmla="*/ 0 w 7"/>
                <a:gd name="T1" fmla="*/ 0 h 6"/>
                <a:gd name="T2" fmla="*/ 0 w 7"/>
                <a:gd name="T3" fmla="*/ 0 h 6"/>
                <a:gd name="T4" fmla="*/ 3 w 7"/>
                <a:gd name="T5" fmla="*/ 2 h 6"/>
                <a:gd name="T6" fmla="*/ 7 w 7"/>
                <a:gd name="T7" fmla="*/ 6 h 6"/>
                <a:gd name="T8" fmla="*/ 7 w 7"/>
                <a:gd name="T9" fmla="*/ 6 h 6"/>
                <a:gd name="T10" fmla="*/ 5 w 7"/>
                <a:gd name="T11" fmla="*/ 5 h 6"/>
                <a:gd name="T12" fmla="*/ 0 w 7"/>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0" y="0"/>
                  </a:moveTo>
                  <a:lnTo>
                    <a:pt x="0" y="0"/>
                  </a:lnTo>
                  <a:lnTo>
                    <a:pt x="3" y="2"/>
                  </a:lnTo>
                  <a:lnTo>
                    <a:pt x="7" y="6"/>
                  </a:lnTo>
                  <a:lnTo>
                    <a:pt x="7" y="6"/>
                  </a:lnTo>
                  <a:lnTo>
                    <a:pt x="5" y="5"/>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2" name="Freeform 955"/>
            <p:cNvSpPr/>
            <p:nvPr/>
          </p:nvSpPr>
          <p:spPr bwMode="auto">
            <a:xfrm>
              <a:off x="1973689" y="3690114"/>
              <a:ext cx="12287" cy="24574"/>
            </a:xfrm>
            <a:custGeom>
              <a:avLst/>
              <a:gdLst>
                <a:gd name="T0" fmla="*/ 2 w 2"/>
                <a:gd name="T1" fmla="*/ 9 h 9"/>
                <a:gd name="T2" fmla="*/ 2 w 2"/>
                <a:gd name="T3" fmla="*/ 9 h 9"/>
                <a:gd name="T4" fmla="*/ 1 w 2"/>
                <a:gd name="T5" fmla="*/ 5 h 9"/>
                <a:gd name="T6" fmla="*/ 0 w 2"/>
                <a:gd name="T7" fmla="*/ 0 h 9"/>
                <a:gd name="T8" fmla="*/ 0 w 2"/>
                <a:gd name="T9" fmla="*/ 0 h 9"/>
                <a:gd name="T10" fmla="*/ 1 w 2"/>
                <a:gd name="T11" fmla="*/ 5 h 9"/>
                <a:gd name="T12" fmla="*/ 2 w 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 h="9">
                  <a:moveTo>
                    <a:pt x="2" y="9"/>
                  </a:moveTo>
                  <a:lnTo>
                    <a:pt x="2" y="9"/>
                  </a:lnTo>
                  <a:lnTo>
                    <a:pt x="1" y="5"/>
                  </a:lnTo>
                  <a:lnTo>
                    <a:pt x="0" y="0"/>
                  </a:lnTo>
                  <a:lnTo>
                    <a:pt x="0" y="0"/>
                  </a:lnTo>
                  <a:lnTo>
                    <a:pt x="1" y="5"/>
                  </a:lnTo>
                  <a:lnTo>
                    <a:pt x="2"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3" name="Freeform 956"/>
            <p:cNvSpPr/>
            <p:nvPr/>
          </p:nvSpPr>
          <p:spPr bwMode="auto">
            <a:xfrm>
              <a:off x="1973689" y="3690114"/>
              <a:ext cx="12287" cy="24574"/>
            </a:xfrm>
            <a:custGeom>
              <a:avLst/>
              <a:gdLst>
                <a:gd name="T0" fmla="*/ 2 w 2"/>
                <a:gd name="T1" fmla="*/ 9 h 9"/>
                <a:gd name="T2" fmla="*/ 2 w 2"/>
                <a:gd name="T3" fmla="*/ 9 h 9"/>
                <a:gd name="T4" fmla="*/ 1 w 2"/>
                <a:gd name="T5" fmla="*/ 5 h 9"/>
                <a:gd name="T6" fmla="*/ 0 w 2"/>
                <a:gd name="T7" fmla="*/ 0 h 9"/>
                <a:gd name="T8" fmla="*/ 0 w 2"/>
                <a:gd name="T9" fmla="*/ 0 h 9"/>
                <a:gd name="T10" fmla="*/ 1 w 2"/>
                <a:gd name="T11" fmla="*/ 5 h 9"/>
                <a:gd name="T12" fmla="*/ 2 w 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 h="9">
                  <a:moveTo>
                    <a:pt x="2" y="9"/>
                  </a:moveTo>
                  <a:lnTo>
                    <a:pt x="2" y="9"/>
                  </a:lnTo>
                  <a:lnTo>
                    <a:pt x="1" y="5"/>
                  </a:lnTo>
                  <a:lnTo>
                    <a:pt x="0" y="0"/>
                  </a:lnTo>
                  <a:lnTo>
                    <a:pt x="0" y="0"/>
                  </a:lnTo>
                  <a:lnTo>
                    <a:pt x="1" y="5"/>
                  </a:lnTo>
                  <a:lnTo>
                    <a:pt x="2"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4" name="Freeform 957"/>
            <p:cNvSpPr/>
            <p:nvPr/>
          </p:nvSpPr>
          <p:spPr bwMode="auto">
            <a:xfrm>
              <a:off x="1973689" y="3161771"/>
              <a:ext cx="6145" cy="24574"/>
            </a:xfrm>
            <a:custGeom>
              <a:avLst/>
              <a:gdLst>
                <a:gd name="T0" fmla="*/ 0 w 3"/>
                <a:gd name="T1" fmla="*/ 4 h 7"/>
                <a:gd name="T2" fmla="*/ 0 w 3"/>
                <a:gd name="T3" fmla="*/ 4 h 7"/>
                <a:gd name="T4" fmla="*/ 0 w 3"/>
                <a:gd name="T5" fmla="*/ 6 h 7"/>
                <a:gd name="T6" fmla="*/ 2 w 3"/>
                <a:gd name="T7" fmla="*/ 7 h 7"/>
                <a:gd name="T8" fmla="*/ 2 w 3"/>
                <a:gd name="T9" fmla="*/ 7 h 7"/>
                <a:gd name="T10" fmla="*/ 2 w 3"/>
                <a:gd name="T11" fmla="*/ 1 h 7"/>
                <a:gd name="T12" fmla="*/ 2 w 3"/>
                <a:gd name="T13" fmla="*/ 1 h 7"/>
                <a:gd name="T14" fmla="*/ 3 w 3"/>
                <a:gd name="T15" fmla="*/ 0 h 7"/>
                <a:gd name="T16" fmla="*/ 3 w 3"/>
                <a:gd name="T17" fmla="*/ 0 h 7"/>
                <a:gd name="T18" fmla="*/ 3 w 3"/>
                <a:gd name="T19" fmla="*/ 0 h 7"/>
                <a:gd name="T20" fmla="*/ 2 w 3"/>
                <a:gd name="T21" fmla="*/ 0 h 7"/>
                <a:gd name="T22" fmla="*/ 0 w 3"/>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7">
                  <a:moveTo>
                    <a:pt x="0" y="4"/>
                  </a:moveTo>
                  <a:lnTo>
                    <a:pt x="0" y="4"/>
                  </a:lnTo>
                  <a:lnTo>
                    <a:pt x="0" y="6"/>
                  </a:lnTo>
                  <a:lnTo>
                    <a:pt x="2" y="7"/>
                  </a:lnTo>
                  <a:lnTo>
                    <a:pt x="2" y="7"/>
                  </a:lnTo>
                  <a:lnTo>
                    <a:pt x="2" y="1"/>
                  </a:lnTo>
                  <a:lnTo>
                    <a:pt x="2" y="1"/>
                  </a:lnTo>
                  <a:lnTo>
                    <a:pt x="3" y="0"/>
                  </a:lnTo>
                  <a:lnTo>
                    <a:pt x="3" y="0"/>
                  </a:lnTo>
                  <a:lnTo>
                    <a:pt x="3" y="0"/>
                  </a:lnTo>
                  <a:lnTo>
                    <a:pt x="2" y="0"/>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5" name="Freeform 958"/>
            <p:cNvSpPr/>
            <p:nvPr/>
          </p:nvSpPr>
          <p:spPr bwMode="auto">
            <a:xfrm>
              <a:off x="1973689" y="3161771"/>
              <a:ext cx="6145" cy="24574"/>
            </a:xfrm>
            <a:custGeom>
              <a:avLst/>
              <a:gdLst>
                <a:gd name="T0" fmla="*/ 0 w 3"/>
                <a:gd name="T1" fmla="*/ 4 h 7"/>
                <a:gd name="T2" fmla="*/ 0 w 3"/>
                <a:gd name="T3" fmla="*/ 4 h 7"/>
                <a:gd name="T4" fmla="*/ 0 w 3"/>
                <a:gd name="T5" fmla="*/ 6 h 7"/>
                <a:gd name="T6" fmla="*/ 2 w 3"/>
                <a:gd name="T7" fmla="*/ 7 h 7"/>
                <a:gd name="T8" fmla="*/ 2 w 3"/>
                <a:gd name="T9" fmla="*/ 7 h 7"/>
                <a:gd name="T10" fmla="*/ 2 w 3"/>
                <a:gd name="T11" fmla="*/ 1 h 7"/>
                <a:gd name="T12" fmla="*/ 2 w 3"/>
                <a:gd name="T13" fmla="*/ 1 h 7"/>
                <a:gd name="T14" fmla="*/ 3 w 3"/>
                <a:gd name="T15" fmla="*/ 0 h 7"/>
                <a:gd name="T16" fmla="*/ 3 w 3"/>
                <a:gd name="T17" fmla="*/ 0 h 7"/>
                <a:gd name="T18" fmla="*/ 3 w 3"/>
                <a:gd name="T19" fmla="*/ 0 h 7"/>
                <a:gd name="T20" fmla="*/ 2 w 3"/>
                <a:gd name="T21" fmla="*/ 0 h 7"/>
                <a:gd name="T22" fmla="*/ 0 w 3"/>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7">
                  <a:moveTo>
                    <a:pt x="0" y="4"/>
                  </a:moveTo>
                  <a:lnTo>
                    <a:pt x="0" y="4"/>
                  </a:lnTo>
                  <a:lnTo>
                    <a:pt x="0" y="6"/>
                  </a:lnTo>
                  <a:lnTo>
                    <a:pt x="2" y="7"/>
                  </a:lnTo>
                  <a:lnTo>
                    <a:pt x="2" y="7"/>
                  </a:lnTo>
                  <a:lnTo>
                    <a:pt x="2" y="1"/>
                  </a:lnTo>
                  <a:lnTo>
                    <a:pt x="2" y="1"/>
                  </a:lnTo>
                  <a:lnTo>
                    <a:pt x="3" y="0"/>
                  </a:lnTo>
                  <a:lnTo>
                    <a:pt x="3" y="0"/>
                  </a:lnTo>
                  <a:lnTo>
                    <a:pt x="3" y="0"/>
                  </a:lnTo>
                  <a:lnTo>
                    <a:pt x="2" y="0"/>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6" name="Freeform 959"/>
            <p:cNvSpPr/>
            <p:nvPr/>
          </p:nvSpPr>
          <p:spPr bwMode="auto">
            <a:xfrm>
              <a:off x="1801670" y="3597964"/>
              <a:ext cx="6145" cy="24574"/>
            </a:xfrm>
            <a:custGeom>
              <a:avLst/>
              <a:gdLst>
                <a:gd name="T0" fmla="*/ 1 w 2"/>
                <a:gd name="T1" fmla="*/ 9 h 9"/>
                <a:gd name="T2" fmla="*/ 1 w 2"/>
                <a:gd name="T3" fmla="*/ 9 h 9"/>
                <a:gd name="T4" fmla="*/ 1 w 2"/>
                <a:gd name="T5" fmla="*/ 9 h 9"/>
                <a:gd name="T6" fmla="*/ 1 w 2"/>
                <a:gd name="T7" fmla="*/ 7 h 9"/>
                <a:gd name="T8" fmla="*/ 1 w 2"/>
                <a:gd name="T9" fmla="*/ 3 h 9"/>
                <a:gd name="T10" fmla="*/ 2 w 2"/>
                <a:gd name="T11" fmla="*/ 2 h 9"/>
                <a:gd name="T12" fmla="*/ 2 w 2"/>
                <a:gd name="T13" fmla="*/ 2 h 9"/>
                <a:gd name="T14" fmla="*/ 1 w 2"/>
                <a:gd name="T15" fmla="*/ 0 h 9"/>
                <a:gd name="T16" fmla="*/ 0 w 2"/>
                <a:gd name="T17" fmla="*/ 0 h 9"/>
                <a:gd name="T18" fmla="*/ 0 w 2"/>
                <a:gd name="T19" fmla="*/ 0 h 9"/>
                <a:gd name="T20" fmla="*/ 0 w 2"/>
                <a:gd name="T21" fmla="*/ 3 h 9"/>
                <a:gd name="T22" fmla="*/ 0 w 2"/>
                <a:gd name="T23" fmla="*/ 5 h 9"/>
                <a:gd name="T24" fmla="*/ 1 w 2"/>
                <a:gd name="T25" fmla="*/ 6 h 9"/>
                <a:gd name="T26" fmla="*/ 1 w 2"/>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9">
                  <a:moveTo>
                    <a:pt x="1" y="9"/>
                  </a:moveTo>
                  <a:lnTo>
                    <a:pt x="1" y="9"/>
                  </a:lnTo>
                  <a:lnTo>
                    <a:pt x="1" y="9"/>
                  </a:lnTo>
                  <a:lnTo>
                    <a:pt x="1" y="7"/>
                  </a:lnTo>
                  <a:lnTo>
                    <a:pt x="1" y="3"/>
                  </a:lnTo>
                  <a:lnTo>
                    <a:pt x="2" y="2"/>
                  </a:lnTo>
                  <a:lnTo>
                    <a:pt x="2" y="2"/>
                  </a:lnTo>
                  <a:lnTo>
                    <a:pt x="1" y="0"/>
                  </a:lnTo>
                  <a:lnTo>
                    <a:pt x="0" y="0"/>
                  </a:lnTo>
                  <a:lnTo>
                    <a:pt x="0" y="0"/>
                  </a:lnTo>
                  <a:lnTo>
                    <a:pt x="0" y="3"/>
                  </a:lnTo>
                  <a:lnTo>
                    <a:pt x="0" y="5"/>
                  </a:lnTo>
                  <a:lnTo>
                    <a:pt x="1" y="6"/>
                  </a:lnTo>
                  <a:lnTo>
                    <a:pt x="1"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7" name="Freeform 960"/>
            <p:cNvSpPr/>
            <p:nvPr/>
          </p:nvSpPr>
          <p:spPr bwMode="auto">
            <a:xfrm>
              <a:off x="1801670" y="3597964"/>
              <a:ext cx="6145" cy="24574"/>
            </a:xfrm>
            <a:custGeom>
              <a:avLst/>
              <a:gdLst>
                <a:gd name="T0" fmla="*/ 1 w 2"/>
                <a:gd name="T1" fmla="*/ 9 h 9"/>
                <a:gd name="T2" fmla="*/ 1 w 2"/>
                <a:gd name="T3" fmla="*/ 9 h 9"/>
                <a:gd name="T4" fmla="*/ 1 w 2"/>
                <a:gd name="T5" fmla="*/ 9 h 9"/>
                <a:gd name="T6" fmla="*/ 1 w 2"/>
                <a:gd name="T7" fmla="*/ 7 h 9"/>
                <a:gd name="T8" fmla="*/ 1 w 2"/>
                <a:gd name="T9" fmla="*/ 3 h 9"/>
                <a:gd name="T10" fmla="*/ 2 w 2"/>
                <a:gd name="T11" fmla="*/ 2 h 9"/>
                <a:gd name="T12" fmla="*/ 2 w 2"/>
                <a:gd name="T13" fmla="*/ 2 h 9"/>
                <a:gd name="T14" fmla="*/ 1 w 2"/>
                <a:gd name="T15" fmla="*/ 0 h 9"/>
                <a:gd name="T16" fmla="*/ 0 w 2"/>
                <a:gd name="T17" fmla="*/ 0 h 9"/>
                <a:gd name="T18" fmla="*/ 0 w 2"/>
                <a:gd name="T19" fmla="*/ 0 h 9"/>
                <a:gd name="T20" fmla="*/ 0 w 2"/>
                <a:gd name="T21" fmla="*/ 3 h 9"/>
                <a:gd name="T22" fmla="*/ 0 w 2"/>
                <a:gd name="T23" fmla="*/ 5 h 9"/>
                <a:gd name="T24" fmla="*/ 1 w 2"/>
                <a:gd name="T25" fmla="*/ 6 h 9"/>
                <a:gd name="T26" fmla="*/ 1 w 2"/>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9">
                  <a:moveTo>
                    <a:pt x="1" y="9"/>
                  </a:moveTo>
                  <a:lnTo>
                    <a:pt x="1" y="9"/>
                  </a:lnTo>
                  <a:lnTo>
                    <a:pt x="1" y="9"/>
                  </a:lnTo>
                  <a:lnTo>
                    <a:pt x="1" y="7"/>
                  </a:lnTo>
                  <a:lnTo>
                    <a:pt x="1" y="3"/>
                  </a:lnTo>
                  <a:lnTo>
                    <a:pt x="2" y="2"/>
                  </a:lnTo>
                  <a:lnTo>
                    <a:pt x="2" y="2"/>
                  </a:lnTo>
                  <a:lnTo>
                    <a:pt x="1" y="0"/>
                  </a:lnTo>
                  <a:lnTo>
                    <a:pt x="0" y="0"/>
                  </a:lnTo>
                  <a:lnTo>
                    <a:pt x="0" y="0"/>
                  </a:lnTo>
                  <a:lnTo>
                    <a:pt x="0" y="3"/>
                  </a:lnTo>
                  <a:lnTo>
                    <a:pt x="0" y="5"/>
                  </a:lnTo>
                  <a:lnTo>
                    <a:pt x="1" y="6"/>
                  </a:lnTo>
                  <a:lnTo>
                    <a:pt x="1"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8" name="Freeform 961"/>
            <p:cNvSpPr/>
            <p:nvPr/>
          </p:nvSpPr>
          <p:spPr bwMode="auto">
            <a:xfrm>
              <a:off x="1856964" y="3401371"/>
              <a:ext cx="6145" cy="18433"/>
            </a:xfrm>
            <a:custGeom>
              <a:avLst/>
              <a:gdLst>
                <a:gd name="T0" fmla="*/ 0 w 1"/>
                <a:gd name="T1" fmla="*/ 4 h 7"/>
                <a:gd name="T2" fmla="*/ 0 w 1"/>
                <a:gd name="T3" fmla="*/ 4 h 7"/>
                <a:gd name="T4" fmla="*/ 1 w 1"/>
                <a:gd name="T5" fmla="*/ 7 h 7"/>
                <a:gd name="T6" fmla="*/ 1 w 1"/>
                <a:gd name="T7" fmla="*/ 6 h 7"/>
                <a:gd name="T8" fmla="*/ 1 w 1"/>
                <a:gd name="T9" fmla="*/ 6 h 7"/>
                <a:gd name="T10" fmla="*/ 1 w 1"/>
                <a:gd name="T11" fmla="*/ 3 h 7"/>
                <a:gd name="T12" fmla="*/ 1 w 1"/>
                <a:gd name="T13" fmla="*/ 0 h 7"/>
                <a:gd name="T14" fmla="*/ 1 w 1"/>
                <a:gd name="T15" fmla="*/ 0 h 7"/>
                <a:gd name="T16" fmla="*/ 1 w 1"/>
                <a:gd name="T17" fmla="*/ 0 h 7"/>
                <a:gd name="T18" fmla="*/ 0 w 1"/>
                <a:gd name="T19" fmla="*/ 2 h 7"/>
                <a:gd name="T20" fmla="*/ 0 w 1"/>
                <a:gd name="T21" fmla="*/ 2 h 7"/>
                <a:gd name="T22" fmla="*/ 0 w 1"/>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7">
                  <a:moveTo>
                    <a:pt x="0" y="4"/>
                  </a:moveTo>
                  <a:lnTo>
                    <a:pt x="0" y="4"/>
                  </a:lnTo>
                  <a:lnTo>
                    <a:pt x="1" y="7"/>
                  </a:lnTo>
                  <a:lnTo>
                    <a:pt x="1" y="6"/>
                  </a:lnTo>
                  <a:lnTo>
                    <a:pt x="1" y="6"/>
                  </a:lnTo>
                  <a:lnTo>
                    <a:pt x="1" y="3"/>
                  </a:lnTo>
                  <a:lnTo>
                    <a:pt x="1" y="0"/>
                  </a:lnTo>
                  <a:lnTo>
                    <a:pt x="1" y="0"/>
                  </a:lnTo>
                  <a:lnTo>
                    <a:pt x="1" y="0"/>
                  </a:lnTo>
                  <a:lnTo>
                    <a:pt x="0" y="2"/>
                  </a:lnTo>
                  <a:lnTo>
                    <a:pt x="0" y="2"/>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9" name="Freeform 962"/>
            <p:cNvSpPr/>
            <p:nvPr/>
          </p:nvSpPr>
          <p:spPr bwMode="auto">
            <a:xfrm>
              <a:off x="1856964" y="3401371"/>
              <a:ext cx="6145" cy="18433"/>
            </a:xfrm>
            <a:custGeom>
              <a:avLst/>
              <a:gdLst>
                <a:gd name="T0" fmla="*/ 0 w 1"/>
                <a:gd name="T1" fmla="*/ 4 h 7"/>
                <a:gd name="T2" fmla="*/ 0 w 1"/>
                <a:gd name="T3" fmla="*/ 4 h 7"/>
                <a:gd name="T4" fmla="*/ 1 w 1"/>
                <a:gd name="T5" fmla="*/ 7 h 7"/>
                <a:gd name="T6" fmla="*/ 1 w 1"/>
                <a:gd name="T7" fmla="*/ 6 h 7"/>
                <a:gd name="T8" fmla="*/ 1 w 1"/>
                <a:gd name="T9" fmla="*/ 6 h 7"/>
                <a:gd name="T10" fmla="*/ 1 w 1"/>
                <a:gd name="T11" fmla="*/ 3 h 7"/>
                <a:gd name="T12" fmla="*/ 1 w 1"/>
                <a:gd name="T13" fmla="*/ 0 h 7"/>
                <a:gd name="T14" fmla="*/ 1 w 1"/>
                <a:gd name="T15" fmla="*/ 0 h 7"/>
                <a:gd name="T16" fmla="*/ 1 w 1"/>
                <a:gd name="T17" fmla="*/ 0 h 7"/>
                <a:gd name="T18" fmla="*/ 0 w 1"/>
                <a:gd name="T19" fmla="*/ 2 h 7"/>
                <a:gd name="T20" fmla="*/ 0 w 1"/>
                <a:gd name="T21" fmla="*/ 2 h 7"/>
                <a:gd name="T22" fmla="*/ 0 w 1"/>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7">
                  <a:moveTo>
                    <a:pt x="0" y="4"/>
                  </a:moveTo>
                  <a:lnTo>
                    <a:pt x="0" y="4"/>
                  </a:lnTo>
                  <a:lnTo>
                    <a:pt x="1" y="7"/>
                  </a:lnTo>
                  <a:lnTo>
                    <a:pt x="1" y="6"/>
                  </a:lnTo>
                  <a:lnTo>
                    <a:pt x="1" y="6"/>
                  </a:lnTo>
                  <a:lnTo>
                    <a:pt x="1" y="3"/>
                  </a:lnTo>
                  <a:lnTo>
                    <a:pt x="1" y="0"/>
                  </a:lnTo>
                  <a:lnTo>
                    <a:pt x="1" y="0"/>
                  </a:lnTo>
                  <a:lnTo>
                    <a:pt x="1" y="0"/>
                  </a:lnTo>
                  <a:lnTo>
                    <a:pt x="0" y="2"/>
                  </a:lnTo>
                  <a:lnTo>
                    <a:pt x="0" y="2"/>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0" name="Freeform 963"/>
            <p:cNvSpPr/>
            <p:nvPr/>
          </p:nvSpPr>
          <p:spPr bwMode="auto">
            <a:xfrm>
              <a:off x="1826244" y="3444373"/>
              <a:ext cx="6145" cy="18433"/>
            </a:xfrm>
            <a:custGeom>
              <a:avLst/>
              <a:gdLst>
                <a:gd name="T0" fmla="*/ 2 w 3"/>
                <a:gd name="T1" fmla="*/ 0 h 5"/>
                <a:gd name="T2" fmla="*/ 2 w 3"/>
                <a:gd name="T3" fmla="*/ 0 h 5"/>
                <a:gd name="T4" fmla="*/ 2 w 3"/>
                <a:gd name="T5" fmla="*/ 0 h 5"/>
                <a:gd name="T6" fmla="*/ 0 w 3"/>
                <a:gd name="T7" fmla="*/ 1 h 5"/>
                <a:gd name="T8" fmla="*/ 0 w 3"/>
                <a:gd name="T9" fmla="*/ 1 h 5"/>
                <a:gd name="T10" fmla="*/ 3 w 3"/>
                <a:gd name="T11" fmla="*/ 5 h 5"/>
                <a:gd name="T12" fmla="*/ 3 w 3"/>
                <a:gd name="T13" fmla="*/ 5 h 5"/>
                <a:gd name="T14" fmla="*/ 3 w 3"/>
                <a:gd name="T15" fmla="*/ 3 h 5"/>
                <a:gd name="T16" fmla="*/ 3 w 3"/>
                <a:gd name="T17" fmla="*/ 0 h 5"/>
                <a:gd name="T18" fmla="*/ 3 w 3"/>
                <a:gd name="T19" fmla="*/ 0 h 5"/>
                <a:gd name="T20" fmla="*/ 2 w 3"/>
                <a:gd name="T21" fmla="*/ 0 h 5"/>
                <a:gd name="T22" fmla="*/ 2 w 3"/>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2" y="0"/>
                  </a:moveTo>
                  <a:lnTo>
                    <a:pt x="2" y="0"/>
                  </a:lnTo>
                  <a:lnTo>
                    <a:pt x="2" y="0"/>
                  </a:lnTo>
                  <a:lnTo>
                    <a:pt x="0" y="1"/>
                  </a:lnTo>
                  <a:lnTo>
                    <a:pt x="0" y="1"/>
                  </a:lnTo>
                  <a:lnTo>
                    <a:pt x="3" y="5"/>
                  </a:lnTo>
                  <a:lnTo>
                    <a:pt x="3" y="5"/>
                  </a:lnTo>
                  <a:lnTo>
                    <a:pt x="3" y="3"/>
                  </a:lnTo>
                  <a:lnTo>
                    <a:pt x="3" y="0"/>
                  </a:lnTo>
                  <a:lnTo>
                    <a:pt x="3"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1" name="Freeform 964"/>
            <p:cNvSpPr/>
            <p:nvPr/>
          </p:nvSpPr>
          <p:spPr bwMode="auto">
            <a:xfrm>
              <a:off x="1826244" y="3444373"/>
              <a:ext cx="6145" cy="18433"/>
            </a:xfrm>
            <a:custGeom>
              <a:avLst/>
              <a:gdLst>
                <a:gd name="T0" fmla="*/ 2 w 3"/>
                <a:gd name="T1" fmla="*/ 0 h 5"/>
                <a:gd name="T2" fmla="*/ 2 w 3"/>
                <a:gd name="T3" fmla="*/ 0 h 5"/>
                <a:gd name="T4" fmla="*/ 2 w 3"/>
                <a:gd name="T5" fmla="*/ 0 h 5"/>
                <a:gd name="T6" fmla="*/ 0 w 3"/>
                <a:gd name="T7" fmla="*/ 1 h 5"/>
                <a:gd name="T8" fmla="*/ 0 w 3"/>
                <a:gd name="T9" fmla="*/ 1 h 5"/>
                <a:gd name="T10" fmla="*/ 3 w 3"/>
                <a:gd name="T11" fmla="*/ 5 h 5"/>
                <a:gd name="T12" fmla="*/ 3 w 3"/>
                <a:gd name="T13" fmla="*/ 5 h 5"/>
                <a:gd name="T14" fmla="*/ 3 w 3"/>
                <a:gd name="T15" fmla="*/ 3 h 5"/>
                <a:gd name="T16" fmla="*/ 3 w 3"/>
                <a:gd name="T17" fmla="*/ 0 h 5"/>
                <a:gd name="T18" fmla="*/ 3 w 3"/>
                <a:gd name="T19" fmla="*/ 0 h 5"/>
                <a:gd name="T20" fmla="*/ 2 w 3"/>
                <a:gd name="T21" fmla="*/ 0 h 5"/>
                <a:gd name="T22" fmla="*/ 2 w 3"/>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2" y="0"/>
                  </a:moveTo>
                  <a:lnTo>
                    <a:pt x="2" y="0"/>
                  </a:lnTo>
                  <a:lnTo>
                    <a:pt x="2" y="0"/>
                  </a:lnTo>
                  <a:lnTo>
                    <a:pt x="0" y="1"/>
                  </a:lnTo>
                  <a:lnTo>
                    <a:pt x="0" y="1"/>
                  </a:lnTo>
                  <a:lnTo>
                    <a:pt x="3" y="5"/>
                  </a:lnTo>
                  <a:lnTo>
                    <a:pt x="3" y="5"/>
                  </a:lnTo>
                  <a:lnTo>
                    <a:pt x="3" y="3"/>
                  </a:lnTo>
                  <a:lnTo>
                    <a:pt x="3" y="0"/>
                  </a:lnTo>
                  <a:lnTo>
                    <a:pt x="3" y="0"/>
                  </a:lnTo>
                  <a:lnTo>
                    <a:pt x="2" y="0"/>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2" name="Freeform 965"/>
            <p:cNvSpPr/>
            <p:nvPr/>
          </p:nvSpPr>
          <p:spPr bwMode="auto">
            <a:xfrm>
              <a:off x="2035124" y="2965179"/>
              <a:ext cx="18433" cy="79868"/>
            </a:xfrm>
            <a:custGeom>
              <a:avLst/>
              <a:gdLst>
                <a:gd name="T0" fmla="*/ 0 w 7"/>
                <a:gd name="T1" fmla="*/ 25 h 25"/>
                <a:gd name="T2" fmla="*/ 0 w 7"/>
                <a:gd name="T3" fmla="*/ 25 h 25"/>
                <a:gd name="T4" fmla="*/ 2 w 7"/>
                <a:gd name="T5" fmla="*/ 24 h 25"/>
                <a:gd name="T6" fmla="*/ 2 w 7"/>
                <a:gd name="T7" fmla="*/ 23 h 25"/>
                <a:gd name="T8" fmla="*/ 0 w 7"/>
                <a:gd name="T9" fmla="*/ 21 h 25"/>
                <a:gd name="T10" fmla="*/ 0 w 7"/>
                <a:gd name="T11" fmla="*/ 21 h 25"/>
                <a:gd name="T12" fmla="*/ 0 w 7"/>
                <a:gd name="T13" fmla="*/ 20 h 25"/>
                <a:gd name="T14" fmla="*/ 2 w 7"/>
                <a:gd name="T15" fmla="*/ 20 h 25"/>
                <a:gd name="T16" fmla="*/ 2 w 7"/>
                <a:gd name="T17" fmla="*/ 20 h 25"/>
                <a:gd name="T18" fmla="*/ 3 w 7"/>
                <a:gd name="T19" fmla="*/ 18 h 25"/>
                <a:gd name="T20" fmla="*/ 3 w 7"/>
                <a:gd name="T21" fmla="*/ 18 h 25"/>
                <a:gd name="T22" fmla="*/ 3 w 7"/>
                <a:gd name="T23" fmla="*/ 10 h 25"/>
                <a:gd name="T24" fmla="*/ 7 w 7"/>
                <a:gd name="T25" fmla="*/ 3 h 25"/>
                <a:gd name="T26" fmla="*/ 7 w 7"/>
                <a:gd name="T27" fmla="*/ 3 h 25"/>
                <a:gd name="T28" fmla="*/ 6 w 7"/>
                <a:gd name="T29" fmla="*/ 0 h 25"/>
                <a:gd name="T30" fmla="*/ 6 w 7"/>
                <a:gd name="T31" fmla="*/ 0 h 25"/>
                <a:gd name="T32" fmla="*/ 3 w 7"/>
                <a:gd name="T33" fmla="*/ 10 h 25"/>
                <a:gd name="T34" fmla="*/ 0 w 7"/>
                <a:gd name="T35" fmla="*/ 20 h 25"/>
                <a:gd name="T36" fmla="*/ 0 w 7"/>
                <a:gd name="T37" fmla="*/ 20 h 25"/>
                <a:gd name="T38" fmla="*/ 0 w 7"/>
                <a:gd name="T39" fmla="*/ 24 h 25"/>
                <a:gd name="T40" fmla="*/ 0 w 7"/>
                <a:gd name="T4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25">
                  <a:moveTo>
                    <a:pt x="0" y="25"/>
                  </a:moveTo>
                  <a:lnTo>
                    <a:pt x="0" y="25"/>
                  </a:lnTo>
                  <a:lnTo>
                    <a:pt x="2" y="24"/>
                  </a:lnTo>
                  <a:lnTo>
                    <a:pt x="2" y="23"/>
                  </a:lnTo>
                  <a:lnTo>
                    <a:pt x="0" y="21"/>
                  </a:lnTo>
                  <a:lnTo>
                    <a:pt x="0" y="21"/>
                  </a:lnTo>
                  <a:lnTo>
                    <a:pt x="0" y="20"/>
                  </a:lnTo>
                  <a:lnTo>
                    <a:pt x="2" y="20"/>
                  </a:lnTo>
                  <a:lnTo>
                    <a:pt x="2" y="20"/>
                  </a:lnTo>
                  <a:lnTo>
                    <a:pt x="3" y="18"/>
                  </a:lnTo>
                  <a:lnTo>
                    <a:pt x="3" y="18"/>
                  </a:lnTo>
                  <a:lnTo>
                    <a:pt x="3" y="10"/>
                  </a:lnTo>
                  <a:lnTo>
                    <a:pt x="7" y="3"/>
                  </a:lnTo>
                  <a:lnTo>
                    <a:pt x="7" y="3"/>
                  </a:lnTo>
                  <a:lnTo>
                    <a:pt x="6" y="0"/>
                  </a:lnTo>
                  <a:lnTo>
                    <a:pt x="6" y="0"/>
                  </a:lnTo>
                  <a:lnTo>
                    <a:pt x="3" y="10"/>
                  </a:lnTo>
                  <a:lnTo>
                    <a:pt x="0" y="20"/>
                  </a:lnTo>
                  <a:lnTo>
                    <a:pt x="0" y="20"/>
                  </a:lnTo>
                  <a:lnTo>
                    <a:pt x="0" y="24"/>
                  </a:lnTo>
                  <a:lnTo>
                    <a:pt x="0" y="2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3" name="Freeform 966"/>
            <p:cNvSpPr/>
            <p:nvPr/>
          </p:nvSpPr>
          <p:spPr bwMode="auto">
            <a:xfrm>
              <a:off x="2035124" y="2965179"/>
              <a:ext cx="18433" cy="79868"/>
            </a:xfrm>
            <a:custGeom>
              <a:avLst/>
              <a:gdLst>
                <a:gd name="T0" fmla="*/ 0 w 7"/>
                <a:gd name="T1" fmla="*/ 25 h 25"/>
                <a:gd name="T2" fmla="*/ 0 w 7"/>
                <a:gd name="T3" fmla="*/ 25 h 25"/>
                <a:gd name="T4" fmla="*/ 2 w 7"/>
                <a:gd name="T5" fmla="*/ 24 h 25"/>
                <a:gd name="T6" fmla="*/ 2 w 7"/>
                <a:gd name="T7" fmla="*/ 23 h 25"/>
                <a:gd name="T8" fmla="*/ 0 w 7"/>
                <a:gd name="T9" fmla="*/ 21 h 25"/>
                <a:gd name="T10" fmla="*/ 0 w 7"/>
                <a:gd name="T11" fmla="*/ 21 h 25"/>
                <a:gd name="T12" fmla="*/ 0 w 7"/>
                <a:gd name="T13" fmla="*/ 20 h 25"/>
                <a:gd name="T14" fmla="*/ 2 w 7"/>
                <a:gd name="T15" fmla="*/ 20 h 25"/>
                <a:gd name="T16" fmla="*/ 2 w 7"/>
                <a:gd name="T17" fmla="*/ 20 h 25"/>
                <a:gd name="T18" fmla="*/ 3 w 7"/>
                <a:gd name="T19" fmla="*/ 18 h 25"/>
                <a:gd name="T20" fmla="*/ 3 w 7"/>
                <a:gd name="T21" fmla="*/ 18 h 25"/>
                <a:gd name="T22" fmla="*/ 3 w 7"/>
                <a:gd name="T23" fmla="*/ 10 h 25"/>
                <a:gd name="T24" fmla="*/ 7 w 7"/>
                <a:gd name="T25" fmla="*/ 3 h 25"/>
                <a:gd name="T26" fmla="*/ 7 w 7"/>
                <a:gd name="T27" fmla="*/ 3 h 25"/>
                <a:gd name="T28" fmla="*/ 6 w 7"/>
                <a:gd name="T29" fmla="*/ 0 h 25"/>
                <a:gd name="T30" fmla="*/ 6 w 7"/>
                <a:gd name="T31" fmla="*/ 0 h 25"/>
                <a:gd name="T32" fmla="*/ 3 w 7"/>
                <a:gd name="T33" fmla="*/ 10 h 25"/>
                <a:gd name="T34" fmla="*/ 0 w 7"/>
                <a:gd name="T35" fmla="*/ 20 h 25"/>
                <a:gd name="T36" fmla="*/ 0 w 7"/>
                <a:gd name="T37" fmla="*/ 20 h 25"/>
                <a:gd name="T38" fmla="*/ 0 w 7"/>
                <a:gd name="T39" fmla="*/ 24 h 25"/>
                <a:gd name="T40" fmla="*/ 0 w 7"/>
                <a:gd name="T4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25">
                  <a:moveTo>
                    <a:pt x="0" y="25"/>
                  </a:moveTo>
                  <a:lnTo>
                    <a:pt x="0" y="25"/>
                  </a:lnTo>
                  <a:lnTo>
                    <a:pt x="2" y="24"/>
                  </a:lnTo>
                  <a:lnTo>
                    <a:pt x="2" y="23"/>
                  </a:lnTo>
                  <a:lnTo>
                    <a:pt x="0" y="21"/>
                  </a:lnTo>
                  <a:lnTo>
                    <a:pt x="0" y="21"/>
                  </a:lnTo>
                  <a:lnTo>
                    <a:pt x="0" y="20"/>
                  </a:lnTo>
                  <a:lnTo>
                    <a:pt x="2" y="20"/>
                  </a:lnTo>
                  <a:lnTo>
                    <a:pt x="2" y="20"/>
                  </a:lnTo>
                  <a:lnTo>
                    <a:pt x="3" y="18"/>
                  </a:lnTo>
                  <a:lnTo>
                    <a:pt x="3" y="18"/>
                  </a:lnTo>
                  <a:lnTo>
                    <a:pt x="3" y="10"/>
                  </a:lnTo>
                  <a:lnTo>
                    <a:pt x="7" y="3"/>
                  </a:lnTo>
                  <a:lnTo>
                    <a:pt x="7" y="3"/>
                  </a:lnTo>
                  <a:lnTo>
                    <a:pt x="6" y="0"/>
                  </a:lnTo>
                  <a:lnTo>
                    <a:pt x="6" y="0"/>
                  </a:lnTo>
                  <a:lnTo>
                    <a:pt x="3" y="10"/>
                  </a:lnTo>
                  <a:lnTo>
                    <a:pt x="0" y="20"/>
                  </a:lnTo>
                  <a:lnTo>
                    <a:pt x="0" y="20"/>
                  </a:lnTo>
                  <a:lnTo>
                    <a:pt x="0" y="24"/>
                  </a:lnTo>
                  <a:lnTo>
                    <a:pt x="0" y="2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4" name="Freeform 967"/>
            <p:cNvSpPr/>
            <p:nvPr/>
          </p:nvSpPr>
          <p:spPr bwMode="auto">
            <a:xfrm>
              <a:off x="1795529" y="3370651"/>
              <a:ext cx="12287" cy="104441"/>
            </a:xfrm>
            <a:custGeom>
              <a:avLst/>
              <a:gdLst>
                <a:gd name="T0" fmla="*/ 4 w 4"/>
                <a:gd name="T1" fmla="*/ 34 h 34"/>
                <a:gd name="T2" fmla="*/ 4 w 4"/>
                <a:gd name="T3" fmla="*/ 34 h 34"/>
                <a:gd name="T4" fmla="*/ 4 w 4"/>
                <a:gd name="T5" fmla="*/ 17 h 34"/>
                <a:gd name="T6" fmla="*/ 4 w 4"/>
                <a:gd name="T7" fmla="*/ 17 h 34"/>
                <a:gd name="T8" fmla="*/ 4 w 4"/>
                <a:gd name="T9" fmla="*/ 8 h 34"/>
                <a:gd name="T10" fmla="*/ 4 w 4"/>
                <a:gd name="T11" fmla="*/ 8 h 34"/>
                <a:gd name="T12" fmla="*/ 3 w 4"/>
                <a:gd name="T13" fmla="*/ 0 h 34"/>
                <a:gd name="T14" fmla="*/ 3 w 4"/>
                <a:gd name="T15" fmla="*/ 0 h 34"/>
                <a:gd name="T16" fmla="*/ 3 w 4"/>
                <a:gd name="T17" fmla="*/ 2 h 34"/>
                <a:gd name="T18" fmla="*/ 3 w 4"/>
                <a:gd name="T19" fmla="*/ 2 h 34"/>
                <a:gd name="T20" fmla="*/ 3 w 4"/>
                <a:gd name="T21" fmla="*/ 2 h 34"/>
                <a:gd name="T22" fmla="*/ 3 w 4"/>
                <a:gd name="T23" fmla="*/ 2 h 34"/>
                <a:gd name="T24" fmla="*/ 2 w 4"/>
                <a:gd name="T25" fmla="*/ 5 h 34"/>
                <a:gd name="T26" fmla="*/ 3 w 4"/>
                <a:gd name="T27" fmla="*/ 10 h 34"/>
                <a:gd name="T28" fmla="*/ 3 w 4"/>
                <a:gd name="T29" fmla="*/ 10 h 34"/>
                <a:gd name="T30" fmla="*/ 2 w 4"/>
                <a:gd name="T31" fmla="*/ 12 h 34"/>
                <a:gd name="T32" fmla="*/ 2 w 4"/>
                <a:gd name="T33" fmla="*/ 17 h 34"/>
                <a:gd name="T34" fmla="*/ 2 w 4"/>
                <a:gd name="T35" fmla="*/ 21 h 34"/>
                <a:gd name="T36" fmla="*/ 2 w 4"/>
                <a:gd name="T37" fmla="*/ 22 h 34"/>
                <a:gd name="T38" fmla="*/ 2 w 4"/>
                <a:gd name="T39" fmla="*/ 21 h 34"/>
                <a:gd name="T40" fmla="*/ 2 w 4"/>
                <a:gd name="T41" fmla="*/ 21 h 34"/>
                <a:gd name="T42" fmla="*/ 0 w 4"/>
                <a:gd name="T43" fmla="*/ 24 h 34"/>
                <a:gd name="T44" fmla="*/ 2 w 4"/>
                <a:gd name="T45" fmla="*/ 28 h 34"/>
                <a:gd name="T46" fmla="*/ 4 w 4"/>
                <a:gd name="T4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34">
                  <a:moveTo>
                    <a:pt x="4" y="34"/>
                  </a:moveTo>
                  <a:lnTo>
                    <a:pt x="4" y="34"/>
                  </a:lnTo>
                  <a:lnTo>
                    <a:pt x="4" y="17"/>
                  </a:lnTo>
                  <a:lnTo>
                    <a:pt x="4" y="17"/>
                  </a:lnTo>
                  <a:lnTo>
                    <a:pt x="4" y="8"/>
                  </a:lnTo>
                  <a:lnTo>
                    <a:pt x="4" y="8"/>
                  </a:lnTo>
                  <a:lnTo>
                    <a:pt x="3" y="0"/>
                  </a:lnTo>
                  <a:lnTo>
                    <a:pt x="3" y="0"/>
                  </a:lnTo>
                  <a:lnTo>
                    <a:pt x="3" y="2"/>
                  </a:lnTo>
                  <a:lnTo>
                    <a:pt x="3" y="2"/>
                  </a:lnTo>
                  <a:lnTo>
                    <a:pt x="3" y="2"/>
                  </a:lnTo>
                  <a:lnTo>
                    <a:pt x="3" y="2"/>
                  </a:lnTo>
                  <a:lnTo>
                    <a:pt x="2" y="5"/>
                  </a:lnTo>
                  <a:lnTo>
                    <a:pt x="3" y="10"/>
                  </a:lnTo>
                  <a:lnTo>
                    <a:pt x="3" y="10"/>
                  </a:lnTo>
                  <a:lnTo>
                    <a:pt x="2" y="12"/>
                  </a:lnTo>
                  <a:lnTo>
                    <a:pt x="2" y="17"/>
                  </a:lnTo>
                  <a:lnTo>
                    <a:pt x="2" y="21"/>
                  </a:lnTo>
                  <a:lnTo>
                    <a:pt x="2" y="22"/>
                  </a:lnTo>
                  <a:lnTo>
                    <a:pt x="2" y="21"/>
                  </a:lnTo>
                  <a:lnTo>
                    <a:pt x="2" y="21"/>
                  </a:lnTo>
                  <a:lnTo>
                    <a:pt x="0" y="24"/>
                  </a:lnTo>
                  <a:lnTo>
                    <a:pt x="2" y="28"/>
                  </a:lnTo>
                  <a:lnTo>
                    <a:pt x="4" y="3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5" name="Freeform 968"/>
            <p:cNvSpPr/>
            <p:nvPr/>
          </p:nvSpPr>
          <p:spPr bwMode="auto">
            <a:xfrm>
              <a:off x="1795529" y="3370651"/>
              <a:ext cx="12287" cy="104441"/>
            </a:xfrm>
            <a:custGeom>
              <a:avLst/>
              <a:gdLst>
                <a:gd name="T0" fmla="*/ 4 w 4"/>
                <a:gd name="T1" fmla="*/ 34 h 34"/>
                <a:gd name="T2" fmla="*/ 4 w 4"/>
                <a:gd name="T3" fmla="*/ 34 h 34"/>
                <a:gd name="T4" fmla="*/ 4 w 4"/>
                <a:gd name="T5" fmla="*/ 17 h 34"/>
                <a:gd name="T6" fmla="*/ 4 w 4"/>
                <a:gd name="T7" fmla="*/ 17 h 34"/>
                <a:gd name="T8" fmla="*/ 4 w 4"/>
                <a:gd name="T9" fmla="*/ 8 h 34"/>
                <a:gd name="T10" fmla="*/ 4 w 4"/>
                <a:gd name="T11" fmla="*/ 8 h 34"/>
                <a:gd name="T12" fmla="*/ 3 w 4"/>
                <a:gd name="T13" fmla="*/ 0 h 34"/>
                <a:gd name="T14" fmla="*/ 3 w 4"/>
                <a:gd name="T15" fmla="*/ 0 h 34"/>
                <a:gd name="T16" fmla="*/ 3 w 4"/>
                <a:gd name="T17" fmla="*/ 2 h 34"/>
                <a:gd name="T18" fmla="*/ 3 w 4"/>
                <a:gd name="T19" fmla="*/ 2 h 34"/>
                <a:gd name="T20" fmla="*/ 3 w 4"/>
                <a:gd name="T21" fmla="*/ 2 h 34"/>
                <a:gd name="T22" fmla="*/ 3 w 4"/>
                <a:gd name="T23" fmla="*/ 2 h 34"/>
                <a:gd name="T24" fmla="*/ 2 w 4"/>
                <a:gd name="T25" fmla="*/ 5 h 34"/>
                <a:gd name="T26" fmla="*/ 3 w 4"/>
                <a:gd name="T27" fmla="*/ 10 h 34"/>
                <a:gd name="T28" fmla="*/ 3 w 4"/>
                <a:gd name="T29" fmla="*/ 10 h 34"/>
                <a:gd name="T30" fmla="*/ 2 w 4"/>
                <a:gd name="T31" fmla="*/ 12 h 34"/>
                <a:gd name="T32" fmla="*/ 2 w 4"/>
                <a:gd name="T33" fmla="*/ 17 h 34"/>
                <a:gd name="T34" fmla="*/ 2 w 4"/>
                <a:gd name="T35" fmla="*/ 21 h 34"/>
                <a:gd name="T36" fmla="*/ 2 w 4"/>
                <a:gd name="T37" fmla="*/ 22 h 34"/>
                <a:gd name="T38" fmla="*/ 2 w 4"/>
                <a:gd name="T39" fmla="*/ 21 h 34"/>
                <a:gd name="T40" fmla="*/ 2 w 4"/>
                <a:gd name="T41" fmla="*/ 21 h 34"/>
                <a:gd name="T42" fmla="*/ 0 w 4"/>
                <a:gd name="T43" fmla="*/ 24 h 34"/>
                <a:gd name="T44" fmla="*/ 2 w 4"/>
                <a:gd name="T45" fmla="*/ 28 h 34"/>
                <a:gd name="T46" fmla="*/ 4 w 4"/>
                <a:gd name="T4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34">
                  <a:moveTo>
                    <a:pt x="4" y="34"/>
                  </a:moveTo>
                  <a:lnTo>
                    <a:pt x="4" y="34"/>
                  </a:lnTo>
                  <a:lnTo>
                    <a:pt x="4" y="17"/>
                  </a:lnTo>
                  <a:lnTo>
                    <a:pt x="4" y="17"/>
                  </a:lnTo>
                  <a:lnTo>
                    <a:pt x="4" y="8"/>
                  </a:lnTo>
                  <a:lnTo>
                    <a:pt x="4" y="8"/>
                  </a:lnTo>
                  <a:lnTo>
                    <a:pt x="3" y="0"/>
                  </a:lnTo>
                  <a:lnTo>
                    <a:pt x="3" y="0"/>
                  </a:lnTo>
                  <a:lnTo>
                    <a:pt x="3" y="2"/>
                  </a:lnTo>
                  <a:lnTo>
                    <a:pt x="3" y="2"/>
                  </a:lnTo>
                  <a:lnTo>
                    <a:pt x="3" y="2"/>
                  </a:lnTo>
                  <a:lnTo>
                    <a:pt x="3" y="2"/>
                  </a:lnTo>
                  <a:lnTo>
                    <a:pt x="2" y="5"/>
                  </a:lnTo>
                  <a:lnTo>
                    <a:pt x="3" y="10"/>
                  </a:lnTo>
                  <a:lnTo>
                    <a:pt x="3" y="10"/>
                  </a:lnTo>
                  <a:lnTo>
                    <a:pt x="2" y="12"/>
                  </a:lnTo>
                  <a:lnTo>
                    <a:pt x="2" y="17"/>
                  </a:lnTo>
                  <a:lnTo>
                    <a:pt x="2" y="21"/>
                  </a:lnTo>
                  <a:lnTo>
                    <a:pt x="2" y="22"/>
                  </a:lnTo>
                  <a:lnTo>
                    <a:pt x="2" y="21"/>
                  </a:lnTo>
                  <a:lnTo>
                    <a:pt x="2" y="21"/>
                  </a:lnTo>
                  <a:lnTo>
                    <a:pt x="0" y="24"/>
                  </a:lnTo>
                  <a:lnTo>
                    <a:pt x="2" y="28"/>
                  </a:lnTo>
                  <a:lnTo>
                    <a:pt x="4" y="3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6" name="Freeform 969"/>
            <p:cNvSpPr/>
            <p:nvPr/>
          </p:nvSpPr>
          <p:spPr bwMode="auto">
            <a:xfrm>
              <a:off x="2108846" y="2854595"/>
              <a:ext cx="30720" cy="55293"/>
            </a:xfrm>
            <a:custGeom>
              <a:avLst/>
              <a:gdLst>
                <a:gd name="T0" fmla="*/ 0 w 8"/>
                <a:gd name="T1" fmla="*/ 19 h 19"/>
                <a:gd name="T2" fmla="*/ 0 w 8"/>
                <a:gd name="T3" fmla="*/ 19 h 19"/>
                <a:gd name="T4" fmla="*/ 4 w 8"/>
                <a:gd name="T5" fmla="*/ 10 h 19"/>
                <a:gd name="T6" fmla="*/ 8 w 8"/>
                <a:gd name="T7" fmla="*/ 0 h 19"/>
                <a:gd name="T8" fmla="*/ 8 w 8"/>
                <a:gd name="T9" fmla="*/ 0 h 19"/>
                <a:gd name="T10" fmla="*/ 0 w 8"/>
                <a:gd name="T11" fmla="*/ 19 h 19"/>
              </a:gdLst>
              <a:ahLst/>
              <a:cxnLst>
                <a:cxn ang="0">
                  <a:pos x="T0" y="T1"/>
                </a:cxn>
                <a:cxn ang="0">
                  <a:pos x="T2" y="T3"/>
                </a:cxn>
                <a:cxn ang="0">
                  <a:pos x="T4" y="T5"/>
                </a:cxn>
                <a:cxn ang="0">
                  <a:pos x="T6" y="T7"/>
                </a:cxn>
                <a:cxn ang="0">
                  <a:pos x="T8" y="T9"/>
                </a:cxn>
                <a:cxn ang="0">
                  <a:pos x="T10" y="T11"/>
                </a:cxn>
              </a:cxnLst>
              <a:rect l="0" t="0" r="r" b="b"/>
              <a:pathLst>
                <a:path w="8" h="19">
                  <a:moveTo>
                    <a:pt x="0" y="19"/>
                  </a:moveTo>
                  <a:lnTo>
                    <a:pt x="0" y="19"/>
                  </a:lnTo>
                  <a:lnTo>
                    <a:pt x="4" y="10"/>
                  </a:lnTo>
                  <a:lnTo>
                    <a:pt x="8" y="0"/>
                  </a:lnTo>
                  <a:lnTo>
                    <a:pt x="8" y="0"/>
                  </a:lnTo>
                  <a:lnTo>
                    <a:pt x="0" y="1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7" name="Freeform 970"/>
            <p:cNvSpPr/>
            <p:nvPr/>
          </p:nvSpPr>
          <p:spPr bwMode="auto">
            <a:xfrm>
              <a:off x="2108846" y="2854595"/>
              <a:ext cx="30720" cy="55293"/>
            </a:xfrm>
            <a:custGeom>
              <a:avLst/>
              <a:gdLst>
                <a:gd name="T0" fmla="*/ 0 w 8"/>
                <a:gd name="T1" fmla="*/ 19 h 19"/>
                <a:gd name="T2" fmla="*/ 0 w 8"/>
                <a:gd name="T3" fmla="*/ 19 h 19"/>
                <a:gd name="T4" fmla="*/ 4 w 8"/>
                <a:gd name="T5" fmla="*/ 10 h 19"/>
                <a:gd name="T6" fmla="*/ 8 w 8"/>
                <a:gd name="T7" fmla="*/ 0 h 19"/>
                <a:gd name="T8" fmla="*/ 8 w 8"/>
                <a:gd name="T9" fmla="*/ 0 h 19"/>
                <a:gd name="T10" fmla="*/ 0 w 8"/>
                <a:gd name="T11" fmla="*/ 19 h 19"/>
              </a:gdLst>
              <a:ahLst/>
              <a:cxnLst>
                <a:cxn ang="0">
                  <a:pos x="T0" y="T1"/>
                </a:cxn>
                <a:cxn ang="0">
                  <a:pos x="T2" y="T3"/>
                </a:cxn>
                <a:cxn ang="0">
                  <a:pos x="T4" y="T5"/>
                </a:cxn>
                <a:cxn ang="0">
                  <a:pos x="T6" y="T7"/>
                </a:cxn>
                <a:cxn ang="0">
                  <a:pos x="T8" y="T9"/>
                </a:cxn>
                <a:cxn ang="0">
                  <a:pos x="T10" y="T11"/>
                </a:cxn>
              </a:cxnLst>
              <a:rect l="0" t="0" r="r" b="b"/>
              <a:pathLst>
                <a:path w="8" h="19">
                  <a:moveTo>
                    <a:pt x="0" y="19"/>
                  </a:moveTo>
                  <a:lnTo>
                    <a:pt x="0" y="19"/>
                  </a:lnTo>
                  <a:lnTo>
                    <a:pt x="4" y="10"/>
                  </a:lnTo>
                  <a:lnTo>
                    <a:pt x="8" y="0"/>
                  </a:lnTo>
                  <a:lnTo>
                    <a:pt x="8" y="0"/>
                  </a:lnTo>
                  <a:lnTo>
                    <a:pt x="0" y="1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8" name="Freeform 971"/>
            <p:cNvSpPr/>
            <p:nvPr/>
          </p:nvSpPr>
          <p:spPr bwMode="auto">
            <a:xfrm>
              <a:off x="1697232" y="3917427"/>
              <a:ext cx="12287" cy="30720"/>
            </a:xfrm>
            <a:custGeom>
              <a:avLst/>
              <a:gdLst>
                <a:gd name="T0" fmla="*/ 0 w 3"/>
                <a:gd name="T1" fmla="*/ 4 h 10"/>
                <a:gd name="T2" fmla="*/ 0 w 3"/>
                <a:gd name="T3" fmla="*/ 4 h 10"/>
                <a:gd name="T4" fmla="*/ 1 w 3"/>
                <a:gd name="T5" fmla="*/ 6 h 10"/>
                <a:gd name="T6" fmla="*/ 3 w 3"/>
                <a:gd name="T7" fmla="*/ 10 h 10"/>
                <a:gd name="T8" fmla="*/ 3 w 3"/>
                <a:gd name="T9" fmla="*/ 10 h 10"/>
                <a:gd name="T10" fmla="*/ 1 w 3"/>
                <a:gd name="T11" fmla="*/ 4 h 10"/>
                <a:gd name="T12" fmla="*/ 0 w 3"/>
                <a:gd name="T13" fmla="*/ 0 h 10"/>
                <a:gd name="T14" fmla="*/ 0 w 3"/>
                <a:gd name="T15" fmla="*/ 0 h 10"/>
                <a:gd name="T16" fmla="*/ 0 w 3"/>
                <a:gd name="T17" fmla="*/ 0 h 10"/>
                <a:gd name="T18" fmla="*/ 0 w 3"/>
                <a:gd name="T19" fmla="*/ 1 h 10"/>
                <a:gd name="T20" fmla="*/ 0 w 3"/>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0">
                  <a:moveTo>
                    <a:pt x="0" y="4"/>
                  </a:moveTo>
                  <a:lnTo>
                    <a:pt x="0" y="4"/>
                  </a:lnTo>
                  <a:lnTo>
                    <a:pt x="1" y="6"/>
                  </a:lnTo>
                  <a:lnTo>
                    <a:pt x="3" y="10"/>
                  </a:lnTo>
                  <a:lnTo>
                    <a:pt x="3" y="10"/>
                  </a:lnTo>
                  <a:lnTo>
                    <a:pt x="1" y="4"/>
                  </a:lnTo>
                  <a:lnTo>
                    <a:pt x="0" y="0"/>
                  </a:lnTo>
                  <a:lnTo>
                    <a:pt x="0" y="0"/>
                  </a:lnTo>
                  <a:lnTo>
                    <a:pt x="0" y="0"/>
                  </a:lnTo>
                  <a:lnTo>
                    <a:pt x="0" y="1"/>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9" name="Freeform 972"/>
            <p:cNvSpPr/>
            <p:nvPr/>
          </p:nvSpPr>
          <p:spPr bwMode="auto">
            <a:xfrm>
              <a:off x="1697232" y="3917427"/>
              <a:ext cx="12287" cy="30720"/>
            </a:xfrm>
            <a:custGeom>
              <a:avLst/>
              <a:gdLst>
                <a:gd name="T0" fmla="*/ 0 w 3"/>
                <a:gd name="T1" fmla="*/ 4 h 10"/>
                <a:gd name="T2" fmla="*/ 0 w 3"/>
                <a:gd name="T3" fmla="*/ 4 h 10"/>
                <a:gd name="T4" fmla="*/ 1 w 3"/>
                <a:gd name="T5" fmla="*/ 6 h 10"/>
                <a:gd name="T6" fmla="*/ 3 w 3"/>
                <a:gd name="T7" fmla="*/ 10 h 10"/>
                <a:gd name="T8" fmla="*/ 3 w 3"/>
                <a:gd name="T9" fmla="*/ 10 h 10"/>
                <a:gd name="T10" fmla="*/ 1 w 3"/>
                <a:gd name="T11" fmla="*/ 4 h 10"/>
                <a:gd name="T12" fmla="*/ 0 w 3"/>
                <a:gd name="T13" fmla="*/ 0 h 10"/>
                <a:gd name="T14" fmla="*/ 0 w 3"/>
                <a:gd name="T15" fmla="*/ 0 h 10"/>
                <a:gd name="T16" fmla="*/ 0 w 3"/>
                <a:gd name="T17" fmla="*/ 0 h 10"/>
                <a:gd name="T18" fmla="*/ 0 w 3"/>
                <a:gd name="T19" fmla="*/ 1 h 10"/>
                <a:gd name="T20" fmla="*/ 0 w 3"/>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0">
                  <a:moveTo>
                    <a:pt x="0" y="4"/>
                  </a:moveTo>
                  <a:lnTo>
                    <a:pt x="0" y="4"/>
                  </a:lnTo>
                  <a:lnTo>
                    <a:pt x="1" y="6"/>
                  </a:lnTo>
                  <a:lnTo>
                    <a:pt x="3" y="10"/>
                  </a:lnTo>
                  <a:lnTo>
                    <a:pt x="3" y="10"/>
                  </a:lnTo>
                  <a:lnTo>
                    <a:pt x="1" y="4"/>
                  </a:lnTo>
                  <a:lnTo>
                    <a:pt x="0" y="0"/>
                  </a:lnTo>
                  <a:lnTo>
                    <a:pt x="0" y="0"/>
                  </a:lnTo>
                  <a:lnTo>
                    <a:pt x="0" y="0"/>
                  </a:lnTo>
                  <a:lnTo>
                    <a:pt x="0" y="1"/>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0" name="Freeform 973"/>
            <p:cNvSpPr/>
            <p:nvPr/>
          </p:nvSpPr>
          <p:spPr bwMode="auto">
            <a:xfrm>
              <a:off x="1807816" y="3352223"/>
              <a:ext cx="6145" cy="36861"/>
            </a:xfrm>
            <a:custGeom>
              <a:avLst/>
              <a:gdLst>
                <a:gd name="T0" fmla="*/ 0 w 2"/>
                <a:gd name="T1" fmla="*/ 11 h 11"/>
                <a:gd name="T2" fmla="*/ 0 w 2"/>
                <a:gd name="T3" fmla="*/ 11 h 11"/>
                <a:gd name="T4" fmla="*/ 2 w 2"/>
                <a:gd name="T5" fmla="*/ 6 h 11"/>
                <a:gd name="T6" fmla="*/ 0 w 2"/>
                <a:gd name="T7" fmla="*/ 0 h 11"/>
                <a:gd name="T8" fmla="*/ 0 w 2"/>
                <a:gd name="T9" fmla="*/ 0 h 11"/>
                <a:gd name="T10" fmla="*/ 0 w 2"/>
                <a:gd name="T11" fmla="*/ 3 h 11"/>
                <a:gd name="T12" fmla="*/ 0 w 2"/>
                <a:gd name="T13" fmla="*/ 6 h 11"/>
                <a:gd name="T14" fmla="*/ 0 w 2"/>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1">
                  <a:moveTo>
                    <a:pt x="0" y="11"/>
                  </a:moveTo>
                  <a:lnTo>
                    <a:pt x="0" y="11"/>
                  </a:lnTo>
                  <a:lnTo>
                    <a:pt x="2" y="6"/>
                  </a:lnTo>
                  <a:lnTo>
                    <a:pt x="0" y="0"/>
                  </a:lnTo>
                  <a:lnTo>
                    <a:pt x="0" y="0"/>
                  </a:lnTo>
                  <a:lnTo>
                    <a:pt x="0" y="3"/>
                  </a:lnTo>
                  <a:lnTo>
                    <a:pt x="0" y="6"/>
                  </a:lnTo>
                  <a:lnTo>
                    <a:pt x="0" y="1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1" name="Freeform 974"/>
            <p:cNvSpPr/>
            <p:nvPr/>
          </p:nvSpPr>
          <p:spPr bwMode="auto">
            <a:xfrm>
              <a:off x="1807816" y="3352223"/>
              <a:ext cx="6145" cy="36861"/>
            </a:xfrm>
            <a:custGeom>
              <a:avLst/>
              <a:gdLst>
                <a:gd name="T0" fmla="*/ 0 w 2"/>
                <a:gd name="T1" fmla="*/ 11 h 11"/>
                <a:gd name="T2" fmla="*/ 0 w 2"/>
                <a:gd name="T3" fmla="*/ 11 h 11"/>
                <a:gd name="T4" fmla="*/ 2 w 2"/>
                <a:gd name="T5" fmla="*/ 6 h 11"/>
                <a:gd name="T6" fmla="*/ 0 w 2"/>
                <a:gd name="T7" fmla="*/ 0 h 11"/>
                <a:gd name="T8" fmla="*/ 0 w 2"/>
                <a:gd name="T9" fmla="*/ 0 h 11"/>
                <a:gd name="T10" fmla="*/ 0 w 2"/>
                <a:gd name="T11" fmla="*/ 3 h 11"/>
                <a:gd name="T12" fmla="*/ 0 w 2"/>
                <a:gd name="T13" fmla="*/ 6 h 11"/>
                <a:gd name="T14" fmla="*/ 0 w 2"/>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1">
                  <a:moveTo>
                    <a:pt x="0" y="11"/>
                  </a:moveTo>
                  <a:lnTo>
                    <a:pt x="0" y="11"/>
                  </a:lnTo>
                  <a:lnTo>
                    <a:pt x="2" y="6"/>
                  </a:lnTo>
                  <a:lnTo>
                    <a:pt x="0" y="0"/>
                  </a:lnTo>
                  <a:lnTo>
                    <a:pt x="0" y="0"/>
                  </a:lnTo>
                  <a:lnTo>
                    <a:pt x="0" y="3"/>
                  </a:lnTo>
                  <a:lnTo>
                    <a:pt x="0" y="6"/>
                  </a:lnTo>
                  <a:lnTo>
                    <a:pt x="0" y="1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2" name="Freeform 975"/>
            <p:cNvSpPr/>
            <p:nvPr/>
          </p:nvSpPr>
          <p:spPr bwMode="auto">
            <a:xfrm>
              <a:off x="2053556" y="2909889"/>
              <a:ext cx="12287" cy="12287"/>
            </a:xfrm>
            <a:custGeom>
              <a:avLst/>
              <a:gdLst>
                <a:gd name="T0" fmla="*/ 0 w 3"/>
                <a:gd name="T1" fmla="*/ 5 h 6"/>
                <a:gd name="T2" fmla="*/ 0 w 3"/>
                <a:gd name="T3" fmla="*/ 5 h 6"/>
                <a:gd name="T4" fmla="*/ 0 w 3"/>
                <a:gd name="T5" fmla="*/ 6 h 6"/>
                <a:gd name="T6" fmla="*/ 0 w 3"/>
                <a:gd name="T7" fmla="*/ 6 h 6"/>
                <a:gd name="T8" fmla="*/ 0 w 3"/>
                <a:gd name="T9" fmla="*/ 6 h 6"/>
                <a:gd name="T10" fmla="*/ 0 w 3"/>
                <a:gd name="T11" fmla="*/ 6 h 6"/>
                <a:gd name="T12" fmla="*/ 0 w 3"/>
                <a:gd name="T13" fmla="*/ 6 h 6"/>
                <a:gd name="T14" fmla="*/ 2 w 3"/>
                <a:gd name="T15" fmla="*/ 3 h 6"/>
                <a:gd name="T16" fmla="*/ 3 w 3"/>
                <a:gd name="T17" fmla="*/ 0 h 6"/>
                <a:gd name="T18" fmla="*/ 3 w 3"/>
                <a:gd name="T19" fmla="*/ 0 h 6"/>
                <a:gd name="T20" fmla="*/ 3 w 3"/>
                <a:gd name="T21" fmla="*/ 0 h 6"/>
                <a:gd name="T22" fmla="*/ 2 w 3"/>
                <a:gd name="T23" fmla="*/ 2 h 6"/>
                <a:gd name="T24" fmla="*/ 0 w 3"/>
                <a:gd name="T25" fmla="*/ 3 h 6"/>
                <a:gd name="T26" fmla="*/ 0 w 3"/>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0" y="5"/>
                  </a:moveTo>
                  <a:lnTo>
                    <a:pt x="0" y="5"/>
                  </a:lnTo>
                  <a:lnTo>
                    <a:pt x="0" y="6"/>
                  </a:lnTo>
                  <a:lnTo>
                    <a:pt x="0" y="6"/>
                  </a:lnTo>
                  <a:lnTo>
                    <a:pt x="0" y="6"/>
                  </a:lnTo>
                  <a:lnTo>
                    <a:pt x="0" y="6"/>
                  </a:lnTo>
                  <a:lnTo>
                    <a:pt x="0" y="6"/>
                  </a:lnTo>
                  <a:lnTo>
                    <a:pt x="2" y="3"/>
                  </a:lnTo>
                  <a:lnTo>
                    <a:pt x="3" y="0"/>
                  </a:lnTo>
                  <a:lnTo>
                    <a:pt x="3" y="0"/>
                  </a:lnTo>
                  <a:lnTo>
                    <a:pt x="3" y="0"/>
                  </a:lnTo>
                  <a:lnTo>
                    <a:pt x="2" y="2"/>
                  </a:lnTo>
                  <a:lnTo>
                    <a:pt x="0" y="3"/>
                  </a:lnTo>
                  <a:lnTo>
                    <a:pt x="0"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3" name="Freeform 976"/>
            <p:cNvSpPr/>
            <p:nvPr/>
          </p:nvSpPr>
          <p:spPr bwMode="auto">
            <a:xfrm>
              <a:off x="2053556" y="2909889"/>
              <a:ext cx="12287" cy="12287"/>
            </a:xfrm>
            <a:custGeom>
              <a:avLst/>
              <a:gdLst>
                <a:gd name="T0" fmla="*/ 0 w 3"/>
                <a:gd name="T1" fmla="*/ 5 h 6"/>
                <a:gd name="T2" fmla="*/ 0 w 3"/>
                <a:gd name="T3" fmla="*/ 5 h 6"/>
                <a:gd name="T4" fmla="*/ 0 w 3"/>
                <a:gd name="T5" fmla="*/ 6 h 6"/>
                <a:gd name="T6" fmla="*/ 0 w 3"/>
                <a:gd name="T7" fmla="*/ 6 h 6"/>
                <a:gd name="T8" fmla="*/ 0 w 3"/>
                <a:gd name="T9" fmla="*/ 6 h 6"/>
                <a:gd name="T10" fmla="*/ 0 w 3"/>
                <a:gd name="T11" fmla="*/ 6 h 6"/>
                <a:gd name="T12" fmla="*/ 0 w 3"/>
                <a:gd name="T13" fmla="*/ 6 h 6"/>
                <a:gd name="T14" fmla="*/ 2 w 3"/>
                <a:gd name="T15" fmla="*/ 3 h 6"/>
                <a:gd name="T16" fmla="*/ 3 w 3"/>
                <a:gd name="T17" fmla="*/ 0 h 6"/>
                <a:gd name="T18" fmla="*/ 3 w 3"/>
                <a:gd name="T19" fmla="*/ 0 h 6"/>
                <a:gd name="T20" fmla="*/ 3 w 3"/>
                <a:gd name="T21" fmla="*/ 0 h 6"/>
                <a:gd name="T22" fmla="*/ 2 w 3"/>
                <a:gd name="T23" fmla="*/ 2 h 6"/>
                <a:gd name="T24" fmla="*/ 0 w 3"/>
                <a:gd name="T25" fmla="*/ 3 h 6"/>
                <a:gd name="T26" fmla="*/ 0 w 3"/>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0" y="5"/>
                  </a:moveTo>
                  <a:lnTo>
                    <a:pt x="0" y="5"/>
                  </a:lnTo>
                  <a:lnTo>
                    <a:pt x="0" y="6"/>
                  </a:lnTo>
                  <a:lnTo>
                    <a:pt x="0" y="6"/>
                  </a:lnTo>
                  <a:lnTo>
                    <a:pt x="0" y="6"/>
                  </a:lnTo>
                  <a:lnTo>
                    <a:pt x="0" y="6"/>
                  </a:lnTo>
                  <a:lnTo>
                    <a:pt x="0" y="6"/>
                  </a:lnTo>
                  <a:lnTo>
                    <a:pt x="2" y="3"/>
                  </a:lnTo>
                  <a:lnTo>
                    <a:pt x="3" y="0"/>
                  </a:lnTo>
                  <a:lnTo>
                    <a:pt x="3" y="0"/>
                  </a:lnTo>
                  <a:lnTo>
                    <a:pt x="3" y="0"/>
                  </a:lnTo>
                  <a:lnTo>
                    <a:pt x="2" y="2"/>
                  </a:lnTo>
                  <a:lnTo>
                    <a:pt x="0" y="3"/>
                  </a:lnTo>
                  <a:lnTo>
                    <a:pt x="0"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4" name="Freeform 977"/>
            <p:cNvSpPr/>
            <p:nvPr/>
          </p:nvSpPr>
          <p:spPr bwMode="auto">
            <a:xfrm>
              <a:off x="1691087" y="3554957"/>
              <a:ext cx="6145" cy="43007"/>
            </a:xfrm>
            <a:custGeom>
              <a:avLst/>
              <a:gdLst>
                <a:gd name="T0" fmla="*/ 3 w 3"/>
                <a:gd name="T1" fmla="*/ 6 h 14"/>
                <a:gd name="T2" fmla="*/ 3 w 3"/>
                <a:gd name="T3" fmla="*/ 6 h 14"/>
                <a:gd name="T4" fmla="*/ 1 w 3"/>
                <a:gd name="T5" fmla="*/ 6 h 14"/>
                <a:gd name="T6" fmla="*/ 1 w 3"/>
                <a:gd name="T7" fmla="*/ 7 h 14"/>
                <a:gd name="T8" fmla="*/ 1 w 3"/>
                <a:gd name="T9" fmla="*/ 7 h 14"/>
                <a:gd name="T10" fmla="*/ 1 w 3"/>
                <a:gd name="T11" fmla="*/ 4 h 14"/>
                <a:gd name="T12" fmla="*/ 0 w 3"/>
                <a:gd name="T13" fmla="*/ 0 h 14"/>
                <a:gd name="T14" fmla="*/ 0 w 3"/>
                <a:gd name="T15" fmla="*/ 0 h 14"/>
                <a:gd name="T16" fmla="*/ 0 w 3"/>
                <a:gd name="T17" fmla="*/ 7 h 14"/>
                <a:gd name="T18" fmla="*/ 1 w 3"/>
                <a:gd name="T19" fmla="*/ 14 h 14"/>
                <a:gd name="T20" fmla="*/ 1 w 3"/>
                <a:gd name="T21" fmla="*/ 14 h 14"/>
                <a:gd name="T22" fmla="*/ 1 w 3"/>
                <a:gd name="T23" fmla="*/ 9 h 14"/>
                <a:gd name="T24" fmla="*/ 3 w 3"/>
                <a:gd name="T25"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4">
                  <a:moveTo>
                    <a:pt x="3" y="6"/>
                  </a:moveTo>
                  <a:lnTo>
                    <a:pt x="3" y="6"/>
                  </a:lnTo>
                  <a:lnTo>
                    <a:pt x="1" y="6"/>
                  </a:lnTo>
                  <a:lnTo>
                    <a:pt x="1" y="7"/>
                  </a:lnTo>
                  <a:lnTo>
                    <a:pt x="1" y="7"/>
                  </a:lnTo>
                  <a:lnTo>
                    <a:pt x="1" y="4"/>
                  </a:lnTo>
                  <a:lnTo>
                    <a:pt x="0" y="0"/>
                  </a:lnTo>
                  <a:lnTo>
                    <a:pt x="0" y="0"/>
                  </a:lnTo>
                  <a:lnTo>
                    <a:pt x="0" y="7"/>
                  </a:lnTo>
                  <a:lnTo>
                    <a:pt x="1" y="14"/>
                  </a:lnTo>
                  <a:lnTo>
                    <a:pt x="1" y="14"/>
                  </a:lnTo>
                  <a:lnTo>
                    <a:pt x="1" y="9"/>
                  </a:lnTo>
                  <a:lnTo>
                    <a:pt x="3"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5" name="Freeform 978"/>
            <p:cNvSpPr/>
            <p:nvPr/>
          </p:nvSpPr>
          <p:spPr bwMode="auto">
            <a:xfrm>
              <a:off x="1691087" y="3554957"/>
              <a:ext cx="6145" cy="43007"/>
            </a:xfrm>
            <a:custGeom>
              <a:avLst/>
              <a:gdLst>
                <a:gd name="T0" fmla="*/ 3 w 3"/>
                <a:gd name="T1" fmla="*/ 6 h 14"/>
                <a:gd name="T2" fmla="*/ 3 w 3"/>
                <a:gd name="T3" fmla="*/ 6 h 14"/>
                <a:gd name="T4" fmla="*/ 1 w 3"/>
                <a:gd name="T5" fmla="*/ 6 h 14"/>
                <a:gd name="T6" fmla="*/ 1 w 3"/>
                <a:gd name="T7" fmla="*/ 7 h 14"/>
                <a:gd name="T8" fmla="*/ 1 w 3"/>
                <a:gd name="T9" fmla="*/ 7 h 14"/>
                <a:gd name="T10" fmla="*/ 1 w 3"/>
                <a:gd name="T11" fmla="*/ 4 h 14"/>
                <a:gd name="T12" fmla="*/ 0 w 3"/>
                <a:gd name="T13" fmla="*/ 0 h 14"/>
                <a:gd name="T14" fmla="*/ 0 w 3"/>
                <a:gd name="T15" fmla="*/ 0 h 14"/>
                <a:gd name="T16" fmla="*/ 0 w 3"/>
                <a:gd name="T17" fmla="*/ 7 h 14"/>
                <a:gd name="T18" fmla="*/ 1 w 3"/>
                <a:gd name="T19" fmla="*/ 14 h 14"/>
                <a:gd name="T20" fmla="*/ 1 w 3"/>
                <a:gd name="T21" fmla="*/ 14 h 14"/>
                <a:gd name="T22" fmla="*/ 1 w 3"/>
                <a:gd name="T23" fmla="*/ 9 h 14"/>
                <a:gd name="T24" fmla="*/ 3 w 3"/>
                <a:gd name="T25"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4">
                  <a:moveTo>
                    <a:pt x="3" y="6"/>
                  </a:moveTo>
                  <a:lnTo>
                    <a:pt x="3" y="6"/>
                  </a:lnTo>
                  <a:lnTo>
                    <a:pt x="1" y="6"/>
                  </a:lnTo>
                  <a:lnTo>
                    <a:pt x="1" y="7"/>
                  </a:lnTo>
                  <a:lnTo>
                    <a:pt x="1" y="7"/>
                  </a:lnTo>
                  <a:lnTo>
                    <a:pt x="1" y="4"/>
                  </a:lnTo>
                  <a:lnTo>
                    <a:pt x="0" y="0"/>
                  </a:lnTo>
                  <a:lnTo>
                    <a:pt x="0" y="0"/>
                  </a:lnTo>
                  <a:lnTo>
                    <a:pt x="0" y="7"/>
                  </a:lnTo>
                  <a:lnTo>
                    <a:pt x="1" y="14"/>
                  </a:lnTo>
                  <a:lnTo>
                    <a:pt x="1" y="14"/>
                  </a:lnTo>
                  <a:lnTo>
                    <a:pt x="1" y="9"/>
                  </a:lnTo>
                  <a:lnTo>
                    <a:pt x="3"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6" name="Freeform 979"/>
            <p:cNvSpPr/>
            <p:nvPr/>
          </p:nvSpPr>
          <p:spPr bwMode="auto">
            <a:xfrm>
              <a:off x="1770955" y="3149483"/>
              <a:ext cx="12287" cy="49148"/>
            </a:xfrm>
            <a:custGeom>
              <a:avLst/>
              <a:gdLst>
                <a:gd name="T0" fmla="*/ 0 w 3"/>
                <a:gd name="T1" fmla="*/ 15 h 15"/>
                <a:gd name="T2" fmla="*/ 0 w 3"/>
                <a:gd name="T3" fmla="*/ 15 h 15"/>
                <a:gd name="T4" fmla="*/ 1 w 3"/>
                <a:gd name="T5" fmla="*/ 11 h 15"/>
                <a:gd name="T6" fmla="*/ 3 w 3"/>
                <a:gd name="T7" fmla="*/ 5 h 15"/>
                <a:gd name="T8" fmla="*/ 3 w 3"/>
                <a:gd name="T9" fmla="*/ 5 h 15"/>
                <a:gd name="T10" fmla="*/ 1 w 3"/>
                <a:gd name="T11" fmla="*/ 0 h 15"/>
                <a:gd name="T12" fmla="*/ 1 w 3"/>
                <a:gd name="T13" fmla="*/ 0 h 15"/>
                <a:gd name="T14" fmla="*/ 0 w 3"/>
                <a:gd name="T15" fmla="*/ 10 h 15"/>
                <a:gd name="T16" fmla="*/ 0 w 3"/>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5">
                  <a:moveTo>
                    <a:pt x="0" y="15"/>
                  </a:moveTo>
                  <a:lnTo>
                    <a:pt x="0" y="15"/>
                  </a:lnTo>
                  <a:lnTo>
                    <a:pt x="1" y="11"/>
                  </a:lnTo>
                  <a:lnTo>
                    <a:pt x="3" y="5"/>
                  </a:lnTo>
                  <a:lnTo>
                    <a:pt x="3" y="5"/>
                  </a:lnTo>
                  <a:lnTo>
                    <a:pt x="1" y="0"/>
                  </a:lnTo>
                  <a:lnTo>
                    <a:pt x="1" y="0"/>
                  </a:lnTo>
                  <a:lnTo>
                    <a:pt x="0" y="10"/>
                  </a:lnTo>
                  <a:lnTo>
                    <a:pt x="0"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7" name="Freeform 980"/>
            <p:cNvSpPr/>
            <p:nvPr/>
          </p:nvSpPr>
          <p:spPr bwMode="auto">
            <a:xfrm>
              <a:off x="1770955" y="3149483"/>
              <a:ext cx="12287" cy="49148"/>
            </a:xfrm>
            <a:custGeom>
              <a:avLst/>
              <a:gdLst>
                <a:gd name="T0" fmla="*/ 0 w 3"/>
                <a:gd name="T1" fmla="*/ 15 h 15"/>
                <a:gd name="T2" fmla="*/ 0 w 3"/>
                <a:gd name="T3" fmla="*/ 15 h 15"/>
                <a:gd name="T4" fmla="*/ 1 w 3"/>
                <a:gd name="T5" fmla="*/ 11 h 15"/>
                <a:gd name="T6" fmla="*/ 3 w 3"/>
                <a:gd name="T7" fmla="*/ 5 h 15"/>
                <a:gd name="T8" fmla="*/ 3 w 3"/>
                <a:gd name="T9" fmla="*/ 5 h 15"/>
                <a:gd name="T10" fmla="*/ 1 w 3"/>
                <a:gd name="T11" fmla="*/ 0 h 15"/>
                <a:gd name="T12" fmla="*/ 1 w 3"/>
                <a:gd name="T13" fmla="*/ 0 h 15"/>
                <a:gd name="T14" fmla="*/ 0 w 3"/>
                <a:gd name="T15" fmla="*/ 10 h 15"/>
                <a:gd name="T16" fmla="*/ 0 w 3"/>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5">
                  <a:moveTo>
                    <a:pt x="0" y="15"/>
                  </a:moveTo>
                  <a:lnTo>
                    <a:pt x="0" y="15"/>
                  </a:lnTo>
                  <a:lnTo>
                    <a:pt x="1" y="11"/>
                  </a:lnTo>
                  <a:lnTo>
                    <a:pt x="3" y="5"/>
                  </a:lnTo>
                  <a:lnTo>
                    <a:pt x="3" y="5"/>
                  </a:lnTo>
                  <a:lnTo>
                    <a:pt x="1" y="0"/>
                  </a:lnTo>
                  <a:lnTo>
                    <a:pt x="1" y="0"/>
                  </a:lnTo>
                  <a:lnTo>
                    <a:pt x="0" y="10"/>
                  </a:lnTo>
                  <a:lnTo>
                    <a:pt x="0" y="1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8" name="Freeform 981"/>
            <p:cNvSpPr/>
            <p:nvPr/>
          </p:nvSpPr>
          <p:spPr bwMode="auto">
            <a:xfrm>
              <a:off x="1605078" y="3167917"/>
              <a:ext cx="12287" cy="24574"/>
            </a:xfrm>
            <a:custGeom>
              <a:avLst/>
              <a:gdLst>
                <a:gd name="T0" fmla="*/ 0 w 3"/>
                <a:gd name="T1" fmla="*/ 9 h 9"/>
                <a:gd name="T2" fmla="*/ 0 w 3"/>
                <a:gd name="T3" fmla="*/ 9 h 9"/>
                <a:gd name="T4" fmla="*/ 1 w 3"/>
                <a:gd name="T5" fmla="*/ 9 h 9"/>
                <a:gd name="T6" fmla="*/ 1 w 3"/>
                <a:gd name="T7" fmla="*/ 8 h 9"/>
                <a:gd name="T8" fmla="*/ 1 w 3"/>
                <a:gd name="T9" fmla="*/ 8 h 9"/>
                <a:gd name="T10" fmla="*/ 3 w 3"/>
                <a:gd name="T11" fmla="*/ 6 h 9"/>
                <a:gd name="T12" fmla="*/ 3 w 3"/>
                <a:gd name="T13" fmla="*/ 6 h 9"/>
                <a:gd name="T14" fmla="*/ 3 w 3"/>
                <a:gd name="T15" fmla="*/ 6 h 9"/>
                <a:gd name="T16" fmla="*/ 3 w 3"/>
                <a:gd name="T17" fmla="*/ 6 h 9"/>
                <a:gd name="T18" fmla="*/ 3 w 3"/>
                <a:gd name="T19" fmla="*/ 3 h 9"/>
                <a:gd name="T20" fmla="*/ 3 w 3"/>
                <a:gd name="T21" fmla="*/ 0 h 9"/>
                <a:gd name="T22" fmla="*/ 3 w 3"/>
                <a:gd name="T23" fmla="*/ 0 h 9"/>
                <a:gd name="T24" fmla="*/ 0 w 3"/>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9">
                  <a:moveTo>
                    <a:pt x="0" y="9"/>
                  </a:moveTo>
                  <a:lnTo>
                    <a:pt x="0" y="9"/>
                  </a:lnTo>
                  <a:lnTo>
                    <a:pt x="1" y="9"/>
                  </a:lnTo>
                  <a:lnTo>
                    <a:pt x="1" y="8"/>
                  </a:lnTo>
                  <a:lnTo>
                    <a:pt x="1" y="8"/>
                  </a:lnTo>
                  <a:lnTo>
                    <a:pt x="3" y="6"/>
                  </a:lnTo>
                  <a:lnTo>
                    <a:pt x="3" y="6"/>
                  </a:lnTo>
                  <a:lnTo>
                    <a:pt x="3" y="6"/>
                  </a:lnTo>
                  <a:lnTo>
                    <a:pt x="3" y="6"/>
                  </a:lnTo>
                  <a:lnTo>
                    <a:pt x="3" y="3"/>
                  </a:lnTo>
                  <a:lnTo>
                    <a:pt x="3" y="0"/>
                  </a:lnTo>
                  <a:lnTo>
                    <a:pt x="3" y="0"/>
                  </a:lnTo>
                  <a:lnTo>
                    <a:pt x="0"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9" name="Freeform 982"/>
            <p:cNvSpPr/>
            <p:nvPr/>
          </p:nvSpPr>
          <p:spPr bwMode="auto">
            <a:xfrm>
              <a:off x="1605077" y="3167917"/>
              <a:ext cx="12287" cy="24574"/>
            </a:xfrm>
            <a:custGeom>
              <a:avLst/>
              <a:gdLst>
                <a:gd name="T0" fmla="*/ 0 w 3"/>
                <a:gd name="T1" fmla="*/ 9 h 9"/>
                <a:gd name="T2" fmla="*/ 0 w 3"/>
                <a:gd name="T3" fmla="*/ 9 h 9"/>
                <a:gd name="T4" fmla="*/ 1 w 3"/>
                <a:gd name="T5" fmla="*/ 9 h 9"/>
                <a:gd name="T6" fmla="*/ 1 w 3"/>
                <a:gd name="T7" fmla="*/ 8 h 9"/>
                <a:gd name="T8" fmla="*/ 1 w 3"/>
                <a:gd name="T9" fmla="*/ 8 h 9"/>
                <a:gd name="T10" fmla="*/ 3 w 3"/>
                <a:gd name="T11" fmla="*/ 6 h 9"/>
                <a:gd name="T12" fmla="*/ 3 w 3"/>
                <a:gd name="T13" fmla="*/ 6 h 9"/>
                <a:gd name="T14" fmla="*/ 3 w 3"/>
                <a:gd name="T15" fmla="*/ 6 h 9"/>
                <a:gd name="T16" fmla="*/ 3 w 3"/>
                <a:gd name="T17" fmla="*/ 6 h 9"/>
                <a:gd name="T18" fmla="*/ 3 w 3"/>
                <a:gd name="T19" fmla="*/ 3 h 9"/>
                <a:gd name="T20" fmla="*/ 3 w 3"/>
                <a:gd name="T21" fmla="*/ 0 h 9"/>
                <a:gd name="T22" fmla="*/ 3 w 3"/>
                <a:gd name="T23" fmla="*/ 0 h 9"/>
                <a:gd name="T24" fmla="*/ 0 w 3"/>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9">
                  <a:moveTo>
                    <a:pt x="0" y="9"/>
                  </a:moveTo>
                  <a:lnTo>
                    <a:pt x="0" y="9"/>
                  </a:lnTo>
                  <a:lnTo>
                    <a:pt x="1" y="9"/>
                  </a:lnTo>
                  <a:lnTo>
                    <a:pt x="1" y="8"/>
                  </a:lnTo>
                  <a:lnTo>
                    <a:pt x="1" y="8"/>
                  </a:lnTo>
                  <a:lnTo>
                    <a:pt x="3" y="6"/>
                  </a:lnTo>
                  <a:lnTo>
                    <a:pt x="3" y="6"/>
                  </a:lnTo>
                  <a:lnTo>
                    <a:pt x="3" y="6"/>
                  </a:lnTo>
                  <a:lnTo>
                    <a:pt x="3" y="6"/>
                  </a:lnTo>
                  <a:lnTo>
                    <a:pt x="3" y="3"/>
                  </a:lnTo>
                  <a:lnTo>
                    <a:pt x="3" y="0"/>
                  </a:lnTo>
                  <a:lnTo>
                    <a:pt x="3" y="0"/>
                  </a:lnTo>
                  <a:lnTo>
                    <a:pt x="0"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0" name="Freeform 983"/>
            <p:cNvSpPr/>
            <p:nvPr/>
          </p:nvSpPr>
          <p:spPr bwMode="auto">
            <a:xfrm>
              <a:off x="1715661" y="2799304"/>
              <a:ext cx="24574" cy="61435"/>
            </a:xfrm>
            <a:custGeom>
              <a:avLst/>
              <a:gdLst>
                <a:gd name="T0" fmla="*/ 0 w 9"/>
                <a:gd name="T1" fmla="*/ 20 h 20"/>
                <a:gd name="T2" fmla="*/ 0 w 9"/>
                <a:gd name="T3" fmla="*/ 20 h 20"/>
                <a:gd name="T4" fmla="*/ 5 w 9"/>
                <a:gd name="T5" fmla="*/ 12 h 20"/>
                <a:gd name="T6" fmla="*/ 8 w 9"/>
                <a:gd name="T7" fmla="*/ 5 h 20"/>
                <a:gd name="T8" fmla="*/ 9 w 9"/>
                <a:gd name="T9" fmla="*/ 0 h 20"/>
                <a:gd name="T10" fmla="*/ 9 w 9"/>
                <a:gd name="T11" fmla="*/ 0 h 20"/>
                <a:gd name="T12" fmla="*/ 6 w 9"/>
                <a:gd name="T13" fmla="*/ 4 h 20"/>
                <a:gd name="T14" fmla="*/ 6 w 9"/>
                <a:gd name="T15" fmla="*/ 7 h 20"/>
                <a:gd name="T16" fmla="*/ 5 w 9"/>
                <a:gd name="T17" fmla="*/ 7 h 20"/>
                <a:gd name="T18" fmla="*/ 5 w 9"/>
                <a:gd name="T19" fmla="*/ 7 h 20"/>
                <a:gd name="T20" fmla="*/ 3 w 9"/>
                <a:gd name="T21" fmla="*/ 12 h 20"/>
                <a:gd name="T22" fmla="*/ 2 w 9"/>
                <a:gd name="T23" fmla="*/ 17 h 20"/>
                <a:gd name="T24" fmla="*/ 0 w 9"/>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20">
                  <a:moveTo>
                    <a:pt x="0" y="20"/>
                  </a:moveTo>
                  <a:lnTo>
                    <a:pt x="0" y="20"/>
                  </a:lnTo>
                  <a:lnTo>
                    <a:pt x="5" y="12"/>
                  </a:lnTo>
                  <a:lnTo>
                    <a:pt x="8" y="5"/>
                  </a:lnTo>
                  <a:lnTo>
                    <a:pt x="9" y="0"/>
                  </a:lnTo>
                  <a:lnTo>
                    <a:pt x="9" y="0"/>
                  </a:lnTo>
                  <a:lnTo>
                    <a:pt x="6" y="4"/>
                  </a:lnTo>
                  <a:lnTo>
                    <a:pt x="6" y="7"/>
                  </a:lnTo>
                  <a:lnTo>
                    <a:pt x="5" y="7"/>
                  </a:lnTo>
                  <a:lnTo>
                    <a:pt x="5" y="7"/>
                  </a:lnTo>
                  <a:lnTo>
                    <a:pt x="3" y="12"/>
                  </a:lnTo>
                  <a:lnTo>
                    <a:pt x="2" y="17"/>
                  </a:lnTo>
                  <a:lnTo>
                    <a:pt x="0"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1" name="Freeform 984"/>
            <p:cNvSpPr/>
            <p:nvPr/>
          </p:nvSpPr>
          <p:spPr bwMode="auto">
            <a:xfrm>
              <a:off x="1715660" y="2799303"/>
              <a:ext cx="24574" cy="61435"/>
            </a:xfrm>
            <a:custGeom>
              <a:avLst/>
              <a:gdLst>
                <a:gd name="T0" fmla="*/ 0 w 9"/>
                <a:gd name="T1" fmla="*/ 20 h 20"/>
                <a:gd name="T2" fmla="*/ 0 w 9"/>
                <a:gd name="T3" fmla="*/ 20 h 20"/>
                <a:gd name="T4" fmla="*/ 5 w 9"/>
                <a:gd name="T5" fmla="*/ 12 h 20"/>
                <a:gd name="T6" fmla="*/ 8 w 9"/>
                <a:gd name="T7" fmla="*/ 5 h 20"/>
                <a:gd name="T8" fmla="*/ 9 w 9"/>
                <a:gd name="T9" fmla="*/ 0 h 20"/>
                <a:gd name="T10" fmla="*/ 9 w 9"/>
                <a:gd name="T11" fmla="*/ 0 h 20"/>
                <a:gd name="T12" fmla="*/ 6 w 9"/>
                <a:gd name="T13" fmla="*/ 4 h 20"/>
                <a:gd name="T14" fmla="*/ 6 w 9"/>
                <a:gd name="T15" fmla="*/ 7 h 20"/>
                <a:gd name="T16" fmla="*/ 5 w 9"/>
                <a:gd name="T17" fmla="*/ 7 h 20"/>
                <a:gd name="T18" fmla="*/ 5 w 9"/>
                <a:gd name="T19" fmla="*/ 7 h 20"/>
                <a:gd name="T20" fmla="*/ 3 w 9"/>
                <a:gd name="T21" fmla="*/ 12 h 20"/>
                <a:gd name="T22" fmla="*/ 2 w 9"/>
                <a:gd name="T23" fmla="*/ 17 h 20"/>
                <a:gd name="T24" fmla="*/ 0 w 9"/>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20">
                  <a:moveTo>
                    <a:pt x="0" y="20"/>
                  </a:moveTo>
                  <a:lnTo>
                    <a:pt x="0" y="20"/>
                  </a:lnTo>
                  <a:lnTo>
                    <a:pt x="5" y="12"/>
                  </a:lnTo>
                  <a:lnTo>
                    <a:pt x="8" y="5"/>
                  </a:lnTo>
                  <a:lnTo>
                    <a:pt x="9" y="0"/>
                  </a:lnTo>
                  <a:lnTo>
                    <a:pt x="9" y="0"/>
                  </a:lnTo>
                  <a:lnTo>
                    <a:pt x="6" y="4"/>
                  </a:lnTo>
                  <a:lnTo>
                    <a:pt x="6" y="7"/>
                  </a:lnTo>
                  <a:lnTo>
                    <a:pt x="5" y="7"/>
                  </a:lnTo>
                  <a:lnTo>
                    <a:pt x="5" y="7"/>
                  </a:lnTo>
                  <a:lnTo>
                    <a:pt x="3" y="12"/>
                  </a:lnTo>
                  <a:lnTo>
                    <a:pt x="2" y="17"/>
                  </a:lnTo>
                  <a:lnTo>
                    <a:pt x="0" y="2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2" name="Freeform 985"/>
            <p:cNvSpPr/>
            <p:nvPr/>
          </p:nvSpPr>
          <p:spPr bwMode="auto">
            <a:xfrm>
              <a:off x="5352626" y="3917426"/>
              <a:ext cx="12287" cy="30720"/>
            </a:xfrm>
            <a:custGeom>
              <a:avLst/>
              <a:gdLst>
                <a:gd name="T0" fmla="*/ 3 w 3"/>
                <a:gd name="T1" fmla="*/ 0 h 12"/>
                <a:gd name="T2" fmla="*/ 3 w 3"/>
                <a:gd name="T3" fmla="*/ 0 h 12"/>
                <a:gd name="T4" fmla="*/ 3 w 3"/>
                <a:gd name="T5" fmla="*/ 0 h 12"/>
                <a:gd name="T6" fmla="*/ 2 w 3"/>
                <a:gd name="T7" fmla="*/ 5 h 12"/>
                <a:gd name="T8" fmla="*/ 0 w 3"/>
                <a:gd name="T9" fmla="*/ 10 h 12"/>
                <a:gd name="T10" fmla="*/ 0 w 3"/>
                <a:gd name="T11" fmla="*/ 10 h 12"/>
                <a:gd name="T12" fmla="*/ 0 w 3"/>
                <a:gd name="T13" fmla="*/ 12 h 12"/>
                <a:gd name="T14" fmla="*/ 0 w 3"/>
                <a:gd name="T15" fmla="*/ 12 h 12"/>
                <a:gd name="T16" fmla="*/ 0 w 3"/>
                <a:gd name="T17" fmla="*/ 12 h 12"/>
                <a:gd name="T18" fmla="*/ 2 w 3"/>
                <a:gd name="T19" fmla="*/ 9 h 12"/>
                <a:gd name="T20" fmla="*/ 2 w 3"/>
                <a:gd name="T21" fmla="*/ 9 h 12"/>
                <a:gd name="T22" fmla="*/ 2 w 3"/>
                <a:gd name="T23" fmla="*/ 5 h 12"/>
                <a:gd name="T24" fmla="*/ 3 w 3"/>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2">
                  <a:moveTo>
                    <a:pt x="3" y="0"/>
                  </a:moveTo>
                  <a:lnTo>
                    <a:pt x="3" y="0"/>
                  </a:lnTo>
                  <a:lnTo>
                    <a:pt x="3" y="0"/>
                  </a:lnTo>
                  <a:lnTo>
                    <a:pt x="2" y="5"/>
                  </a:lnTo>
                  <a:lnTo>
                    <a:pt x="0" y="10"/>
                  </a:lnTo>
                  <a:lnTo>
                    <a:pt x="0" y="10"/>
                  </a:lnTo>
                  <a:lnTo>
                    <a:pt x="0" y="12"/>
                  </a:lnTo>
                  <a:lnTo>
                    <a:pt x="0" y="12"/>
                  </a:lnTo>
                  <a:lnTo>
                    <a:pt x="0" y="12"/>
                  </a:lnTo>
                  <a:lnTo>
                    <a:pt x="2" y="9"/>
                  </a:lnTo>
                  <a:lnTo>
                    <a:pt x="2" y="9"/>
                  </a:lnTo>
                  <a:lnTo>
                    <a:pt x="2" y="5"/>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3" name="Freeform 986"/>
            <p:cNvSpPr/>
            <p:nvPr/>
          </p:nvSpPr>
          <p:spPr bwMode="auto">
            <a:xfrm>
              <a:off x="5352628" y="3917426"/>
              <a:ext cx="12287" cy="30720"/>
            </a:xfrm>
            <a:custGeom>
              <a:avLst/>
              <a:gdLst>
                <a:gd name="T0" fmla="*/ 3 w 3"/>
                <a:gd name="T1" fmla="*/ 0 h 12"/>
                <a:gd name="T2" fmla="*/ 3 w 3"/>
                <a:gd name="T3" fmla="*/ 0 h 12"/>
                <a:gd name="T4" fmla="*/ 3 w 3"/>
                <a:gd name="T5" fmla="*/ 0 h 12"/>
                <a:gd name="T6" fmla="*/ 2 w 3"/>
                <a:gd name="T7" fmla="*/ 5 h 12"/>
                <a:gd name="T8" fmla="*/ 0 w 3"/>
                <a:gd name="T9" fmla="*/ 10 h 12"/>
                <a:gd name="T10" fmla="*/ 0 w 3"/>
                <a:gd name="T11" fmla="*/ 10 h 12"/>
                <a:gd name="T12" fmla="*/ 0 w 3"/>
                <a:gd name="T13" fmla="*/ 12 h 12"/>
                <a:gd name="T14" fmla="*/ 0 w 3"/>
                <a:gd name="T15" fmla="*/ 12 h 12"/>
                <a:gd name="T16" fmla="*/ 0 w 3"/>
                <a:gd name="T17" fmla="*/ 12 h 12"/>
                <a:gd name="T18" fmla="*/ 2 w 3"/>
                <a:gd name="T19" fmla="*/ 9 h 12"/>
                <a:gd name="T20" fmla="*/ 2 w 3"/>
                <a:gd name="T21" fmla="*/ 9 h 12"/>
                <a:gd name="T22" fmla="*/ 2 w 3"/>
                <a:gd name="T23" fmla="*/ 5 h 12"/>
                <a:gd name="T24" fmla="*/ 3 w 3"/>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2">
                  <a:moveTo>
                    <a:pt x="3" y="0"/>
                  </a:moveTo>
                  <a:lnTo>
                    <a:pt x="3" y="0"/>
                  </a:lnTo>
                  <a:lnTo>
                    <a:pt x="3" y="0"/>
                  </a:lnTo>
                  <a:lnTo>
                    <a:pt x="2" y="5"/>
                  </a:lnTo>
                  <a:lnTo>
                    <a:pt x="0" y="10"/>
                  </a:lnTo>
                  <a:lnTo>
                    <a:pt x="0" y="10"/>
                  </a:lnTo>
                  <a:lnTo>
                    <a:pt x="0" y="12"/>
                  </a:lnTo>
                  <a:lnTo>
                    <a:pt x="0" y="12"/>
                  </a:lnTo>
                  <a:lnTo>
                    <a:pt x="0" y="12"/>
                  </a:lnTo>
                  <a:lnTo>
                    <a:pt x="2" y="9"/>
                  </a:lnTo>
                  <a:lnTo>
                    <a:pt x="2" y="9"/>
                  </a:lnTo>
                  <a:lnTo>
                    <a:pt x="2" y="5"/>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4" name="Freeform 987"/>
            <p:cNvSpPr/>
            <p:nvPr/>
          </p:nvSpPr>
          <p:spPr bwMode="auto">
            <a:xfrm>
              <a:off x="4418837" y="4636204"/>
              <a:ext cx="73722" cy="61435"/>
            </a:xfrm>
            <a:custGeom>
              <a:avLst/>
              <a:gdLst>
                <a:gd name="T0" fmla="*/ 25 w 25"/>
                <a:gd name="T1" fmla="*/ 0 h 20"/>
                <a:gd name="T2" fmla="*/ 25 w 25"/>
                <a:gd name="T3" fmla="*/ 0 h 20"/>
                <a:gd name="T4" fmla="*/ 22 w 25"/>
                <a:gd name="T5" fmla="*/ 2 h 20"/>
                <a:gd name="T6" fmla="*/ 22 w 25"/>
                <a:gd name="T7" fmla="*/ 2 h 20"/>
                <a:gd name="T8" fmla="*/ 18 w 25"/>
                <a:gd name="T9" fmla="*/ 4 h 20"/>
                <a:gd name="T10" fmla="*/ 18 w 25"/>
                <a:gd name="T11" fmla="*/ 4 h 20"/>
                <a:gd name="T12" fmla="*/ 12 w 25"/>
                <a:gd name="T13" fmla="*/ 10 h 20"/>
                <a:gd name="T14" fmla="*/ 12 w 25"/>
                <a:gd name="T15" fmla="*/ 10 h 20"/>
                <a:gd name="T16" fmla="*/ 10 w 25"/>
                <a:gd name="T17" fmla="*/ 11 h 20"/>
                <a:gd name="T18" fmla="*/ 8 w 25"/>
                <a:gd name="T19" fmla="*/ 14 h 20"/>
                <a:gd name="T20" fmla="*/ 0 w 25"/>
                <a:gd name="T21" fmla="*/ 18 h 20"/>
                <a:gd name="T22" fmla="*/ 0 w 25"/>
                <a:gd name="T23" fmla="*/ 18 h 20"/>
                <a:gd name="T24" fmla="*/ 0 w 25"/>
                <a:gd name="T25" fmla="*/ 20 h 20"/>
                <a:gd name="T26" fmla="*/ 0 w 25"/>
                <a:gd name="T27" fmla="*/ 20 h 20"/>
                <a:gd name="T28" fmla="*/ 0 w 25"/>
                <a:gd name="T29" fmla="*/ 20 h 20"/>
                <a:gd name="T30" fmla="*/ 0 w 25"/>
                <a:gd name="T31" fmla="*/ 20 h 20"/>
                <a:gd name="T32" fmla="*/ 0 w 25"/>
                <a:gd name="T33" fmla="*/ 20 h 20"/>
                <a:gd name="T34" fmla="*/ 12 w 25"/>
                <a:gd name="T35" fmla="*/ 10 h 20"/>
                <a:gd name="T36" fmla="*/ 12 w 25"/>
                <a:gd name="T37" fmla="*/ 10 h 20"/>
                <a:gd name="T38" fmla="*/ 19 w 25"/>
                <a:gd name="T39" fmla="*/ 5 h 20"/>
                <a:gd name="T40" fmla="*/ 25 w 25"/>
                <a:gd name="T4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20">
                  <a:moveTo>
                    <a:pt x="25" y="0"/>
                  </a:moveTo>
                  <a:lnTo>
                    <a:pt x="25" y="0"/>
                  </a:lnTo>
                  <a:lnTo>
                    <a:pt x="22" y="2"/>
                  </a:lnTo>
                  <a:lnTo>
                    <a:pt x="22" y="2"/>
                  </a:lnTo>
                  <a:lnTo>
                    <a:pt x="18" y="4"/>
                  </a:lnTo>
                  <a:lnTo>
                    <a:pt x="18" y="4"/>
                  </a:lnTo>
                  <a:lnTo>
                    <a:pt x="12" y="10"/>
                  </a:lnTo>
                  <a:lnTo>
                    <a:pt x="12" y="10"/>
                  </a:lnTo>
                  <a:lnTo>
                    <a:pt x="10" y="11"/>
                  </a:lnTo>
                  <a:lnTo>
                    <a:pt x="8" y="14"/>
                  </a:lnTo>
                  <a:lnTo>
                    <a:pt x="0" y="18"/>
                  </a:lnTo>
                  <a:lnTo>
                    <a:pt x="0" y="18"/>
                  </a:lnTo>
                  <a:lnTo>
                    <a:pt x="0" y="20"/>
                  </a:lnTo>
                  <a:lnTo>
                    <a:pt x="0" y="20"/>
                  </a:lnTo>
                  <a:lnTo>
                    <a:pt x="0" y="20"/>
                  </a:lnTo>
                  <a:lnTo>
                    <a:pt x="0" y="20"/>
                  </a:lnTo>
                  <a:lnTo>
                    <a:pt x="0" y="20"/>
                  </a:lnTo>
                  <a:lnTo>
                    <a:pt x="12" y="10"/>
                  </a:lnTo>
                  <a:lnTo>
                    <a:pt x="12" y="10"/>
                  </a:lnTo>
                  <a:lnTo>
                    <a:pt x="19" y="5"/>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5" name="Freeform 988"/>
            <p:cNvSpPr/>
            <p:nvPr/>
          </p:nvSpPr>
          <p:spPr bwMode="auto">
            <a:xfrm>
              <a:off x="4418812" y="4636218"/>
              <a:ext cx="73722" cy="61435"/>
            </a:xfrm>
            <a:custGeom>
              <a:avLst/>
              <a:gdLst>
                <a:gd name="T0" fmla="*/ 25 w 25"/>
                <a:gd name="T1" fmla="*/ 0 h 20"/>
                <a:gd name="T2" fmla="*/ 25 w 25"/>
                <a:gd name="T3" fmla="*/ 0 h 20"/>
                <a:gd name="T4" fmla="*/ 22 w 25"/>
                <a:gd name="T5" fmla="*/ 2 h 20"/>
                <a:gd name="T6" fmla="*/ 22 w 25"/>
                <a:gd name="T7" fmla="*/ 2 h 20"/>
                <a:gd name="T8" fmla="*/ 18 w 25"/>
                <a:gd name="T9" fmla="*/ 4 h 20"/>
                <a:gd name="T10" fmla="*/ 18 w 25"/>
                <a:gd name="T11" fmla="*/ 4 h 20"/>
                <a:gd name="T12" fmla="*/ 12 w 25"/>
                <a:gd name="T13" fmla="*/ 10 h 20"/>
                <a:gd name="T14" fmla="*/ 12 w 25"/>
                <a:gd name="T15" fmla="*/ 10 h 20"/>
                <a:gd name="T16" fmla="*/ 10 w 25"/>
                <a:gd name="T17" fmla="*/ 11 h 20"/>
                <a:gd name="T18" fmla="*/ 8 w 25"/>
                <a:gd name="T19" fmla="*/ 14 h 20"/>
                <a:gd name="T20" fmla="*/ 0 w 25"/>
                <a:gd name="T21" fmla="*/ 18 h 20"/>
                <a:gd name="T22" fmla="*/ 0 w 25"/>
                <a:gd name="T23" fmla="*/ 18 h 20"/>
                <a:gd name="T24" fmla="*/ 0 w 25"/>
                <a:gd name="T25" fmla="*/ 20 h 20"/>
                <a:gd name="T26" fmla="*/ 0 w 25"/>
                <a:gd name="T27" fmla="*/ 20 h 20"/>
                <a:gd name="T28" fmla="*/ 0 w 25"/>
                <a:gd name="T29" fmla="*/ 20 h 20"/>
                <a:gd name="T30" fmla="*/ 0 w 25"/>
                <a:gd name="T31" fmla="*/ 20 h 20"/>
                <a:gd name="T32" fmla="*/ 0 w 25"/>
                <a:gd name="T33" fmla="*/ 20 h 20"/>
                <a:gd name="T34" fmla="*/ 12 w 25"/>
                <a:gd name="T35" fmla="*/ 10 h 20"/>
                <a:gd name="T36" fmla="*/ 12 w 25"/>
                <a:gd name="T37" fmla="*/ 10 h 20"/>
                <a:gd name="T38" fmla="*/ 19 w 25"/>
                <a:gd name="T39" fmla="*/ 5 h 20"/>
                <a:gd name="T40" fmla="*/ 25 w 25"/>
                <a:gd name="T4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20">
                  <a:moveTo>
                    <a:pt x="25" y="0"/>
                  </a:moveTo>
                  <a:lnTo>
                    <a:pt x="25" y="0"/>
                  </a:lnTo>
                  <a:lnTo>
                    <a:pt x="22" y="2"/>
                  </a:lnTo>
                  <a:lnTo>
                    <a:pt x="22" y="2"/>
                  </a:lnTo>
                  <a:lnTo>
                    <a:pt x="18" y="4"/>
                  </a:lnTo>
                  <a:lnTo>
                    <a:pt x="18" y="4"/>
                  </a:lnTo>
                  <a:lnTo>
                    <a:pt x="12" y="10"/>
                  </a:lnTo>
                  <a:lnTo>
                    <a:pt x="12" y="10"/>
                  </a:lnTo>
                  <a:lnTo>
                    <a:pt x="10" y="11"/>
                  </a:lnTo>
                  <a:lnTo>
                    <a:pt x="8" y="14"/>
                  </a:lnTo>
                  <a:lnTo>
                    <a:pt x="0" y="18"/>
                  </a:lnTo>
                  <a:lnTo>
                    <a:pt x="0" y="18"/>
                  </a:lnTo>
                  <a:lnTo>
                    <a:pt x="0" y="20"/>
                  </a:lnTo>
                  <a:lnTo>
                    <a:pt x="0" y="20"/>
                  </a:lnTo>
                  <a:lnTo>
                    <a:pt x="0" y="20"/>
                  </a:lnTo>
                  <a:lnTo>
                    <a:pt x="0" y="20"/>
                  </a:lnTo>
                  <a:lnTo>
                    <a:pt x="0" y="20"/>
                  </a:lnTo>
                  <a:lnTo>
                    <a:pt x="12" y="10"/>
                  </a:lnTo>
                  <a:lnTo>
                    <a:pt x="12" y="10"/>
                  </a:lnTo>
                  <a:lnTo>
                    <a:pt x="19" y="5"/>
                  </a:lnTo>
                  <a:lnTo>
                    <a:pt x="2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5" name="图片占位符 4"/>
          <p:cNvPicPr>
            <a:picLocks noGrp="1" noChangeAspect="1"/>
          </p:cNvPicPr>
          <p:nvPr>
            <p:ph type="pic" sz="quarter" idx="14"/>
          </p:nvPr>
        </p:nvPicPr>
        <p:blipFill>
          <a:blip r:embed="rId1" cstate="print">
            <a:extLst>
              <a:ext uri="{28A0092B-C50C-407E-A947-70E740481C1C}">
                <a14:useLocalDpi xmlns:a14="http://schemas.microsoft.com/office/drawing/2010/main" val="0"/>
              </a:ext>
            </a:extLst>
          </a:blip>
          <a:srcRect l="16675" r="16675"/>
          <a:stretch>
            <a:fillRect/>
          </a:stretch>
        </p:blipFill>
        <p:spPr>
          <a:solidFill>
            <a:schemeClr val="bg1"/>
          </a:solidFill>
        </p:spPr>
      </p:pic>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7367" name="Rectangle 7366"/>
          <p:cNvSpPr/>
          <p:nvPr/>
        </p:nvSpPr>
        <p:spPr>
          <a:xfrm>
            <a:off x="6512977" y="2857304"/>
            <a:ext cx="2379350" cy="548576"/>
          </a:xfrm>
          <a:prstGeom prst="rect">
            <a:avLst/>
          </a:prstGeom>
          <a:solidFill>
            <a:schemeClr val="tx1">
              <a:lumMod val="85000"/>
              <a:lumOff val="15000"/>
            </a:schemeClr>
          </a:solidFill>
        </p:spPr>
        <p:txBody>
          <a:bodyPr vert="horz" lIns="91440" tIns="45720" rIns="91440" bIns="45720" rtlCol="0" anchor="ctr">
            <a:noAutofit/>
          </a:bodyPr>
          <a:lstStyle/>
          <a:p>
            <a:pPr defTabSz="913765">
              <a:spcBef>
                <a:spcPct val="0"/>
              </a:spcBef>
            </a:pPr>
            <a:r>
              <a:rPr lang="en-US" sz="3600" noProof="1">
                <a:solidFill>
                  <a:schemeClr val="bg1"/>
                </a:solidFill>
                <a:latin typeface="Bebas Neue" panose="020B0606020202050201" pitchFamily="34" charset="0"/>
                <a:ea typeface="Roboto Light" panose="02000000000000000000" pitchFamily="2" charset="0"/>
                <a:cs typeface="Lato Light" charset="0"/>
              </a:rPr>
              <a:t>OUR team</a:t>
            </a:r>
            <a:endParaRPr lang="en-US" sz="3600" noProof="1">
              <a:solidFill>
                <a:schemeClr val="bg1"/>
              </a:solidFill>
              <a:latin typeface="Bebas Neue" panose="020B0606020202050201" pitchFamily="34" charset="0"/>
              <a:ea typeface="Roboto Light" panose="02000000000000000000" pitchFamily="2" charset="0"/>
              <a:cs typeface="Lato Light" charset="0"/>
            </a:endParaRPr>
          </a:p>
        </p:txBody>
      </p:sp>
      <p:sp>
        <p:nvSpPr>
          <p:cNvPr id="7368" name="Rectangle 7367"/>
          <p:cNvSpPr/>
          <p:nvPr/>
        </p:nvSpPr>
        <p:spPr>
          <a:xfrm>
            <a:off x="6512977" y="3405880"/>
            <a:ext cx="3089372" cy="548576"/>
          </a:xfrm>
          <a:prstGeom prst="rect">
            <a:avLst/>
          </a:prstGeom>
          <a:solidFill>
            <a:schemeClr val="tx1">
              <a:lumMod val="50000"/>
              <a:lumOff val="50000"/>
            </a:schemeClr>
          </a:solidFill>
        </p:spPr>
        <p:txBody>
          <a:bodyPr vert="horz" lIns="91440" tIns="45720" rIns="91440" bIns="45720" rtlCol="0" anchor="ctr">
            <a:noAutofit/>
          </a:bodyPr>
          <a:lstStyle/>
          <a:p>
            <a:pPr defTabSz="913765">
              <a:spcBef>
                <a:spcPct val="0"/>
              </a:spcBef>
            </a:pPr>
            <a:r>
              <a:rPr lang="en-US" sz="2800" noProof="1">
                <a:solidFill>
                  <a:schemeClr val="bg1"/>
                </a:solidFill>
                <a:latin typeface="Bebas Neue" panose="020B0606020202050201" pitchFamily="34" charset="0"/>
                <a:ea typeface="Roboto Light" panose="02000000000000000000" pitchFamily="2" charset="0"/>
                <a:cs typeface="Lato Light" charset="0"/>
              </a:rPr>
              <a:t>JIMMIY KIT</a:t>
            </a:r>
            <a:endParaRPr lang="en-US" sz="2800" noProof="1">
              <a:solidFill>
                <a:schemeClr val="bg1"/>
              </a:solidFill>
              <a:latin typeface="Bebas Neue" panose="020B0606020202050201" pitchFamily="34" charset="0"/>
              <a:ea typeface="Roboto Light" panose="02000000000000000000" pitchFamily="2" charset="0"/>
              <a:cs typeface="Lato Light" charset="0"/>
            </a:endParaRPr>
          </a:p>
        </p:txBody>
      </p:sp>
      <p:sp>
        <p:nvSpPr>
          <p:cNvPr id="7370" name="AutoShape 6"/>
          <p:cNvSpPr/>
          <p:nvPr/>
        </p:nvSpPr>
        <p:spPr bwMode="auto">
          <a:xfrm>
            <a:off x="6512976" y="4051119"/>
            <a:ext cx="5377939" cy="90382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50800" tIns="50800" rIns="50800" bIns="50800" anchor="ctr"/>
          <a:lstStyle/>
          <a:p>
            <a:pPr algn="l"/>
            <a:r>
              <a:rPr lang="id-ID" sz="1400" dirty="0">
                <a:solidFill>
                  <a:schemeClr val="tx1">
                    <a:lumMod val="75000"/>
                    <a:lumOff val="25000"/>
                  </a:schemeClr>
                </a:solidFill>
                <a:latin typeface="+mj-lt"/>
                <a:ea typeface="Roboto Light" panose="02000000000000000000" pitchFamily="2" charset="0"/>
                <a:cs typeface="Lato" pitchFamily="34" charset="0"/>
                <a:sym typeface="Lato" pitchFamily="34" charset="0"/>
              </a:rPr>
              <a:t>Vivamus sagittis lacus vel augue laoreet rutrum faucibus dolor auctor. Nullam id dolor id nibh ultricies vehicula ut id elit. Fusce dapibus, tellus ac cursus commodo, tortor mauris condimentum nibh, ut fermentum massa justo sit amet risus. </a:t>
            </a:r>
            <a:endParaRPr lang="id-ID" sz="1100" dirty="0">
              <a:solidFill>
                <a:schemeClr val="tx1">
                  <a:lumMod val="75000"/>
                  <a:lumOff val="25000"/>
                </a:schemeClr>
              </a:solidFill>
              <a:latin typeface="+mj-lt"/>
              <a:ea typeface="Roboto Light" panose="02000000000000000000" pitchFamily="2" charset="0"/>
            </a:endParaRPr>
          </a:p>
        </p:txBody>
      </p:sp>
      <p:sp>
        <p:nvSpPr>
          <p:cNvPr id="937"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sz="2800" noProof="1">
                <a:solidFill>
                  <a:prstClr val="black">
                    <a:lumMod val="85000"/>
                    <a:lumOff val="15000"/>
                  </a:prstClr>
                </a:solidFill>
                <a:latin typeface="Bebas Neue" panose="020B0606020202050201" pitchFamily="34" charset="0"/>
                <a:ea typeface="宋体" panose="02010600030101010101" pitchFamily="2" charset="-122"/>
                <a:cs typeface="Lato Light" charset="0"/>
              </a:rPr>
              <a:t>项目技术难点</a:t>
            </a:r>
            <a:endParaRPr lang="zh-CN" sz="2800" noProof="1">
              <a:solidFill>
                <a:prstClr val="black">
                  <a:lumMod val="85000"/>
                  <a:lumOff val="15000"/>
                </a:prstClr>
              </a:solidFill>
              <a:latin typeface="Bebas Neue" panose="020B0606020202050201" pitchFamily="34" charset="0"/>
              <a:ea typeface="宋体" panose="02010600030101010101" pitchFamily="2" charset="-122"/>
              <a:cs typeface="Lato Light" charset="0"/>
            </a:endParaRPr>
          </a:p>
        </p:txBody>
      </p:sp>
      <p:sp>
        <p:nvSpPr>
          <p:cNvPr id="938"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939" name="矩形 938"/>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0" name="矩形 939"/>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250">
        <p14:prism/>
      </p:transition>
    </mc:Choice>
    <mc:Fallback>
      <p:transition spd="slow">
        <p:fade/>
      </p:transition>
    </mc:Fallback>
  </mc:AlternateContent>
</p:sld>
</file>

<file path=ppt/tags/tag1.xml><?xml version="1.0" encoding="utf-8"?>
<p:tagLst xmlns:p="http://schemas.openxmlformats.org/presentationml/2006/main">
  <p:tag name="THINKCELLSHAPEDONOTDELETE" val="pOPgVXIwmPkaNEw56OuLEH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33pp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lipFill dpi="0" rotWithShape="0">
          <a:blip xmlns:r="http://schemas.openxmlformats.org/officeDocument/2006/relationships" r:embed="rId1"/>
          <a:srcRect/>
          <a:stretch>
            <a:fillRect/>
          </a:stretch>
        </a:blip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fault Theme">
  <a:themeElements>
    <a:clrScheme name="Wolf Light 3">
      <a:dk1>
        <a:srgbClr val="7F7F7F"/>
      </a:dk1>
      <a:lt1>
        <a:srgbClr val="FFFFFF"/>
      </a:lt1>
      <a:dk2>
        <a:srgbClr val="000000"/>
      </a:dk2>
      <a:lt2>
        <a:srgbClr val="FFFFFF"/>
      </a:lt2>
      <a:accent1>
        <a:srgbClr val="000000"/>
      </a:accent1>
      <a:accent2>
        <a:srgbClr val="36DDD7"/>
      </a:accent2>
      <a:accent3>
        <a:srgbClr val="4B5050"/>
      </a:accent3>
      <a:accent4>
        <a:srgbClr val="91969B"/>
      </a:accent4>
      <a:accent5>
        <a:srgbClr val="4B5050"/>
      </a:accent5>
      <a:accent6>
        <a:srgbClr val="91969B"/>
      </a:accent6>
      <a:hlink>
        <a:srgbClr val="F33B48"/>
      </a:hlink>
      <a:folHlink>
        <a:srgbClr val="FFC000"/>
      </a:folHlink>
    </a:clrScheme>
    <a:fontScheme name="Custom 1">
      <a:majorFont>
        <a:latin typeface="Lato"/>
        <a:ea typeface=""/>
        <a:cs typeface=""/>
      </a:majorFont>
      <a:minorFont>
        <a:latin typeface="La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ww.33ppt.com</Template>
  <TotalTime>0</TotalTime>
  <Words>3039</Words>
  <Application>WPS 演示</Application>
  <PresentationFormat>宽屏</PresentationFormat>
  <Paragraphs>249</Paragraphs>
  <Slides>14</Slides>
  <Notes>25</Notes>
  <HiddenSlides>0</HiddenSlides>
  <MMClips>1</MMClips>
  <ScaleCrop>false</ScaleCrop>
  <HeadingPairs>
    <vt:vector size="6" baseType="variant">
      <vt:variant>
        <vt:lpstr>已用的字体</vt:lpstr>
      </vt:variant>
      <vt:variant>
        <vt:i4>57</vt:i4>
      </vt:variant>
      <vt:variant>
        <vt:lpstr>主题</vt:lpstr>
      </vt:variant>
      <vt:variant>
        <vt:i4>2</vt:i4>
      </vt:variant>
      <vt:variant>
        <vt:lpstr>幻灯片标题</vt:lpstr>
      </vt:variant>
      <vt:variant>
        <vt:i4>14</vt:i4>
      </vt:variant>
    </vt:vector>
  </HeadingPairs>
  <TitlesOfParts>
    <vt:vector size="73" baseType="lpstr">
      <vt:lpstr>Arial</vt:lpstr>
      <vt:lpstr>宋体</vt:lpstr>
      <vt:lpstr>Wingdings</vt:lpstr>
      <vt:lpstr>Roboto Light</vt:lpstr>
      <vt:lpstr>Bebas Neue</vt:lpstr>
      <vt:lpstr>Lato Light</vt:lpstr>
      <vt:lpstr>Lato</vt:lpstr>
      <vt:lpstr>Gill Sans</vt:lpstr>
      <vt:lpstr>Lato Light</vt:lpstr>
      <vt:lpstr>Poppins Light</vt:lpstr>
      <vt:lpstr>Montserrat Hairline</vt:lpstr>
      <vt:lpstr>Lato Regular</vt:lpstr>
      <vt:lpstr>Lato Hairline</vt:lpstr>
      <vt:lpstr>微软雅黑</vt:lpstr>
      <vt:lpstr>Poppins Light</vt:lpstr>
      <vt:lpstr>Calibri Light</vt:lpstr>
      <vt:lpstr>Calibri Light</vt:lpstr>
      <vt:lpstr>Poppins SemiBold</vt:lpstr>
      <vt:lpstr>Open Sans Light</vt:lpstr>
      <vt:lpstr>Calibri</vt:lpstr>
      <vt:lpstr>Arial Unicode MS</vt:lpstr>
      <vt:lpstr>Segoe Print</vt:lpstr>
      <vt:lpstr>Lato</vt:lpstr>
      <vt:lpstr>Lato Bold</vt:lpstr>
      <vt:lpstr>MS PGothic</vt:lpstr>
      <vt:lpstr>Poppins Medium</vt:lpstr>
      <vt:lpstr>等线</vt:lpstr>
      <vt:lpstr>Wide Latin</vt:lpstr>
      <vt:lpstr>魂心</vt:lpstr>
      <vt:lpstr>Blessed Day</vt:lpstr>
      <vt:lpstr>Gill Sans MT</vt:lpstr>
      <vt:lpstr>Yu Gothic UI Light</vt:lpstr>
      <vt:lpstr>书体坊王学勤钢笔行书</vt:lpstr>
      <vt:lpstr>全新硬笔隶书简</vt:lpstr>
      <vt:lpstr>华康少女文字W5(P)</vt:lpstr>
      <vt:lpstr>孙过庭草体测试版</vt:lpstr>
      <vt:lpstr>方正准圆简体</vt:lpstr>
      <vt:lpstr>方正兰亭黑简体</vt:lpstr>
      <vt:lpstr>方正小标宋简体</vt:lpstr>
      <vt:lpstr>方正姚体简体</vt:lpstr>
      <vt:lpstr>方正宋黑简体</vt:lpstr>
      <vt:lpstr>方正幼线繁体</vt:lpstr>
      <vt:lpstr>方正楷体简体</vt:lpstr>
      <vt:lpstr>方正正中黑简体</vt:lpstr>
      <vt:lpstr>方正正黑简体</vt:lpstr>
      <vt:lpstr>方正超粗黑繁体</vt:lpstr>
      <vt:lpstr>方正韵动中黑简体</vt:lpstr>
      <vt:lpstr>方正黄草简体</vt:lpstr>
      <vt:lpstr>方正魏碑繁体</vt:lpstr>
      <vt:lpstr>方正仿宋简体</vt:lpstr>
      <vt:lpstr>叶根友刀锋黑草2.0</vt:lpstr>
      <vt:lpstr>华文隶书</vt:lpstr>
      <vt:lpstr>华文行楷</vt:lpstr>
      <vt:lpstr>汉仪乐喵体简</vt:lpstr>
      <vt:lpstr>华文楷体</vt:lpstr>
      <vt:lpstr>小塚宋体等宽</vt:lpstr>
      <vt:lpstr>等线 Light</vt:lpstr>
      <vt:lpstr>33ppt</vt:lpstr>
      <vt:lpstr>Default Them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www.33ppt.com</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ww.33ppt.com</dc:title>
  <dc:creator>www.33ppt.com</dc:creator>
  <cp:lastModifiedBy>tarena</cp:lastModifiedBy>
  <cp:revision>14</cp:revision>
  <dcterms:created xsi:type="dcterms:W3CDTF">2017-10-08T01:20:00Z</dcterms:created>
  <dcterms:modified xsi:type="dcterms:W3CDTF">2018-11-01T13:4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520</vt:lpwstr>
  </property>
</Properties>
</file>